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269" r:id="rId3"/>
    <p:sldId id="258" r:id="rId4"/>
    <p:sldId id="1864" r:id="rId5"/>
    <p:sldId id="1851" r:id="rId6"/>
    <p:sldId id="1863" r:id="rId7"/>
    <p:sldId id="270" r:id="rId8"/>
    <p:sldId id="1854" r:id="rId9"/>
    <p:sldId id="1847" r:id="rId10"/>
    <p:sldId id="1856" r:id="rId11"/>
    <p:sldId id="271" r:id="rId12"/>
    <p:sldId id="1861" r:id="rId13"/>
    <p:sldId id="1857" r:id="rId14"/>
    <p:sldId id="272" r:id="rId15"/>
    <p:sldId id="1860" r:id="rId16"/>
    <p:sldId id="1862" r:id="rId17"/>
    <p:sldId id="261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7AD3"/>
    <a:srgbClr val="1B1341"/>
    <a:srgbClr val="FFFFFF"/>
    <a:srgbClr val="CBDEF4"/>
    <a:srgbClr val="EB7B55"/>
    <a:srgbClr val="323C66"/>
    <a:srgbClr val="5669B6"/>
    <a:srgbClr val="F7D9C9"/>
    <a:srgbClr val="FBEDE5"/>
    <a:srgbClr val="08255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0DC4EE2-8FC0-47D5-B5D6-C6C1D4ED5A25}" v="2519" dt="2022-09-13T07:08:11.33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58" d="100"/>
          <a:sy n="58" d="100"/>
        </p:scale>
        <p:origin x="988" y="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oleil Yi" userId="c719b956-004a-4243-81dc-14be649b7814" providerId="ADAL" clId="{50DC4EE2-8FC0-47D5-B5D6-C6C1D4ED5A25}"/>
    <pc:docChg chg="custSel modSld">
      <pc:chgData name="Soleil Yi" userId="c719b956-004a-4243-81dc-14be649b7814" providerId="ADAL" clId="{50DC4EE2-8FC0-47D5-B5D6-C6C1D4ED5A25}" dt="2022-09-13T07:08:11.411" v="3857" actId="947"/>
      <pc:docMkLst>
        <pc:docMk/>
      </pc:docMkLst>
      <pc:sldChg chg="modSp mod">
        <pc:chgData name="Soleil Yi" userId="c719b956-004a-4243-81dc-14be649b7814" providerId="ADAL" clId="{50DC4EE2-8FC0-47D5-B5D6-C6C1D4ED5A25}" dt="2022-09-13T07:07:57.492" v="53" actId="947"/>
        <pc:sldMkLst>
          <pc:docMk/>
          <pc:sldMk cId="2271741893" sldId="256"/>
        </pc:sldMkLst>
        <pc:spChg chg="mod">
          <ac:chgData name="Soleil Yi" userId="c719b956-004a-4243-81dc-14be649b7814" providerId="ADAL" clId="{50DC4EE2-8FC0-47D5-B5D6-C6C1D4ED5A25}" dt="2022-09-13T07:07:57.482" v="47" actId="947"/>
          <ac:spMkLst>
            <pc:docMk/>
            <pc:sldMk cId="2271741893" sldId="256"/>
            <ac:spMk id="2" creationId="{EC933494-1B63-4A32-964F-D05236799BAA}"/>
          </ac:spMkLst>
        </pc:spChg>
        <pc:spChg chg="mod">
          <ac:chgData name="Soleil Yi" userId="c719b956-004a-4243-81dc-14be649b7814" providerId="ADAL" clId="{50DC4EE2-8FC0-47D5-B5D6-C6C1D4ED5A25}" dt="2022-09-13T07:07:57.489" v="51" actId="947"/>
          <ac:spMkLst>
            <pc:docMk/>
            <pc:sldMk cId="2271741893" sldId="256"/>
            <ac:spMk id="4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487" v="50" actId="947"/>
          <ac:spMkLst>
            <pc:docMk/>
            <pc:sldMk cId="2271741893" sldId="256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485" v="49" actId="947"/>
          <ac:spMkLst>
            <pc:docMk/>
            <pc:sldMk cId="2271741893" sldId="256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492" v="53" actId="947"/>
          <ac:spMkLst>
            <pc:docMk/>
            <pc:sldMk cId="2271741893" sldId="256"/>
            <ac:spMk id="7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484" v="48" actId="947"/>
          <ac:spMkLst>
            <pc:docMk/>
            <pc:sldMk cId="2271741893" sldId="256"/>
            <ac:spMk id="15" creationId="{DF828017-A39B-4493-97A5-EC0C2FC5AB01}"/>
          </ac:spMkLst>
        </pc:spChg>
        <pc:spChg chg="mod">
          <ac:chgData name="Soleil Yi" userId="c719b956-004a-4243-81dc-14be649b7814" providerId="ADAL" clId="{50DC4EE2-8FC0-47D5-B5D6-C6C1D4ED5A25}" dt="2022-09-13T07:07:57.403" v="25" actId="947"/>
          <ac:spMkLst>
            <pc:docMk/>
            <pc:sldMk cId="2271741893" sldId="256"/>
            <ac:spMk id="17" creationId="{6D054866-E74C-4155-B9CE-1FA251F45753}"/>
          </ac:spMkLst>
        </pc:spChg>
        <pc:spChg chg="mod">
          <ac:chgData name="Soleil Yi" userId="c719b956-004a-4243-81dc-14be649b7814" providerId="ADAL" clId="{50DC4EE2-8FC0-47D5-B5D6-C6C1D4ED5A25}" dt="2022-09-13T07:07:57.490" v="52" actId="947"/>
          <ac:spMkLst>
            <pc:docMk/>
            <pc:sldMk cId="2271741893" sldId="256"/>
            <ac:spMk id="19" creationId="{39423986-DF7D-4AD8-A7A8-EF58B9EC2748}"/>
          </ac:spMkLst>
        </pc:spChg>
      </pc:sldChg>
      <pc:sldChg chg="modSp mod">
        <pc:chgData name="Soleil Yi" userId="c719b956-004a-4243-81dc-14be649b7814" providerId="ADAL" clId="{50DC4EE2-8FC0-47D5-B5D6-C6C1D4ED5A25}" dt="2022-09-13T07:07:57.668" v="149" actId="947"/>
        <pc:sldMkLst>
          <pc:docMk/>
          <pc:sldMk cId="2371597387" sldId="258"/>
        </pc:sldMkLst>
        <pc:spChg chg="mod">
          <ac:chgData name="Soleil Yi" userId="c719b956-004a-4243-81dc-14be649b7814" providerId="ADAL" clId="{50DC4EE2-8FC0-47D5-B5D6-C6C1D4ED5A25}" dt="2022-09-13T07:07:57.632" v="141" actId="947"/>
          <ac:spMkLst>
            <pc:docMk/>
            <pc:sldMk cId="2371597387" sldId="258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666" v="148" actId="947"/>
          <ac:spMkLst>
            <pc:docMk/>
            <pc:sldMk cId="2371597387" sldId="258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7:57.668" v="149" actId="947"/>
          <ac:spMkLst>
            <pc:docMk/>
            <pc:sldMk cId="2371597387" sldId="258"/>
            <ac:spMk id="8" creationId="{C7816C2E-E271-45F3-952E-7FC724E6740D}"/>
          </ac:spMkLst>
        </pc:spChg>
      </pc:sldChg>
      <pc:sldChg chg="modSp mod">
        <pc:chgData name="Soleil Yi" userId="c719b956-004a-4243-81dc-14be649b7814" providerId="ADAL" clId="{50DC4EE2-8FC0-47D5-B5D6-C6C1D4ED5A25}" dt="2022-09-13T07:08:11.411" v="3857" actId="947"/>
        <pc:sldMkLst>
          <pc:docMk/>
          <pc:sldMk cId="1259043032" sldId="261"/>
        </pc:sldMkLst>
        <pc:spChg chg="mod">
          <ac:chgData name="Soleil Yi" userId="c719b956-004a-4243-81dc-14be649b7814" providerId="ADAL" clId="{50DC4EE2-8FC0-47D5-B5D6-C6C1D4ED5A25}" dt="2022-09-13T07:08:11.354" v="3841" actId="947"/>
          <ac:spMkLst>
            <pc:docMk/>
            <pc:sldMk cId="1259043032" sldId="261"/>
            <ac:spMk id="2" creationId="{FF51F16D-1BAD-46EE-A6F4-B8B94C9DF628}"/>
          </ac:spMkLst>
        </pc:spChg>
        <pc:spChg chg="mod">
          <ac:chgData name="Soleil Yi" userId="c719b956-004a-4243-81dc-14be649b7814" providerId="ADAL" clId="{50DC4EE2-8FC0-47D5-B5D6-C6C1D4ED5A25}" dt="2022-09-13T07:08:11.408" v="3855" actId="947"/>
          <ac:spMkLst>
            <pc:docMk/>
            <pc:sldMk cId="1259043032" sldId="261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11.411" v="3857" actId="947"/>
          <ac:spMkLst>
            <pc:docMk/>
            <pc:sldMk cId="1259043032" sldId="261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11.406" v="3854" actId="947"/>
          <ac:spMkLst>
            <pc:docMk/>
            <pc:sldMk cId="1259043032" sldId="261"/>
            <ac:spMk id="7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11.409" v="3856" actId="947"/>
          <ac:spMkLst>
            <pc:docMk/>
            <pc:sldMk cId="1259043032" sldId="261"/>
            <ac:spMk id="8" creationId="{1F28FF2D-4854-4E68-AB41-AA5A4F3B05E8}"/>
          </ac:spMkLst>
        </pc:spChg>
      </pc:sldChg>
      <pc:sldChg chg="modSp mod">
        <pc:chgData name="Soleil Yi" userId="c719b956-004a-4243-81dc-14be649b7814" providerId="ADAL" clId="{50DC4EE2-8FC0-47D5-B5D6-C6C1D4ED5A25}" dt="2022-09-13T07:07:57.611" v="137" actId="947"/>
        <pc:sldMkLst>
          <pc:docMk/>
          <pc:sldMk cId="911933172" sldId="269"/>
        </pc:sldMkLst>
        <pc:spChg chg="mod">
          <ac:chgData name="Soleil Yi" userId="c719b956-004a-4243-81dc-14be649b7814" providerId="ADAL" clId="{50DC4EE2-8FC0-47D5-B5D6-C6C1D4ED5A25}" dt="2022-09-13T07:07:57.511" v="57" actId="947"/>
          <ac:spMkLst>
            <pc:docMk/>
            <pc:sldMk cId="911933172" sldId="269"/>
            <ac:spMk id="93" creationId="{93AB3BB1-6862-4295-938A-F249799A5F30}"/>
          </ac:spMkLst>
        </pc:spChg>
        <pc:spChg chg="mod">
          <ac:chgData name="Soleil Yi" userId="c719b956-004a-4243-81dc-14be649b7814" providerId="ADAL" clId="{50DC4EE2-8FC0-47D5-B5D6-C6C1D4ED5A25}" dt="2022-09-13T07:07:57.516" v="61" actId="947"/>
          <ac:spMkLst>
            <pc:docMk/>
            <pc:sldMk cId="911933172" sldId="269"/>
            <ac:spMk id="94" creationId="{89914F9A-A70D-45F2-919F-84503C84E344}"/>
          </ac:spMkLst>
        </pc:spChg>
        <pc:spChg chg="mod">
          <ac:chgData name="Soleil Yi" userId="c719b956-004a-4243-81dc-14be649b7814" providerId="ADAL" clId="{50DC4EE2-8FC0-47D5-B5D6-C6C1D4ED5A25}" dt="2022-09-13T07:07:57.521" v="65" actId="947"/>
          <ac:spMkLst>
            <pc:docMk/>
            <pc:sldMk cId="911933172" sldId="269"/>
            <ac:spMk id="95" creationId="{CE9C77B6-6FF9-42B6-B995-2A2CCD0BE10E}"/>
          </ac:spMkLst>
        </pc:spChg>
        <pc:spChg chg="mod">
          <ac:chgData name="Soleil Yi" userId="c719b956-004a-4243-81dc-14be649b7814" providerId="ADAL" clId="{50DC4EE2-8FC0-47D5-B5D6-C6C1D4ED5A25}" dt="2022-09-13T07:07:57.528" v="69" actId="947"/>
          <ac:spMkLst>
            <pc:docMk/>
            <pc:sldMk cId="911933172" sldId="269"/>
            <ac:spMk id="96" creationId="{5457B7B4-CF38-46AE-9248-9B4D437A38FB}"/>
          </ac:spMkLst>
        </pc:spChg>
        <pc:spChg chg="mod">
          <ac:chgData name="Soleil Yi" userId="c719b956-004a-4243-81dc-14be649b7814" providerId="ADAL" clId="{50DC4EE2-8FC0-47D5-B5D6-C6C1D4ED5A25}" dt="2022-09-13T07:07:57.533" v="73" actId="947"/>
          <ac:spMkLst>
            <pc:docMk/>
            <pc:sldMk cId="911933172" sldId="269"/>
            <ac:spMk id="97" creationId="{F059F363-9BE5-4F2E-A8AE-725B76EDB60C}"/>
          </ac:spMkLst>
        </pc:spChg>
        <pc:spChg chg="mod">
          <ac:chgData name="Soleil Yi" userId="c719b956-004a-4243-81dc-14be649b7814" providerId="ADAL" clId="{50DC4EE2-8FC0-47D5-B5D6-C6C1D4ED5A25}" dt="2022-09-13T07:07:57.538" v="77" actId="947"/>
          <ac:spMkLst>
            <pc:docMk/>
            <pc:sldMk cId="911933172" sldId="269"/>
            <ac:spMk id="98" creationId="{07DBE18B-9A86-42AD-8387-52CE371CDFE1}"/>
          </ac:spMkLst>
        </pc:spChg>
        <pc:spChg chg="mod">
          <ac:chgData name="Soleil Yi" userId="c719b956-004a-4243-81dc-14be649b7814" providerId="ADAL" clId="{50DC4EE2-8FC0-47D5-B5D6-C6C1D4ED5A25}" dt="2022-09-13T07:07:57.543" v="81" actId="947"/>
          <ac:spMkLst>
            <pc:docMk/>
            <pc:sldMk cId="911933172" sldId="269"/>
            <ac:spMk id="99" creationId="{15B3B1AA-C692-4B35-A7F6-FC7472E4A6FA}"/>
          </ac:spMkLst>
        </pc:spChg>
        <pc:spChg chg="mod">
          <ac:chgData name="Soleil Yi" userId="c719b956-004a-4243-81dc-14be649b7814" providerId="ADAL" clId="{50DC4EE2-8FC0-47D5-B5D6-C6C1D4ED5A25}" dt="2022-09-13T07:07:57.548" v="85" actId="947"/>
          <ac:spMkLst>
            <pc:docMk/>
            <pc:sldMk cId="911933172" sldId="269"/>
            <ac:spMk id="100" creationId="{2E315ACF-741B-4677-BF95-FDBC87360852}"/>
          </ac:spMkLst>
        </pc:spChg>
        <pc:spChg chg="mod">
          <ac:chgData name="Soleil Yi" userId="c719b956-004a-4243-81dc-14be649b7814" providerId="ADAL" clId="{50DC4EE2-8FC0-47D5-B5D6-C6C1D4ED5A25}" dt="2022-09-13T07:07:57.554" v="89" actId="947"/>
          <ac:spMkLst>
            <pc:docMk/>
            <pc:sldMk cId="911933172" sldId="269"/>
            <ac:spMk id="101" creationId="{4B5AA7F0-C144-43BB-B296-B7B6AA2E3545}"/>
          </ac:spMkLst>
        </pc:spChg>
        <pc:spChg chg="mod">
          <ac:chgData name="Soleil Yi" userId="c719b956-004a-4243-81dc-14be649b7814" providerId="ADAL" clId="{50DC4EE2-8FC0-47D5-B5D6-C6C1D4ED5A25}" dt="2022-09-13T07:07:57.559" v="93" actId="947"/>
          <ac:spMkLst>
            <pc:docMk/>
            <pc:sldMk cId="911933172" sldId="269"/>
            <ac:spMk id="102" creationId="{A42F85F7-C10C-43F2-8E1C-0D803481EEB6}"/>
          </ac:spMkLst>
        </pc:spChg>
        <pc:spChg chg="mod">
          <ac:chgData name="Soleil Yi" userId="c719b956-004a-4243-81dc-14be649b7814" providerId="ADAL" clId="{50DC4EE2-8FC0-47D5-B5D6-C6C1D4ED5A25}" dt="2022-09-13T07:07:57.564" v="97" actId="947"/>
          <ac:spMkLst>
            <pc:docMk/>
            <pc:sldMk cId="911933172" sldId="269"/>
            <ac:spMk id="103" creationId="{370BE7A8-C210-4AAB-9E50-EC05D28D5CA5}"/>
          </ac:spMkLst>
        </pc:spChg>
        <pc:spChg chg="mod">
          <ac:chgData name="Soleil Yi" userId="c719b956-004a-4243-81dc-14be649b7814" providerId="ADAL" clId="{50DC4EE2-8FC0-47D5-B5D6-C6C1D4ED5A25}" dt="2022-09-13T07:07:57.569" v="101" actId="947"/>
          <ac:spMkLst>
            <pc:docMk/>
            <pc:sldMk cId="911933172" sldId="269"/>
            <ac:spMk id="104" creationId="{4F6BB47B-69BF-4C5A-985D-B60A1F916361}"/>
          </ac:spMkLst>
        </pc:spChg>
        <pc:spChg chg="mod">
          <ac:chgData name="Soleil Yi" userId="c719b956-004a-4243-81dc-14be649b7814" providerId="ADAL" clId="{50DC4EE2-8FC0-47D5-B5D6-C6C1D4ED5A25}" dt="2022-09-13T07:07:57.575" v="105" actId="947"/>
          <ac:spMkLst>
            <pc:docMk/>
            <pc:sldMk cId="911933172" sldId="269"/>
            <ac:spMk id="105" creationId="{7AE835E3-31DC-4923-A67E-B1549E11682C}"/>
          </ac:spMkLst>
        </pc:spChg>
        <pc:spChg chg="mod">
          <ac:chgData name="Soleil Yi" userId="c719b956-004a-4243-81dc-14be649b7814" providerId="ADAL" clId="{50DC4EE2-8FC0-47D5-B5D6-C6C1D4ED5A25}" dt="2022-09-13T07:07:57.579" v="109" actId="947"/>
          <ac:spMkLst>
            <pc:docMk/>
            <pc:sldMk cId="911933172" sldId="269"/>
            <ac:spMk id="106" creationId="{8587B48B-C90B-468E-BBC9-3D5A05C4508A}"/>
          </ac:spMkLst>
        </pc:spChg>
        <pc:spChg chg="mod">
          <ac:chgData name="Soleil Yi" userId="c719b956-004a-4243-81dc-14be649b7814" providerId="ADAL" clId="{50DC4EE2-8FC0-47D5-B5D6-C6C1D4ED5A25}" dt="2022-09-13T07:07:57.583" v="113" actId="947"/>
          <ac:spMkLst>
            <pc:docMk/>
            <pc:sldMk cId="911933172" sldId="269"/>
            <ac:spMk id="107" creationId="{1D26B283-D946-4551-935A-7789371B5F97}"/>
          </ac:spMkLst>
        </pc:spChg>
        <pc:spChg chg="mod">
          <ac:chgData name="Soleil Yi" userId="c719b956-004a-4243-81dc-14be649b7814" providerId="ADAL" clId="{50DC4EE2-8FC0-47D5-B5D6-C6C1D4ED5A25}" dt="2022-09-13T07:07:57.589" v="117" actId="947"/>
          <ac:spMkLst>
            <pc:docMk/>
            <pc:sldMk cId="911933172" sldId="269"/>
            <ac:spMk id="108" creationId="{CA294CD2-F836-4E17-A1B3-44F027FE7189}"/>
          </ac:spMkLst>
        </pc:spChg>
        <pc:spChg chg="mod">
          <ac:chgData name="Soleil Yi" userId="c719b956-004a-4243-81dc-14be649b7814" providerId="ADAL" clId="{50DC4EE2-8FC0-47D5-B5D6-C6C1D4ED5A25}" dt="2022-09-13T07:07:57.594" v="121" actId="947"/>
          <ac:spMkLst>
            <pc:docMk/>
            <pc:sldMk cId="911933172" sldId="269"/>
            <ac:spMk id="109" creationId="{2041ED69-55E8-4844-BDC2-26210E1BF0EC}"/>
          </ac:spMkLst>
        </pc:spChg>
        <pc:spChg chg="mod">
          <ac:chgData name="Soleil Yi" userId="c719b956-004a-4243-81dc-14be649b7814" providerId="ADAL" clId="{50DC4EE2-8FC0-47D5-B5D6-C6C1D4ED5A25}" dt="2022-09-13T07:07:57.598" v="125" actId="947"/>
          <ac:spMkLst>
            <pc:docMk/>
            <pc:sldMk cId="911933172" sldId="269"/>
            <ac:spMk id="110" creationId="{54273F76-2F7B-4028-90F1-82E7EF6663F2}"/>
          </ac:spMkLst>
        </pc:spChg>
        <pc:spChg chg="mod">
          <ac:chgData name="Soleil Yi" userId="c719b956-004a-4243-81dc-14be649b7814" providerId="ADAL" clId="{50DC4EE2-8FC0-47D5-B5D6-C6C1D4ED5A25}" dt="2022-09-13T07:07:57.601" v="129"/>
          <ac:spMkLst>
            <pc:docMk/>
            <pc:sldMk cId="911933172" sldId="269"/>
            <ac:spMk id="111" creationId="{D37A2A58-ECEA-4F92-B866-46F15A29859F}"/>
          </ac:spMkLst>
        </pc:spChg>
        <pc:spChg chg="mod">
          <ac:chgData name="Soleil Yi" userId="c719b956-004a-4243-81dc-14be649b7814" providerId="ADAL" clId="{50DC4EE2-8FC0-47D5-B5D6-C6C1D4ED5A25}" dt="2022-09-13T07:07:57.606" v="133" actId="947"/>
          <ac:spMkLst>
            <pc:docMk/>
            <pc:sldMk cId="911933172" sldId="269"/>
            <ac:spMk id="112" creationId="{54A81459-19DD-4950-AAF8-153C5C60CCF7}"/>
          </ac:spMkLst>
        </pc:spChg>
        <pc:spChg chg="mod">
          <ac:chgData name="Soleil Yi" userId="c719b956-004a-4243-81dc-14be649b7814" providerId="ADAL" clId="{50DC4EE2-8FC0-47D5-B5D6-C6C1D4ED5A25}" dt="2022-09-13T07:07:57.611" v="137" actId="947"/>
          <ac:spMkLst>
            <pc:docMk/>
            <pc:sldMk cId="911933172" sldId="269"/>
            <ac:spMk id="113" creationId="{CC156008-86ED-4283-8DA1-702CBC72A09F}"/>
          </ac:spMkLst>
        </pc:spChg>
      </pc:sldChg>
      <pc:sldChg chg="modSp mod">
        <pc:chgData name="Soleil Yi" userId="c719b956-004a-4243-81dc-14be649b7814" providerId="ADAL" clId="{50DC4EE2-8FC0-47D5-B5D6-C6C1D4ED5A25}" dt="2022-09-13T07:08:04.662" v="2093" actId="947"/>
        <pc:sldMkLst>
          <pc:docMk/>
          <pc:sldMk cId="356876510" sldId="270"/>
        </pc:sldMkLst>
        <pc:spChg chg="mod">
          <ac:chgData name="Soleil Yi" userId="c719b956-004a-4243-81dc-14be649b7814" providerId="ADAL" clId="{50DC4EE2-8FC0-47D5-B5D6-C6C1D4ED5A25}" dt="2022-09-13T07:08:04.625" v="2085" actId="947"/>
          <ac:spMkLst>
            <pc:docMk/>
            <pc:sldMk cId="356876510" sldId="270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04.662" v="2093" actId="947"/>
          <ac:spMkLst>
            <pc:docMk/>
            <pc:sldMk cId="356876510" sldId="270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04.659" v="2092" actId="947"/>
          <ac:spMkLst>
            <pc:docMk/>
            <pc:sldMk cId="356876510" sldId="270"/>
            <ac:spMk id="8" creationId="{C7816C2E-E271-45F3-952E-7FC724E6740D}"/>
          </ac:spMkLst>
        </pc:spChg>
      </pc:sldChg>
      <pc:sldChg chg="modSp mod">
        <pc:chgData name="Soleil Yi" userId="c719b956-004a-4243-81dc-14be649b7814" providerId="ADAL" clId="{50DC4EE2-8FC0-47D5-B5D6-C6C1D4ED5A25}" dt="2022-09-13T07:08:07.170" v="2789" actId="947"/>
        <pc:sldMkLst>
          <pc:docMk/>
          <pc:sldMk cId="1763452009" sldId="271"/>
        </pc:sldMkLst>
        <pc:spChg chg="mod">
          <ac:chgData name="Soleil Yi" userId="c719b956-004a-4243-81dc-14be649b7814" providerId="ADAL" clId="{50DC4EE2-8FC0-47D5-B5D6-C6C1D4ED5A25}" dt="2022-09-13T07:08:07.131" v="2781" actId="947"/>
          <ac:spMkLst>
            <pc:docMk/>
            <pc:sldMk cId="1763452009" sldId="271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07.170" v="2789" actId="947"/>
          <ac:spMkLst>
            <pc:docMk/>
            <pc:sldMk cId="1763452009" sldId="271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07.165" v="2787" actId="947"/>
          <ac:spMkLst>
            <pc:docMk/>
            <pc:sldMk cId="1763452009" sldId="271"/>
            <ac:spMk id="8" creationId="{C7816C2E-E271-45F3-952E-7FC724E6740D}"/>
          </ac:spMkLst>
        </pc:spChg>
      </pc:sldChg>
      <pc:sldChg chg="modSp mod">
        <pc:chgData name="Soleil Yi" userId="c719b956-004a-4243-81dc-14be649b7814" providerId="ADAL" clId="{50DC4EE2-8FC0-47D5-B5D6-C6C1D4ED5A25}" dt="2022-09-13T07:08:10.177" v="3501" actId="947"/>
        <pc:sldMkLst>
          <pc:docMk/>
          <pc:sldMk cId="1488766909" sldId="272"/>
        </pc:sldMkLst>
        <pc:spChg chg="mod">
          <ac:chgData name="Soleil Yi" userId="c719b956-004a-4243-81dc-14be649b7814" providerId="ADAL" clId="{50DC4EE2-8FC0-47D5-B5D6-C6C1D4ED5A25}" dt="2022-09-13T07:08:10.129" v="3493" actId="947"/>
          <ac:spMkLst>
            <pc:docMk/>
            <pc:sldMk cId="1488766909" sldId="272"/>
            <ac:spMk id="5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10.172" v="3499" actId="947"/>
          <ac:spMkLst>
            <pc:docMk/>
            <pc:sldMk cId="1488766909" sldId="272"/>
            <ac:spMk id="6" creationId="{00000000-0000-0000-0000-000000000000}"/>
          </ac:spMkLst>
        </pc:spChg>
        <pc:spChg chg="mod">
          <ac:chgData name="Soleil Yi" userId="c719b956-004a-4243-81dc-14be649b7814" providerId="ADAL" clId="{50DC4EE2-8FC0-47D5-B5D6-C6C1D4ED5A25}" dt="2022-09-13T07:08:10.177" v="3501" actId="947"/>
          <ac:spMkLst>
            <pc:docMk/>
            <pc:sldMk cId="1488766909" sldId="272"/>
            <ac:spMk id="8" creationId="{C7816C2E-E271-45F3-952E-7FC724E6740D}"/>
          </ac:spMkLst>
        </pc:spChg>
      </pc:sldChg>
      <pc:sldChg chg="modSp mod">
        <pc:chgData name="Soleil Yi" userId="c719b956-004a-4243-81dc-14be649b7814" providerId="ADAL" clId="{50DC4EE2-8FC0-47D5-B5D6-C6C1D4ED5A25}" dt="2022-09-13T07:08:06.919" v="2725" actId="947"/>
        <pc:sldMkLst>
          <pc:docMk/>
          <pc:sldMk cId="2760031028" sldId="1847"/>
        </pc:sldMkLst>
        <pc:spChg chg="mod">
          <ac:chgData name="Soleil Yi" userId="c719b956-004a-4243-81dc-14be649b7814" providerId="ADAL" clId="{50DC4EE2-8FC0-47D5-B5D6-C6C1D4ED5A25}" dt="2022-09-13T07:08:06.043" v="2477" actId="947"/>
          <ac:spMkLst>
            <pc:docMk/>
            <pc:sldMk cId="2760031028" sldId="1847"/>
            <ac:spMk id="2" creationId="{4A280393-9CB9-4475-96DD-A6B1E4F89721}"/>
          </ac:spMkLst>
        </pc:spChg>
        <pc:spChg chg="mod">
          <ac:chgData name="Soleil Yi" userId="c719b956-004a-4243-81dc-14be649b7814" providerId="ADAL" clId="{50DC4EE2-8FC0-47D5-B5D6-C6C1D4ED5A25}" dt="2022-09-13T07:08:06.078" v="2487" actId="947"/>
          <ac:spMkLst>
            <pc:docMk/>
            <pc:sldMk cId="2760031028" sldId="1847"/>
            <ac:spMk id="3" creationId="{D8B61CCC-3042-4668-8BA4-34078693B363}"/>
          </ac:spMkLst>
        </pc:spChg>
        <pc:spChg chg="mod">
          <ac:chgData name="Soleil Yi" userId="c719b956-004a-4243-81dc-14be649b7814" providerId="ADAL" clId="{50DC4EE2-8FC0-47D5-B5D6-C6C1D4ED5A25}" dt="2022-09-13T07:08:06.081" v="2489" actId="947"/>
          <ac:spMkLst>
            <pc:docMk/>
            <pc:sldMk cId="2760031028" sldId="1847"/>
            <ac:spMk id="4" creationId="{63FFD025-0C35-484A-B09D-5B22E89CE34C}"/>
          </ac:spMkLst>
        </pc:spChg>
        <pc:spChg chg="mod">
          <ac:chgData name="Soleil Yi" userId="c719b956-004a-4243-81dc-14be649b7814" providerId="ADAL" clId="{50DC4EE2-8FC0-47D5-B5D6-C6C1D4ED5A25}" dt="2022-09-13T07:08:06.854" v="2709" actId="947"/>
          <ac:spMkLst>
            <pc:docMk/>
            <pc:sldMk cId="2760031028" sldId="1847"/>
            <ac:spMk id="17" creationId="{CCD4BC00-F7E5-41CB-A0D4-B9A3122D2B62}"/>
          </ac:spMkLst>
        </pc:spChg>
        <pc:spChg chg="mod">
          <ac:chgData name="Soleil Yi" userId="c719b956-004a-4243-81dc-14be649b7814" providerId="ADAL" clId="{50DC4EE2-8FC0-47D5-B5D6-C6C1D4ED5A25}" dt="2022-09-13T07:08:06.871" v="2713" actId="947"/>
          <ac:spMkLst>
            <pc:docMk/>
            <pc:sldMk cId="2760031028" sldId="1847"/>
            <ac:spMk id="18" creationId="{F786F6E9-E442-4042-9622-E7A66E254175}"/>
          </ac:spMkLst>
        </pc:spChg>
        <pc:spChg chg="mod">
          <ac:chgData name="Soleil Yi" userId="c719b956-004a-4243-81dc-14be649b7814" providerId="ADAL" clId="{50DC4EE2-8FC0-47D5-B5D6-C6C1D4ED5A25}" dt="2022-09-13T07:08:06.887" v="2717" actId="947"/>
          <ac:spMkLst>
            <pc:docMk/>
            <pc:sldMk cId="2760031028" sldId="1847"/>
            <ac:spMk id="19" creationId="{96F89635-B622-4D23-9F52-A5451854FB09}"/>
          </ac:spMkLst>
        </pc:spChg>
        <pc:spChg chg="mod">
          <ac:chgData name="Soleil Yi" userId="c719b956-004a-4243-81dc-14be649b7814" providerId="ADAL" clId="{50DC4EE2-8FC0-47D5-B5D6-C6C1D4ED5A25}" dt="2022-09-13T07:08:06.903" v="2721" actId="947"/>
          <ac:spMkLst>
            <pc:docMk/>
            <pc:sldMk cId="2760031028" sldId="1847"/>
            <ac:spMk id="20" creationId="{240CA7EE-4A69-4DC5-A055-3B55A2D405E1}"/>
          </ac:spMkLst>
        </pc:spChg>
        <pc:spChg chg="mod">
          <ac:chgData name="Soleil Yi" userId="c719b956-004a-4243-81dc-14be649b7814" providerId="ADAL" clId="{50DC4EE2-8FC0-47D5-B5D6-C6C1D4ED5A25}" dt="2022-09-13T07:08:06.919" v="2725" actId="947"/>
          <ac:spMkLst>
            <pc:docMk/>
            <pc:sldMk cId="2760031028" sldId="1847"/>
            <ac:spMk id="21" creationId="{8BA955F2-AE08-482C-853D-B12E493A527C}"/>
          </ac:spMkLst>
        </pc:spChg>
        <pc:spChg chg="mod">
          <ac:chgData name="Soleil Yi" userId="c719b956-004a-4243-81dc-14be649b7814" providerId="ADAL" clId="{50DC4EE2-8FC0-47D5-B5D6-C6C1D4ED5A25}" dt="2022-09-13T07:08:06.806" v="2697"/>
          <ac:spMkLst>
            <pc:docMk/>
            <pc:sldMk cId="2760031028" sldId="1847"/>
            <ac:spMk id="22" creationId="{5D84713B-45F9-470F-92F4-ED3870DB60AF}"/>
          </ac:spMkLst>
        </pc:spChg>
        <pc:spChg chg="mod">
          <ac:chgData name="Soleil Yi" userId="c719b956-004a-4243-81dc-14be649b7814" providerId="ADAL" clId="{50DC4EE2-8FC0-47D5-B5D6-C6C1D4ED5A25}" dt="2022-09-13T07:08:06.823" v="2701" actId="947"/>
          <ac:spMkLst>
            <pc:docMk/>
            <pc:sldMk cId="2760031028" sldId="1847"/>
            <ac:spMk id="24" creationId="{FC42A8CE-E264-4BA8-9721-E5BCBD799974}"/>
          </ac:spMkLst>
        </pc:spChg>
        <pc:spChg chg="mod">
          <ac:chgData name="Soleil Yi" userId="c719b956-004a-4243-81dc-14be649b7814" providerId="ADAL" clId="{50DC4EE2-8FC0-47D5-B5D6-C6C1D4ED5A25}" dt="2022-09-13T07:08:06.838" v="2705" actId="947"/>
          <ac:spMkLst>
            <pc:docMk/>
            <pc:sldMk cId="2760031028" sldId="1847"/>
            <ac:spMk id="25" creationId="{131610A2-2E17-435C-8160-D2EB0D1225CF}"/>
          </ac:spMkLst>
        </pc:spChg>
        <pc:spChg chg="mod">
          <ac:chgData name="Soleil Yi" userId="c719b956-004a-4243-81dc-14be649b7814" providerId="ADAL" clId="{50DC4EE2-8FC0-47D5-B5D6-C6C1D4ED5A25}" dt="2022-09-13T07:08:06.765" v="2685"/>
          <ac:spMkLst>
            <pc:docMk/>
            <pc:sldMk cId="2760031028" sldId="1847"/>
            <ac:spMk id="26" creationId="{72A7C449-1290-4BF2-BF95-20289AC8EF7C}"/>
          </ac:spMkLst>
        </pc:spChg>
        <pc:spChg chg="mod">
          <ac:chgData name="Soleil Yi" userId="c719b956-004a-4243-81dc-14be649b7814" providerId="ADAL" clId="{50DC4EE2-8FC0-47D5-B5D6-C6C1D4ED5A25}" dt="2022-09-13T07:08:06.779" v="2689" actId="947"/>
          <ac:spMkLst>
            <pc:docMk/>
            <pc:sldMk cId="2760031028" sldId="1847"/>
            <ac:spMk id="28" creationId="{86EBB28B-E89D-43C2-9D83-B608A7F2A1AE}"/>
          </ac:spMkLst>
        </pc:spChg>
        <pc:spChg chg="mod">
          <ac:chgData name="Soleil Yi" userId="c719b956-004a-4243-81dc-14be649b7814" providerId="ADAL" clId="{50DC4EE2-8FC0-47D5-B5D6-C6C1D4ED5A25}" dt="2022-09-13T07:08:06.794" v="2693" actId="947"/>
          <ac:spMkLst>
            <pc:docMk/>
            <pc:sldMk cId="2760031028" sldId="1847"/>
            <ac:spMk id="29" creationId="{5D0151F4-7C0D-4D13-AA8B-3C7A01DA4A3C}"/>
          </ac:spMkLst>
        </pc:spChg>
        <pc:spChg chg="mod">
          <ac:chgData name="Soleil Yi" userId="c719b956-004a-4243-81dc-14be649b7814" providerId="ADAL" clId="{50DC4EE2-8FC0-47D5-B5D6-C6C1D4ED5A25}" dt="2022-09-13T07:08:06.724" v="2673"/>
          <ac:spMkLst>
            <pc:docMk/>
            <pc:sldMk cId="2760031028" sldId="1847"/>
            <ac:spMk id="30" creationId="{8C374469-14E3-4825-94B4-0165A8132D1F}"/>
          </ac:spMkLst>
        </pc:spChg>
        <pc:spChg chg="mod">
          <ac:chgData name="Soleil Yi" userId="c719b956-004a-4243-81dc-14be649b7814" providerId="ADAL" clId="{50DC4EE2-8FC0-47D5-B5D6-C6C1D4ED5A25}" dt="2022-09-13T07:08:06.739" v="2677" actId="947"/>
          <ac:spMkLst>
            <pc:docMk/>
            <pc:sldMk cId="2760031028" sldId="1847"/>
            <ac:spMk id="32" creationId="{93E7E087-AEC2-47E1-A3C7-9EEFB427CD4B}"/>
          </ac:spMkLst>
        </pc:spChg>
        <pc:spChg chg="mod">
          <ac:chgData name="Soleil Yi" userId="c719b956-004a-4243-81dc-14be649b7814" providerId="ADAL" clId="{50DC4EE2-8FC0-47D5-B5D6-C6C1D4ED5A25}" dt="2022-09-13T07:08:06.753" v="2681" actId="947"/>
          <ac:spMkLst>
            <pc:docMk/>
            <pc:sldMk cId="2760031028" sldId="1847"/>
            <ac:spMk id="33" creationId="{2EC82681-8B77-48B0-897E-FA1043FB71CD}"/>
          </ac:spMkLst>
        </pc:spChg>
        <pc:spChg chg="mod">
          <ac:chgData name="Soleil Yi" userId="c719b956-004a-4243-81dc-14be649b7814" providerId="ADAL" clId="{50DC4EE2-8FC0-47D5-B5D6-C6C1D4ED5A25}" dt="2022-09-13T07:08:06.676" v="2661"/>
          <ac:spMkLst>
            <pc:docMk/>
            <pc:sldMk cId="2760031028" sldId="1847"/>
            <ac:spMk id="34" creationId="{189EB6F8-7847-41C3-A8B4-2E9CF104F803}"/>
          </ac:spMkLst>
        </pc:spChg>
        <pc:spChg chg="mod">
          <ac:chgData name="Soleil Yi" userId="c719b956-004a-4243-81dc-14be649b7814" providerId="ADAL" clId="{50DC4EE2-8FC0-47D5-B5D6-C6C1D4ED5A25}" dt="2022-09-13T07:08:06.694" v="2665" actId="947"/>
          <ac:spMkLst>
            <pc:docMk/>
            <pc:sldMk cId="2760031028" sldId="1847"/>
            <ac:spMk id="36" creationId="{8AA6D2B2-1172-4A85-9EF5-2D358C5E0525}"/>
          </ac:spMkLst>
        </pc:spChg>
        <pc:spChg chg="mod">
          <ac:chgData name="Soleil Yi" userId="c719b956-004a-4243-81dc-14be649b7814" providerId="ADAL" clId="{50DC4EE2-8FC0-47D5-B5D6-C6C1D4ED5A25}" dt="2022-09-13T07:08:06.711" v="2669" actId="947"/>
          <ac:spMkLst>
            <pc:docMk/>
            <pc:sldMk cId="2760031028" sldId="1847"/>
            <ac:spMk id="37" creationId="{9580E319-BEC5-4111-9E93-6162B858D0EF}"/>
          </ac:spMkLst>
        </pc:spChg>
        <pc:spChg chg="mod">
          <ac:chgData name="Soleil Yi" userId="c719b956-004a-4243-81dc-14be649b7814" providerId="ADAL" clId="{50DC4EE2-8FC0-47D5-B5D6-C6C1D4ED5A25}" dt="2022-09-13T07:08:06.625" v="2649"/>
          <ac:spMkLst>
            <pc:docMk/>
            <pc:sldMk cId="2760031028" sldId="1847"/>
            <ac:spMk id="38" creationId="{93055649-E591-4C0E-96EB-499FEEFEEE46}"/>
          </ac:spMkLst>
        </pc:spChg>
        <pc:spChg chg="mod">
          <ac:chgData name="Soleil Yi" userId="c719b956-004a-4243-81dc-14be649b7814" providerId="ADAL" clId="{50DC4EE2-8FC0-47D5-B5D6-C6C1D4ED5A25}" dt="2022-09-13T07:08:06.641" v="2653" actId="947"/>
          <ac:spMkLst>
            <pc:docMk/>
            <pc:sldMk cId="2760031028" sldId="1847"/>
            <ac:spMk id="40" creationId="{B9DB9937-B780-4F64-90EE-C868A0CABC26}"/>
          </ac:spMkLst>
        </pc:spChg>
        <pc:spChg chg="mod">
          <ac:chgData name="Soleil Yi" userId="c719b956-004a-4243-81dc-14be649b7814" providerId="ADAL" clId="{50DC4EE2-8FC0-47D5-B5D6-C6C1D4ED5A25}" dt="2022-09-13T07:08:06.660" v="2657" actId="947"/>
          <ac:spMkLst>
            <pc:docMk/>
            <pc:sldMk cId="2760031028" sldId="1847"/>
            <ac:spMk id="41" creationId="{71A66C02-7754-4BE2-82A3-06A986D3ED3A}"/>
          </ac:spMkLst>
        </pc:spChg>
        <pc:spChg chg="mod">
          <ac:chgData name="Soleil Yi" userId="c719b956-004a-4243-81dc-14be649b7814" providerId="ADAL" clId="{50DC4EE2-8FC0-47D5-B5D6-C6C1D4ED5A25}" dt="2022-09-13T07:08:06.073" v="2486"/>
          <ac:spMkLst>
            <pc:docMk/>
            <pc:sldMk cId="2760031028" sldId="1847"/>
            <ac:spMk id="42" creationId="{CA92100D-5657-438D-A6D6-50C7F6F4E0CB}"/>
          </ac:spMkLst>
        </pc:spChg>
        <pc:spChg chg="mod">
          <ac:chgData name="Soleil Yi" userId="c719b956-004a-4243-81dc-14be649b7814" providerId="ADAL" clId="{50DC4EE2-8FC0-47D5-B5D6-C6C1D4ED5A25}" dt="2022-09-13T07:08:06.091" v="2493"/>
          <ac:spMkLst>
            <pc:docMk/>
            <pc:sldMk cId="2760031028" sldId="1847"/>
            <ac:spMk id="43" creationId="{10C42052-8459-4015-81B6-08CF4EA34E9B}"/>
          </ac:spMkLst>
        </pc:spChg>
        <pc:spChg chg="mod">
          <ac:chgData name="Soleil Yi" userId="c719b956-004a-4243-81dc-14be649b7814" providerId="ADAL" clId="{50DC4EE2-8FC0-47D5-B5D6-C6C1D4ED5A25}" dt="2022-09-13T07:08:06.104" v="2497"/>
          <ac:spMkLst>
            <pc:docMk/>
            <pc:sldMk cId="2760031028" sldId="1847"/>
            <ac:spMk id="44" creationId="{70504CBE-68A1-4E4C-AE56-90B07ED27905}"/>
          </ac:spMkLst>
        </pc:spChg>
        <pc:spChg chg="mod">
          <ac:chgData name="Soleil Yi" userId="c719b956-004a-4243-81dc-14be649b7814" providerId="ADAL" clId="{50DC4EE2-8FC0-47D5-B5D6-C6C1D4ED5A25}" dt="2022-09-13T07:08:06.115" v="2501"/>
          <ac:spMkLst>
            <pc:docMk/>
            <pc:sldMk cId="2760031028" sldId="1847"/>
            <ac:spMk id="45" creationId="{D6CE9487-D303-43DA-86C8-F479A16A2425}"/>
          </ac:spMkLst>
        </pc:spChg>
        <pc:spChg chg="mod">
          <ac:chgData name="Soleil Yi" userId="c719b956-004a-4243-81dc-14be649b7814" providerId="ADAL" clId="{50DC4EE2-8FC0-47D5-B5D6-C6C1D4ED5A25}" dt="2022-09-13T07:08:06.129" v="2505"/>
          <ac:spMkLst>
            <pc:docMk/>
            <pc:sldMk cId="2760031028" sldId="1847"/>
            <ac:spMk id="46" creationId="{1B19336A-3CE6-42A6-9D5B-6F0087811ECA}"/>
          </ac:spMkLst>
        </pc:spChg>
        <pc:spChg chg="mod">
          <ac:chgData name="Soleil Yi" userId="c719b956-004a-4243-81dc-14be649b7814" providerId="ADAL" clId="{50DC4EE2-8FC0-47D5-B5D6-C6C1D4ED5A25}" dt="2022-09-13T07:08:06.141" v="2509"/>
          <ac:spMkLst>
            <pc:docMk/>
            <pc:sldMk cId="2760031028" sldId="1847"/>
            <ac:spMk id="47" creationId="{5AFF859C-77EC-41F6-80C7-E3698DB18A90}"/>
          </ac:spMkLst>
        </pc:spChg>
        <pc:spChg chg="mod">
          <ac:chgData name="Soleil Yi" userId="c719b956-004a-4243-81dc-14be649b7814" providerId="ADAL" clId="{50DC4EE2-8FC0-47D5-B5D6-C6C1D4ED5A25}" dt="2022-09-13T07:08:06.153" v="2513"/>
          <ac:spMkLst>
            <pc:docMk/>
            <pc:sldMk cId="2760031028" sldId="1847"/>
            <ac:spMk id="48" creationId="{6F2AAE67-289E-49A4-8BC3-D1FE9F22F375}"/>
          </ac:spMkLst>
        </pc:spChg>
        <pc:spChg chg="mod">
          <ac:chgData name="Soleil Yi" userId="c719b956-004a-4243-81dc-14be649b7814" providerId="ADAL" clId="{50DC4EE2-8FC0-47D5-B5D6-C6C1D4ED5A25}" dt="2022-09-13T07:08:06.166" v="2517"/>
          <ac:spMkLst>
            <pc:docMk/>
            <pc:sldMk cId="2760031028" sldId="1847"/>
            <ac:spMk id="49" creationId="{5B173020-E95B-45BF-BE50-FD20BE9013EF}"/>
          </ac:spMkLst>
        </pc:spChg>
        <pc:spChg chg="mod">
          <ac:chgData name="Soleil Yi" userId="c719b956-004a-4243-81dc-14be649b7814" providerId="ADAL" clId="{50DC4EE2-8FC0-47D5-B5D6-C6C1D4ED5A25}" dt="2022-09-13T07:08:06.177" v="2521"/>
          <ac:spMkLst>
            <pc:docMk/>
            <pc:sldMk cId="2760031028" sldId="1847"/>
            <ac:spMk id="50" creationId="{8C7A1958-DEE5-4537-A458-33A503A05617}"/>
          </ac:spMkLst>
        </pc:spChg>
        <pc:spChg chg="mod">
          <ac:chgData name="Soleil Yi" userId="c719b956-004a-4243-81dc-14be649b7814" providerId="ADAL" clId="{50DC4EE2-8FC0-47D5-B5D6-C6C1D4ED5A25}" dt="2022-09-13T07:08:06.191" v="2525"/>
          <ac:spMkLst>
            <pc:docMk/>
            <pc:sldMk cId="2760031028" sldId="1847"/>
            <ac:spMk id="51" creationId="{2E10FD01-0968-43A1-AEE6-7379E15A7DBB}"/>
          </ac:spMkLst>
        </pc:spChg>
        <pc:spChg chg="mod">
          <ac:chgData name="Soleil Yi" userId="c719b956-004a-4243-81dc-14be649b7814" providerId="ADAL" clId="{50DC4EE2-8FC0-47D5-B5D6-C6C1D4ED5A25}" dt="2022-09-13T07:08:06.204" v="2529"/>
          <ac:spMkLst>
            <pc:docMk/>
            <pc:sldMk cId="2760031028" sldId="1847"/>
            <ac:spMk id="52" creationId="{704E4227-6DFA-4895-AB51-C93654494154}"/>
          </ac:spMkLst>
        </pc:spChg>
        <pc:spChg chg="mod">
          <ac:chgData name="Soleil Yi" userId="c719b956-004a-4243-81dc-14be649b7814" providerId="ADAL" clId="{50DC4EE2-8FC0-47D5-B5D6-C6C1D4ED5A25}" dt="2022-09-13T07:08:06.218" v="2533"/>
          <ac:spMkLst>
            <pc:docMk/>
            <pc:sldMk cId="2760031028" sldId="1847"/>
            <ac:spMk id="53" creationId="{DA6FF3F7-49E8-4B60-BCCF-75A0B70A66EB}"/>
          </ac:spMkLst>
        </pc:spChg>
        <pc:spChg chg="mod">
          <ac:chgData name="Soleil Yi" userId="c719b956-004a-4243-81dc-14be649b7814" providerId="ADAL" clId="{50DC4EE2-8FC0-47D5-B5D6-C6C1D4ED5A25}" dt="2022-09-13T07:08:06.231" v="2537"/>
          <ac:spMkLst>
            <pc:docMk/>
            <pc:sldMk cId="2760031028" sldId="1847"/>
            <ac:spMk id="54" creationId="{30835823-ED62-4F3F-9B4A-BAD87E6560D0}"/>
          </ac:spMkLst>
        </pc:spChg>
        <pc:spChg chg="mod">
          <ac:chgData name="Soleil Yi" userId="c719b956-004a-4243-81dc-14be649b7814" providerId="ADAL" clId="{50DC4EE2-8FC0-47D5-B5D6-C6C1D4ED5A25}" dt="2022-09-13T07:08:06.247" v="2541"/>
          <ac:spMkLst>
            <pc:docMk/>
            <pc:sldMk cId="2760031028" sldId="1847"/>
            <ac:spMk id="55" creationId="{6ADF256D-759D-4693-8BA3-FECC194453A4}"/>
          </ac:spMkLst>
        </pc:spChg>
        <pc:spChg chg="mod">
          <ac:chgData name="Soleil Yi" userId="c719b956-004a-4243-81dc-14be649b7814" providerId="ADAL" clId="{50DC4EE2-8FC0-47D5-B5D6-C6C1D4ED5A25}" dt="2022-09-13T07:08:06.261" v="2545"/>
          <ac:spMkLst>
            <pc:docMk/>
            <pc:sldMk cId="2760031028" sldId="1847"/>
            <ac:spMk id="56" creationId="{D0860A6F-D9C5-48A3-86F5-1D90F9F98E65}"/>
          </ac:spMkLst>
        </pc:spChg>
        <pc:spChg chg="mod">
          <ac:chgData name="Soleil Yi" userId="c719b956-004a-4243-81dc-14be649b7814" providerId="ADAL" clId="{50DC4EE2-8FC0-47D5-B5D6-C6C1D4ED5A25}" dt="2022-09-13T07:08:06.274" v="2549"/>
          <ac:spMkLst>
            <pc:docMk/>
            <pc:sldMk cId="2760031028" sldId="1847"/>
            <ac:spMk id="57" creationId="{94BE46F8-07D1-47E3-BCAF-423568E0A780}"/>
          </ac:spMkLst>
        </pc:spChg>
        <pc:spChg chg="mod">
          <ac:chgData name="Soleil Yi" userId="c719b956-004a-4243-81dc-14be649b7814" providerId="ADAL" clId="{50DC4EE2-8FC0-47D5-B5D6-C6C1D4ED5A25}" dt="2022-09-13T07:08:06.285" v="2553"/>
          <ac:spMkLst>
            <pc:docMk/>
            <pc:sldMk cId="2760031028" sldId="1847"/>
            <ac:spMk id="58" creationId="{9ABF0EEF-F821-4B6B-998B-F230859EB23C}"/>
          </ac:spMkLst>
        </pc:spChg>
        <pc:spChg chg="mod">
          <ac:chgData name="Soleil Yi" userId="c719b956-004a-4243-81dc-14be649b7814" providerId="ADAL" clId="{50DC4EE2-8FC0-47D5-B5D6-C6C1D4ED5A25}" dt="2022-09-13T07:08:06.297" v="2557"/>
          <ac:spMkLst>
            <pc:docMk/>
            <pc:sldMk cId="2760031028" sldId="1847"/>
            <ac:spMk id="59" creationId="{E567704D-5A65-4028-BB22-EAF6F3BD0C00}"/>
          </ac:spMkLst>
        </pc:spChg>
        <pc:spChg chg="mod">
          <ac:chgData name="Soleil Yi" userId="c719b956-004a-4243-81dc-14be649b7814" providerId="ADAL" clId="{50DC4EE2-8FC0-47D5-B5D6-C6C1D4ED5A25}" dt="2022-09-13T07:08:06.309" v="2561"/>
          <ac:spMkLst>
            <pc:docMk/>
            <pc:sldMk cId="2760031028" sldId="1847"/>
            <ac:spMk id="60" creationId="{DB230227-C20F-45FB-8CCB-F632EC43B29A}"/>
          </ac:spMkLst>
        </pc:spChg>
        <pc:spChg chg="mod">
          <ac:chgData name="Soleil Yi" userId="c719b956-004a-4243-81dc-14be649b7814" providerId="ADAL" clId="{50DC4EE2-8FC0-47D5-B5D6-C6C1D4ED5A25}" dt="2022-09-13T07:08:06.322" v="2565"/>
          <ac:spMkLst>
            <pc:docMk/>
            <pc:sldMk cId="2760031028" sldId="1847"/>
            <ac:spMk id="61" creationId="{736F4156-799B-4086-A04E-DE5DCA4BB80B}"/>
          </ac:spMkLst>
        </pc:spChg>
        <pc:spChg chg="mod">
          <ac:chgData name="Soleil Yi" userId="c719b956-004a-4243-81dc-14be649b7814" providerId="ADAL" clId="{50DC4EE2-8FC0-47D5-B5D6-C6C1D4ED5A25}" dt="2022-09-13T07:08:06.335" v="2569"/>
          <ac:spMkLst>
            <pc:docMk/>
            <pc:sldMk cId="2760031028" sldId="1847"/>
            <ac:spMk id="62" creationId="{1CC7BA68-F2FD-4AAD-A466-EAD94A2BA7AE}"/>
          </ac:spMkLst>
        </pc:spChg>
        <pc:spChg chg="mod">
          <ac:chgData name="Soleil Yi" userId="c719b956-004a-4243-81dc-14be649b7814" providerId="ADAL" clId="{50DC4EE2-8FC0-47D5-B5D6-C6C1D4ED5A25}" dt="2022-09-13T07:08:06.349" v="2573"/>
          <ac:spMkLst>
            <pc:docMk/>
            <pc:sldMk cId="2760031028" sldId="1847"/>
            <ac:spMk id="63" creationId="{5258A53B-E45B-497E-A4BC-9373CA8FBC58}"/>
          </ac:spMkLst>
        </pc:spChg>
        <pc:spChg chg="mod">
          <ac:chgData name="Soleil Yi" userId="c719b956-004a-4243-81dc-14be649b7814" providerId="ADAL" clId="{50DC4EE2-8FC0-47D5-B5D6-C6C1D4ED5A25}" dt="2022-09-13T07:08:06.364" v="2577" actId="947"/>
          <ac:spMkLst>
            <pc:docMk/>
            <pc:sldMk cId="2760031028" sldId="1847"/>
            <ac:spMk id="64" creationId="{866BC329-2D17-4588-8057-C2EEC8184A84}"/>
          </ac:spMkLst>
        </pc:spChg>
        <pc:spChg chg="mod">
          <ac:chgData name="Soleil Yi" userId="c719b956-004a-4243-81dc-14be649b7814" providerId="ADAL" clId="{50DC4EE2-8FC0-47D5-B5D6-C6C1D4ED5A25}" dt="2022-09-13T07:08:06.379" v="2581" actId="947"/>
          <ac:spMkLst>
            <pc:docMk/>
            <pc:sldMk cId="2760031028" sldId="1847"/>
            <ac:spMk id="65" creationId="{7EF5987D-0631-454E-B83F-B1EA5C9925B1}"/>
          </ac:spMkLst>
        </pc:spChg>
        <pc:spChg chg="mod">
          <ac:chgData name="Soleil Yi" userId="c719b956-004a-4243-81dc-14be649b7814" providerId="ADAL" clId="{50DC4EE2-8FC0-47D5-B5D6-C6C1D4ED5A25}" dt="2022-09-13T07:08:06.393" v="2585" actId="947"/>
          <ac:spMkLst>
            <pc:docMk/>
            <pc:sldMk cId="2760031028" sldId="1847"/>
            <ac:spMk id="66" creationId="{1748E724-B6AA-4429-96F3-D7E18581EAA8}"/>
          </ac:spMkLst>
        </pc:spChg>
        <pc:spChg chg="mod">
          <ac:chgData name="Soleil Yi" userId="c719b956-004a-4243-81dc-14be649b7814" providerId="ADAL" clId="{50DC4EE2-8FC0-47D5-B5D6-C6C1D4ED5A25}" dt="2022-09-13T07:08:06.407" v="2589"/>
          <ac:spMkLst>
            <pc:docMk/>
            <pc:sldMk cId="2760031028" sldId="1847"/>
            <ac:spMk id="67" creationId="{744C99D2-1284-4E64-A828-E00BD691F1EB}"/>
          </ac:spMkLst>
        </pc:spChg>
        <pc:spChg chg="mod">
          <ac:chgData name="Soleil Yi" userId="c719b956-004a-4243-81dc-14be649b7814" providerId="ADAL" clId="{50DC4EE2-8FC0-47D5-B5D6-C6C1D4ED5A25}" dt="2022-09-13T07:08:06.424" v="2593"/>
          <ac:spMkLst>
            <pc:docMk/>
            <pc:sldMk cId="2760031028" sldId="1847"/>
            <ac:spMk id="68" creationId="{BB4D04D3-3358-4A89-9548-9C8849C1E930}"/>
          </ac:spMkLst>
        </pc:spChg>
        <pc:spChg chg="mod">
          <ac:chgData name="Soleil Yi" userId="c719b956-004a-4243-81dc-14be649b7814" providerId="ADAL" clId="{50DC4EE2-8FC0-47D5-B5D6-C6C1D4ED5A25}" dt="2022-09-13T07:08:06.438" v="2597"/>
          <ac:spMkLst>
            <pc:docMk/>
            <pc:sldMk cId="2760031028" sldId="1847"/>
            <ac:spMk id="69" creationId="{ABC3AE03-2DAB-4AD8-AB5B-C0C234365A13}"/>
          </ac:spMkLst>
        </pc:spChg>
        <pc:spChg chg="mod">
          <ac:chgData name="Soleil Yi" userId="c719b956-004a-4243-81dc-14be649b7814" providerId="ADAL" clId="{50DC4EE2-8FC0-47D5-B5D6-C6C1D4ED5A25}" dt="2022-09-13T07:08:06.454" v="2601"/>
          <ac:spMkLst>
            <pc:docMk/>
            <pc:sldMk cId="2760031028" sldId="1847"/>
            <ac:spMk id="70" creationId="{2A5FFD69-14F0-4E34-91DE-AC6ED69CC7F9}"/>
          </ac:spMkLst>
        </pc:spChg>
        <pc:spChg chg="mod">
          <ac:chgData name="Soleil Yi" userId="c719b956-004a-4243-81dc-14be649b7814" providerId="ADAL" clId="{50DC4EE2-8FC0-47D5-B5D6-C6C1D4ED5A25}" dt="2022-09-13T07:08:06.468" v="2605" actId="947"/>
          <ac:spMkLst>
            <pc:docMk/>
            <pc:sldMk cId="2760031028" sldId="1847"/>
            <ac:spMk id="71" creationId="{C6437222-F256-4D4C-890D-D3B064E509F7}"/>
          </ac:spMkLst>
        </pc:spChg>
        <pc:spChg chg="mod">
          <ac:chgData name="Soleil Yi" userId="c719b956-004a-4243-81dc-14be649b7814" providerId="ADAL" clId="{50DC4EE2-8FC0-47D5-B5D6-C6C1D4ED5A25}" dt="2022-09-13T07:08:06.480" v="2609"/>
          <ac:spMkLst>
            <pc:docMk/>
            <pc:sldMk cId="2760031028" sldId="1847"/>
            <ac:spMk id="72" creationId="{54A4A3D6-AF6F-4FA1-8FB9-55E4FD302428}"/>
          </ac:spMkLst>
        </pc:spChg>
        <pc:spChg chg="mod">
          <ac:chgData name="Soleil Yi" userId="c719b956-004a-4243-81dc-14be649b7814" providerId="ADAL" clId="{50DC4EE2-8FC0-47D5-B5D6-C6C1D4ED5A25}" dt="2022-09-13T07:08:06.492" v="2613"/>
          <ac:spMkLst>
            <pc:docMk/>
            <pc:sldMk cId="2760031028" sldId="1847"/>
            <ac:spMk id="73" creationId="{1D173088-1BCC-4BED-973D-2F5C846EB49B}"/>
          </ac:spMkLst>
        </pc:spChg>
        <pc:spChg chg="mod">
          <ac:chgData name="Soleil Yi" userId="c719b956-004a-4243-81dc-14be649b7814" providerId="ADAL" clId="{50DC4EE2-8FC0-47D5-B5D6-C6C1D4ED5A25}" dt="2022-09-13T07:08:06.504" v="2617"/>
          <ac:spMkLst>
            <pc:docMk/>
            <pc:sldMk cId="2760031028" sldId="1847"/>
            <ac:spMk id="74" creationId="{DF9F78C5-2C18-42BB-8FD8-545E7D2398D0}"/>
          </ac:spMkLst>
        </pc:spChg>
        <pc:spChg chg="mod">
          <ac:chgData name="Soleil Yi" userId="c719b956-004a-4243-81dc-14be649b7814" providerId="ADAL" clId="{50DC4EE2-8FC0-47D5-B5D6-C6C1D4ED5A25}" dt="2022-09-13T07:08:06.517" v="2621"/>
          <ac:spMkLst>
            <pc:docMk/>
            <pc:sldMk cId="2760031028" sldId="1847"/>
            <ac:spMk id="75" creationId="{FB6B7032-086B-4469-AE1E-3F1EA559C4EC}"/>
          </ac:spMkLst>
        </pc:spChg>
        <pc:spChg chg="mod">
          <ac:chgData name="Soleil Yi" userId="c719b956-004a-4243-81dc-14be649b7814" providerId="ADAL" clId="{50DC4EE2-8FC0-47D5-B5D6-C6C1D4ED5A25}" dt="2022-09-13T07:08:06.528" v="2625"/>
          <ac:spMkLst>
            <pc:docMk/>
            <pc:sldMk cId="2760031028" sldId="1847"/>
            <ac:spMk id="76" creationId="{4B2301E6-55C5-45C9-8B24-4D1559C9CAA2}"/>
          </ac:spMkLst>
        </pc:spChg>
        <pc:spChg chg="mod">
          <ac:chgData name="Soleil Yi" userId="c719b956-004a-4243-81dc-14be649b7814" providerId="ADAL" clId="{50DC4EE2-8FC0-47D5-B5D6-C6C1D4ED5A25}" dt="2022-09-13T07:08:06.542" v="2629"/>
          <ac:spMkLst>
            <pc:docMk/>
            <pc:sldMk cId="2760031028" sldId="1847"/>
            <ac:spMk id="77" creationId="{58876B72-453F-4EAD-86AF-4C9279119D3D}"/>
          </ac:spMkLst>
        </pc:spChg>
        <pc:spChg chg="mod">
          <ac:chgData name="Soleil Yi" userId="c719b956-004a-4243-81dc-14be649b7814" providerId="ADAL" clId="{50DC4EE2-8FC0-47D5-B5D6-C6C1D4ED5A25}" dt="2022-09-13T07:08:06.553" v="2633"/>
          <ac:spMkLst>
            <pc:docMk/>
            <pc:sldMk cId="2760031028" sldId="1847"/>
            <ac:spMk id="78" creationId="{6E05425E-4759-438B-B293-5350EBE60E59}"/>
          </ac:spMkLst>
        </pc:spChg>
        <pc:spChg chg="mod">
          <ac:chgData name="Soleil Yi" userId="c719b956-004a-4243-81dc-14be649b7814" providerId="ADAL" clId="{50DC4EE2-8FC0-47D5-B5D6-C6C1D4ED5A25}" dt="2022-09-13T07:08:06.565" v="2637"/>
          <ac:spMkLst>
            <pc:docMk/>
            <pc:sldMk cId="2760031028" sldId="1847"/>
            <ac:spMk id="79" creationId="{D20C0D03-28AF-447D-A689-07992552F203}"/>
          </ac:spMkLst>
        </pc:spChg>
        <pc:spChg chg="mod">
          <ac:chgData name="Soleil Yi" userId="c719b956-004a-4243-81dc-14be649b7814" providerId="ADAL" clId="{50DC4EE2-8FC0-47D5-B5D6-C6C1D4ED5A25}" dt="2022-09-13T07:08:06.577" v="2641"/>
          <ac:spMkLst>
            <pc:docMk/>
            <pc:sldMk cId="2760031028" sldId="1847"/>
            <ac:spMk id="80" creationId="{CACB6A80-7751-4288-AF65-897825CE99AD}"/>
          </ac:spMkLst>
        </pc:spChg>
        <pc:spChg chg="mod">
          <ac:chgData name="Soleil Yi" userId="c719b956-004a-4243-81dc-14be649b7814" providerId="ADAL" clId="{50DC4EE2-8FC0-47D5-B5D6-C6C1D4ED5A25}" dt="2022-09-13T07:08:06.589" v="2645"/>
          <ac:spMkLst>
            <pc:docMk/>
            <pc:sldMk cId="2760031028" sldId="1847"/>
            <ac:spMk id="81" creationId="{573975B0-3954-4A3F-87C2-EE0320BC2A60}"/>
          </ac:spMkLst>
        </pc:spChg>
      </pc:sldChg>
      <pc:sldChg chg="modSp mod">
        <pc:chgData name="Soleil Yi" userId="c719b956-004a-4243-81dc-14be649b7814" providerId="ADAL" clId="{50DC4EE2-8FC0-47D5-B5D6-C6C1D4ED5A25}" dt="2022-09-13T07:08:04.315" v="2009" actId="947"/>
        <pc:sldMkLst>
          <pc:docMk/>
          <pc:sldMk cId="1159355273" sldId="1851"/>
        </pc:sldMkLst>
        <pc:spChg chg="mod">
          <ac:chgData name="Soleil Yi" userId="c719b956-004a-4243-81dc-14be649b7814" providerId="ADAL" clId="{50DC4EE2-8FC0-47D5-B5D6-C6C1D4ED5A25}" dt="2022-09-13T07:08:02.974" v="1625" actId="947"/>
          <ac:spMkLst>
            <pc:docMk/>
            <pc:sldMk cId="1159355273" sldId="1851"/>
            <ac:spMk id="2" creationId="{F153A4E0-094A-4144-8C1C-75C6B5D58663}"/>
          </ac:spMkLst>
        </pc:spChg>
        <pc:spChg chg="mod">
          <ac:chgData name="Soleil Yi" userId="c719b956-004a-4243-81dc-14be649b7814" providerId="ADAL" clId="{50DC4EE2-8FC0-47D5-B5D6-C6C1D4ED5A25}" dt="2022-09-13T07:08:03.015" v="1637" actId="947"/>
          <ac:spMkLst>
            <pc:docMk/>
            <pc:sldMk cId="1159355273" sldId="1851"/>
            <ac:spMk id="3" creationId="{E6038584-3D8E-4BCD-AF5B-7A6EBAC6A887}"/>
          </ac:spMkLst>
        </pc:spChg>
        <pc:spChg chg="mod">
          <ac:chgData name="Soleil Yi" userId="c719b956-004a-4243-81dc-14be649b7814" providerId="ADAL" clId="{50DC4EE2-8FC0-47D5-B5D6-C6C1D4ED5A25}" dt="2022-09-13T07:08:03.014" v="1636" actId="947"/>
          <ac:spMkLst>
            <pc:docMk/>
            <pc:sldMk cId="1159355273" sldId="1851"/>
            <ac:spMk id="4" creationId="{F0E38F0F-2B3E-4CD9-9689-30B1CE90478D}"/>
          </ac:spMkLst>
        </pc:spChg>
        <pc:spChg chg="mod">
          <ac:chgData name="Soleil Yi" userId="c719b956-004a-4243-81dc-14be649b7814" providerId="ADAL" clId="{50DC4EE2-8FC0-47D5-B5D6-C6C1D4ED5A25}" dt="2022-09-13T07:08:03.006" v="1632" actId="947"/>
          <ac:spMkLst>
            <pc:docMk/>
            <pc:sldMk cId="1159355273" sldId="1851"/>
            <ac:spMk id="45" creationId="{77F82743-4786-48CA-BC42-F3F6BFC01B95}"/>
          </ac:spMkLst>
        </pc:spChg>
        <pc:spChg chg="mod">
          <ac:chgData name="Soleil Yi" userId="c719b956-004a-4243-81dc-14be649b7814" providerId="ADAL" clId="{50DC4EE2-8FC0-47D5-B5D6-C6C1D4ED5A25}" dt="2022-09-13T07:08:04.068" v="1949" actId="947"/>
          <ac:spMkLst>
            <pc:docMk/>
            <pc:sldMk cId="1159355273" sldId="1851"/>
            <ac:spMk id="47" creationId="{536A085B-A272-4B3E-969C-9EE04D84F05A}"/>
          </ac:spMkLst>
        </pc:spChg>
        <pc:spChg chg="mod">
          <ac:chgData name="Soleil Yi" userId="c719b956-004a-4243-81dc-14be649b7814" providerId="ADAL" clId="{50DC4EE2-8FC0-47D5-B5D6-C6C1D4ED5A25}" dt="2022-09-13T07:08:04.184" v="1977" actId="947"/>
          <ac:spMkLst>
            <pc:docMk/>
            <pc:sldMk cId="1159355273" sldId="1851"/>
            <ac:spMk id="49" creationId="{BAB23B19-8BB2-4B01-86A2-74C62E905BD6}"/>
          </ac:spMkLst>
        </pc:spChg>
        <pc:spChg chg="mod">
          <ac:chgData name="Soleil Yi" userId="c719b956-004a-4243-81dc-14be649b7814" providerId="ADAL" clId="{50DC4EE2-8FC0-47D5-B5D6-C6C1D4ED5A25}" dt="2022-09-13T07:08:04.298" v="2005" actId="947"/>
          <ac:spMkLst>
            <pc:docMk/>
            <pc:sldMk cId="1159355273" sldId="1851"/>
            <ac:spMk id="52" creationId="{61D12B4C-F559-4B07-964E-C450AF7FFFB1}"/>
          </ac:spMkLst>
        </pc:spChg>
        <pc:spChg chg="mod">
          <ac:chgData name="Soleil Yi" userId="c719b956-004a-4243-81dc-14be649b7814" providerId="ADAL" clId="{50DC4EE2-8FC0-47D5-B5D6-C6C1D4ED5A25}" dt="2022-09-13T07:08:04.315" v="2009" actId="947"/>
          <ac:spMkLst>
            <pc:docMk/>
            <pc:sldMk cId="1159355273" sldId="1851"/>
            <ac:spMk id="53" creationId="{7F39CB9C-FE2B-4DC7-AD50-449C8A523764}"/>
          </ac:spMkLst>
        </pc:spChg>
        <pc:spChg chg="mod">
          <ac:chgData name="Soleil Yi" userId="c719b956-004a-4243-81dc-14be649b7814" providerId="ADAL" clId="{50DC4EE2-8FC0-47D5-B5D6-C6C1D4ED5A25}" dt="2022-09-13T07:08:04.200" v="1981" actId="947"/>
          <ac:spMkLst>
            <pc:docMk/>
            <pc:sldMk cId="1159355273" sldId="1851"/>
            <ac:spMk id="54" creationId="{13D1D96B-C8E2-49B6-AF05-138D78FB20B4}"/>
          </ac:spMkLst>
        </pc:spChg>
        <pc:spChg chg="mod">
          <ac:chgData name="Soleil Yi" userId="c719b956-004a-4243-81dc-14be649b7814" providerId="ADAL" clId="{50DC4EE2-8FC0-47D5-B5D6-C6C1D4ED5A25}" dt="2022-09-13T07:08:04.215" v="1985" actId="947"/>
          <ac:spMkLst>
            <pc:docMk/>
            <pc:sldMk cId="1159355273" sldId="1851"/>
            <ac:spMk id="55" creationId="{E93288C7-B048-4C18-BA11-FB1CF90453B4}"/>
          </ac:spMkLst>
        </pc:spChg>
        <pc:spChg chg="mod">
          <ac:chgData name="Soleil Yi" userId="c719b956-004a-4243-81dc-14be649b7814" providerId="ADAL" clId="{50DC4EE2-8FC0-47D5-B5D6-C6C1D4ED5A25}" dt="2022-09-13T07:08:04.267" v="1997" actId="947"/>
          <ac:spMkLst>
            <pc:docMk/>
            <pc:sldMk cId="1159355273" sldId="1851"/>
            <ac:spMk id="58" creationId="{DC416059-6CC0-4094-92CF-214BF6A9BC8A}"/>
          </ac:spMkLst>
        </pc:spChg>
        <pc:spChg chg="mod">
          <ac:chgData name="Soleil Yi" userId="c719b956-004a-4243-81dc-14be649b7814" providerId="ADAL" clId="{50DC4EE2-8FC0-47D5-B5D6-C6C1D4ED5A25}" dt="2022-09-13T07:08:04.282" v="2001" actId="947"/>
          <ac:spMkLst>
            <pc:docMk/>
            <pc:sldMk cId="1159355273" sldId="1851"/>
            <ac:spMk id="59" creationId="{E88FFA30-91C3-4E3F-BA74-617180838C5C}"/>
          </ac:spMkLst>
        </pc:spChg>
        <pc:spChg chg="mod">
          <ac:chgData name="Soleil Yi" userId="c719b956-004a-4243-81dc-14be649b7814" providerId="ADAL" clId="{50DC4EE2-8FC0-47D5-B5D6-C6C1D4ED5A25}" dt="2022-09-13T07:08:04.235" v="1989" actId="947"/>
          <ac:spMkLst>
            <pc:docMk/>
            <pc:sldMk cId="1159355273" sldId="1851"/>
            <ac:spMk id="60" creationId="{5E4A3646-C694-4E31-91FC-623582B038CB}"/>
          </ac:spMkLst>
        </pc:spChg>
        <pc:spChg chg="mod">
          <ac:chgData name="Soleil Yi" userId="c719b956-004a-4243-81dc-14be649b7814" providerId="ADAL" clId="{50DC4EE2-8FC0-47D5-B5D6-C6C1D4ED5A25}" dt="2022-09-13T07:08:04.251" v="1993" actId="947"/>
          <ac:spMkLst>
            <pc:docMk/>
            <pc:sldMk cId="1159355273" sldId="1851"/>
            <ac:spMk id="61" creationId="{3F83FC7C-31A0-45C5-B496-AFA7B1CB3DEE}"/>
          </ac:spMkLst>
        </pc:spChg>
        <pc:spChg chg="mod">
          <ac:chgData name="Soleil Yi" userId="c719b956-004a-4243-81dc-14be649b7814" providerId="ADAL" clId="{50DC4EE2-8FC0-47D5-B5D6-C6C1D4ED5A25}" dt="2022-09-13T07:08:04.084" v="1953" actId="947"/>
          <ac:spMkLst>
            <pc:docMk/>
            <pc:sldMk cId="1159355273" sldId="1851"/>
            <ac:spMk id="62" creationId="{AE2FC5C1-D43F-4E05-8034-13F441CF7D51}"/>
          </ac:spMkLst>
        </pc:spChg>
        <pc:spChg chg="mod">
          <ac:chgData name="Soleil Yi" userId="c719b956-004a-4243-81dc-14be649b7814" providerId="ADAL" clId="{50DC4EE2-8FC0-47D5-B5D6-C6C1D4ED5A25}" dt="2022-09-13T07:08:04.102" v="1957" actId="947"/>
          <ac:spMkLst>
            <pc:docMk/>
            <pc:sldMk cId="1159355273" sldId="1851"/>
            <ac:spMk id="63" creationId="{8B7F43FF-DC9B-412E-91D3-40B9BA8E8D63}"/>
          </ac:spMkLst>
        </pc:spChg>
        <pc:spChg chg="mod">
          <ac:chgData name="Soleil Yi" userId="c719b956-004a-4243-81dc-14be649b7814" providerId="ADAL" clId="{50DC4EE2-8FC0-47D5-B5D6-C6C1D4ED5A25}" dt="2022-09-13T07:08:04.152" v="1969" actId="947"/>
          <ac:spMkLst>
            <pc:docMk/>
            <pc:sldMk cId="1159355273" sldId="1851"/>
            <ac:spMk id="66" creationId="{B167467D-8BC3-4C05-BB98-52BB603966E8}"/>
          </ac:spMkLst>
        </pc:spChg>
        <pc:spChg chg="mod">
          <ac:chgData name="Soleil Yi" userId="c719b956-004a-4243-81dc-14be649b7814" providerId="ADAL" clId="{50DC4EE2-8FC0-47D5-B5D6-C6C1D4ED5A25}" dt="2022-09-13T07:08:04.168" v="1973" actId="947"/>
          <ac:spMkLst>
            <pc:docMk/>
            <pc:sldMk cId="1159355273" sldId="1851"/>
            <ac:spMk id="67" creationId="{CBDD9A71-7807-4399-A009-2BEF07E4BA64}"/>
          </ac:spMkLst>
        </pc:spChg>
        <pc:spChg chg="mod">
          <ac:chgData name="Soleil Yi" userId="c719b956-004a-4243-81dc-14be649b7814" providerId="ADAL" clId="{50DC4EE2-8FC0-47D5-B5D6-C6C1D4ED5A25}" dt="2022-09-13T07:08:04.120" v="1961" actId="947"/>
          <ac:spMkLst>
            <pc:docMk/>
            <pc:sldMk cId="1159355273" sldId="1851"/>
            <ac:spMk id="68" creationId="{8A359C5E-DDEF-46EB-9FAA-A3FB300106ED}"/>
          </ac:spMkLst>
        </pc:spChg>
        <pc:spChg chg="mod">
          <ac:chgData name="Soleil Yi" userId="c719b956-004a-4243-81dc-14be649b7814" providerId="ADAL" clId="{50DC4EE2-8FC0-47D5-B5D6-C6C1D4ED5A25}" dt="2022-09-13T07:08:04.135" v="1965" actId="947"/>
          <ac:spMkLst>
            <pc:docMk/>
            <pc:sldMk cId="1159355273" sldId="1851"/>
            <ac:spMk id="69" creationId="{305C5394-41B9-4E19-8565-B5EA7577475F}"/>
          </ac:spMkLst>
        </pc:spChg>
        <pc:spChg chg="mod">
          <ac:chgData name="Soleil Yi" userId="c719b956-004a-4243-81dc-14be649b7814" providerId="ADAL" clId="{50DC4EE2-8FC0-47D5-B5D6-C6C1D4ED5A25}" dt="2022-09-13T07:08:03.025" v="1641"/>
          <ac:spMkLst>
            <pc:docMk/>
            <pc:sldMk cId="1159355273" sldId="1851"/>
            <ac:spMk id="70" creationId="{57D55980-C894-4B47-8C03-AA456343D68E}"/>
          </ac:spMkLst>
        </pc:spChg>
        <pc:spChg chg="mod">
          <ac:chgData name="Soleil Yi" userId="c719b956-004a-4243-81dc-14be649b7814" providerId="ADAL" clId="{50DC4EE2-8FC0-47D5-B5D6-C6C1D4ED5A25}" dt="2022-09-13T07:08:03.039" v="1645"/>
          <ac:spMkLst>
            <pc:docMk/>
            <pc:sldMk cId="1159355273" sldId="1851"/>
            <ac:spMk id="71" creationId="{A39AD226-262A-4A0E-A515-41607D3161F6}"/>
          </ac:spMkLst>
        </pc:spChg>
        <pc:spChg chg="mod">
          <ac:chgData name="Soleil Yi" userId="c719b956-004a-4243-81dc-14be649b7814" providerId="ADAL" clId="{50DC4EE2-8FC0-47D5-B5D6-C6C1D4ED5A25}" dt="2022-09-13T07:08:03.052" v="1649"/>
          <ac:spMkLst>
            <pc:docMk/>
            <pc:sldMk cId="1159355273" sldId="1851"/>
            <ac:spMk id="72" creationId="{7514A1E0-1B91-4286-A825-4D46ABB8B364}"/>
          </ac:spMkLst>
        </pc:spChg>
        <pc:spChg chg="mod">
          <ac:chgData name="Soleil Yi" userId="c719b956-004a-4243-81dc-14be649b7814" providerId="ADAL" clId="{50DC4EE2-8FC0-47D5-B5D6-C6C1D4ED5A25}" dt="2022-09-13T07:08:03.064" v="1653"/>
          <ac:spMkLst>
            <pc:docMk/>
            <pc:sldMk cId="1159355273" sldId="1851"/>
            <ac:spMk id="73" creationId="{11E5B745-5BAE-4D8F-B297-EF11491326E1}"/>
          </ac:spMkLst>
        </pc:spChg>
        <pc:spChg chg="mod">
          <ac:chgData name="Soleil Yi" userId="c719b956-004a-4243-81dc-14be649b7814" providerId="ADAL" clId="{50DC4EE2-8FC0-47D5-B5D6-C6C1D4ED5A25}" dt="2022-09-13T07:08:03.077" v="1657"/>
          <ac:spMkLst>
            <pc:docMk/>
            <pc:sldMk cId="1159355273" sldId="1851"/>
            <ac:spMk id="74" creationId="{F84D885F-85CB-4F32-AC7F-FB13505FC6DB}"/>
          </ac:spMkLst>
        </pc:spChg>
        <pc:spChg chg="mod">
          <ac:chgData name="Soleil Yi" userId="c719b956-004a-4243-81dc-14be649b7814" providerId="ADAL" clId="{50DC4EE2-8FC0-47D5-B5D6-C6C1D4ED5A25}" dt="2022-09-13T07:08:03.089" v="1661"/>
          <ac:spMkLst>
            <pc:docMk/>
            <pc:sldMk cId="1159355273" sldId="1851"/>
            <ac:spMk id="75" creationId="{CE641DF7-A8A3-4A1A-AB38-93C07D228DB0}"/>
          </ac:spMkLst>
        </pc:spChg>
        <pc:spChg chg="mod">
          <ac:chgData name="Soleil Yi" userId="c719b956-004a-4243-81dc-14be649b7814" providerId="ADAL" clId="{50DC4EE2-8FC0-47D5-B5D6-C6C1D4ED5A25}" dt="2022-09-13T07:08:03.103" v="1665"/>
          <ac:spMkLst>
            <pc:docMk/>
            <pc:sldMk cId="1159355273" sldId="1851"/>
            <ac:spMk id="76" creationId="{FBCB9E8A-57B6-4F2F-B75D-4B8DC343514E}"/>
          </ac:spMkLst>
        </pc:spChg>
        <pc:spChg chg="mod">
          <ac:chgData name="Soleil Yi" userId="c719b956-004a-4243-81dc-14be649b7814" providerId="ADAL" clId="{50DC4EE2-8FC0-47D5-B5D6-C6C1D4ED5A25}" dt="2022-09-13T07:08:03.117" v="1669"/>
          <ac:spMkLst>
            <pc:docMk/>
            <pc:sldMk cId="1159355273" sldId="1851"/>
            <ac:spMk id="77" creationId="{2EDCDD54-B88D-4C0C-8036-339031890CD3}"/>
          </ac:spMkLst>
        </pc:spChg>
        <pc:spChg chg="mod">
          <ac:chgData name="Soleil Yi" userId="c719b956-004a-4243-81dc-14be649b7814" providerId="ADAL" clId="{50DC4EE2-8FC0-47D5-B5D6-C6C1D4ED5A25}" dt="2022-09-13T07:08:03.131" v="1673"/>
          <ac:spMkLst>
            <pc:docMk/>
            <pc:sldMk cId="1159355273" sldId="1851"/>
            <ac:spMk id="78" creationId="{D8FBDD57-ABC4-40B1-9A3C-7B5610F2A10E}"/>
          </ac:spMkLst>
        </pc:spChg>
        <pc:spChg chg="mod">
          <ac:chgData name="Soleil Yi" userId="c719b956-004a-4243-81dc-14be649b7814" providerId="ADAL" clId="{50DC4EE2-8FC0-47D5-B5D6-C6C1D4ED5A25}" dt="2022-09-13T07:08:03.144" v="1677"/>
          <ac:spMkLst>
            <pc:docMk/>
            <pc:sldMk cId="1159355273" sldId="1851"/>
            <ac:spMk id="79" creationId="{8A33FA8D-2DC1-4229-8B80-A4FA856BA020}"/>
          </ac:spMkLst>
        </pc:spChg>
        <pc:spChg chg="mod">
          <ac:chgData name="Soleil Yi" userId="c719b956-004a-4243-81dc-14be649b7814" providerId="ADAL" clId="{50DC4EE2-8FC0-47D5-B5D6-C6C1D4ED5A25}" dt="2022-09-13T07:08:03.157" v="1681"/>
          <ac:spMkLst>
            <pc:docMk/>
            <pc:sldMk cId="1159355273" sldId="1851"/>
            <ac:spMk id="80" creationId="{6F481BB0-D293-49D8-B15D-3CE058BC489A}"/>
          </ac:spMkLst>
        </pc:spChg>
        <pc:spChg chg="mod">
          <ac:chgData name="Soleil Yi" userId="c719b956-004a-4243-81dc-14be649b7814" providerId="ADAL" clId="{50DC4EE2-8FC0-47D5-B5D6-C6C1D4ED5A25}" dt="2022-09-13T07:08:03.170" v="1685"/>
          <ac:spMkLst>
            <pc:docMk/>
            <pc:sldMk cId="1159355273" sldId="1851"/>
            <ac:spMk id="81" creationId="{FD012E13-D6A2-48BE-B325-49B3BCDD9015}"/>
          </ac:spMkLst>
        </pc:spChg>
        <pc:spChg chg="mod">
          <ac:chgData name="Soleil Yi" userId="c719b956-004a-4243-81dc-14be649b7814" providerId="ADAL" clId="{50DC4EE2-8FC0-47D5-B5D6-C6C1D4ED5A25}" dt="2022-09-13T07:08:03.183" v="1689"/>
          <ac:spMkLst>
            <pc:docMk/>
            <pc:sldMk cId="1159355273" sldId="1851"/>
            <ac:spMk id="82" creationId="{453A0606-4C07-4426-841C-8F7F7C701B10}"/>
          </ac:spMkLst>
        </pc:spChg>
        <pc:spChg chg="mod">
          <ac:chgData name="Soleil Yi" userId="c719b956-004a-4243-81dc-14be649b7814" providerId="ADAL" clId="{50DC4EE2-8FC0-47D5-B5D6-C6C1D4ED5A25}" dt="2022-09-13T07:08:03.195" v="1693"/>
          <ac:spMkLst>
            <pc:docMk/>
            <pc:sldMk cId="1159355273" sldId="1851"/>
            <ac:spMk id="83" creationId="{A74CF3A9-7057-4CE8-A66E-F56245BC49AC}"/>
          </ac:spMkLst>
        </pc:spChg>
        <pc:spChg chg="mod">
          <ac:chgData name="Soleil Yi" userId="c719b956-004a-4243-81dc-14be649b7814" providerId="ADAL" clId="{50DC4EE2-8FC0-47D5-B5D6-C6C1D4ED5A25}" dt="2022-09-13T07:08:03.210" v="1697"/>
          <ac:spMkLst>
            <pc:docMk/>
            <pc:sldMk cId="1159355273" sldId="1851"/>
            <ac:spMk id="84" creationId="{E6F27D8E-5BAA-4818-A994-FC1BDABD28AC}"/>
          </ac:spMkLst>
        </pc:spChg>
        <pc:spChg chg="mod">
          <ac:chgData name="Soleil Yi" userId="c719b956-004a-4243-81dc-14be649b7814" providerId="ADAL" clId="{50DC4EE2-8FC0-47D5-B5D6-C6C1D4ED5A25}" dt="2022-09-13T07:08:03.223" v="1701"/>
          <ac:spMkLst>
            <pc:docMk/>
            <pc:sldMk cId="1159355273" sldId="1851"/>
            <ac:spMk id="85" creationId="{632E6B5C-E182-42C6-9661-D9B223D14401}"/>
          </ac:spMkLst>
        </pc:spChg>
        <pc:spChg chg="mod">
          <ac:chgData name="Soleil Yi" userId="c719b956-004a-4243-81dc-14be649b7814" providerId="ADAL" clId="{50DC4EE2-8FC0-47D5-B5D6-C6C1D4ED5A25}" dt="2022-09-13T07:08:03.236" v="1705"/>
          <ac:spMkLst>
            <pc:docMk/>
            <pc:sldMk cId="1159355273" sldId="1851"/>
            <ac:spMk id="86" creationId="{7C8A77BF-53DD-47FA-BC1D-1BFBD446A7FC}"/>
          </ac:spMkLst>
        </pc:spChg>
        <pc:spChg chg="mod">
          <ac:chgData name="Soleil Yi" userId="c719b956-004a-4243-81dc-14be649b7814" providerId="ADAL" clId="{50DC4EE2-8FC0-47D5-B5D6-C6C1D4ED5A25}" dt="2022-09-13T07:08:03.250" v="1709"/>
          <ac:spMkLst>
            <pc:docMk/>
            <pc:sldMk cId="1159355273" sldId="1851"/>
            <ac:spMk id="87" creationId="{4A37CE48-3F7C-451B-B4DA-BC50FEF5C4D3}"/>
          </ac:spMkLst>
        </pc:spChg>
        <pc:spChg chg="mod">
          <ac:chgData name="Soleil Yi" userId="c719b956-004a-4243-81dc-14be649b7814" providerId="ADAL" clId="{50DC4EE2-8FC0-47D5-B5D6-C6C1D4ED5A25}" dt="2022-09-13T07:08:03.264" v="1713"/>
          <ac:spMkLst>
            <pc:docMk/>
            <pc:sldMk cId="1159355273" sldId="1851"/>
            <ac:spMk id="88" creationId="{FF73F08E-066A-4808-9BE6-A3973755E8B6}"/>
          </ac:spMkLst>
        </pc:spChg>
        <pc:spChg chg="mod">
          <ac:chgData name="Soleil Yi" userId="c719b956-004a-4243-81dc-14be649b7814" providerId="ADAL" clId="{50DC4EE2-8FC0-47D5-B5D6-C6C1D4ED5A25}" dt="2022-09-13T07:08:03.280" v="1717"/>
          <ac:spMkLst>
            <pc:docMk/>
            <pc:sldMk cId="1159355273" sldId="1851"/>
            <ac:spMk id="89" creationId="{9553F655-1C1D-410C-B0BA-156627369961}"/>
          </ac:spMkLst>
        </pc:spChg>
        <pc:spChg chg="mod">
          <ac:chgData name="Soleil Yi" userId="c719b956-004a-4243-81dc-14be649b7814" providerId="ADAL" clId="{50DC4EE2-8FC0-47D5-B5D6-C6C1D4ED5A25}" dt="2022-09-13T07:08:03.294" v="1721"/>
          <ac:spMkLst>
            <pc:docMk/>
            <pc:sldMk cId="1159355273" sldId="1851"/>
            <ac:spMk id="90" creationId="{1FBC61F0-38AA-4E1D-A9F1-93C131E95732}"/>
          </ac:spMkLst>
        </pc:spChg>
        <pc:spChg chg="mod">
          <ac:chgData name="Soleil Yi" userId="c719b956-004a-4243-81dc-14be649b7814" providerId="ADAL" clId="{50DC4EE2-8FC0-47D5-B5D6-C6C1D4ED5A25}" dt="2022-09-13T07:08:03.315" v="1725"/>
          <ac:spMkLst>
            <pc:docMk/>
            <pc:sldMk cId="1159355273" sldId="1851"/>
            <ac:spMk id="91" creationId="{A35470E4-8320-4F24-953F-974A7E5B4866}"/>
          </ac:spMkLst>
        </pc:spChg>
        <pc:spChg chg="mod">
          <ac:chgData name="Soleil Yi" userId="c719b956-004a-4243-81dc-14be649b7814" providerId="ADAL" clId="{50DC4EE2-8FC0-47D5-B5D6-C6C1D4ED5A25}" dt="2022-09-13T07:08:03.332" v="1729"/>
          <ac:spMkLst>
            <pc:docMk/>
            <pc:sldMk cId="1159355273" sldId="1851"/>
            <ac:spMk id="92" creationId="{73651121-6A4F-481F-8693-6A91880A298D}"/>
          </ac:spMkLst>
        </pc:spChg>
        <pc:spChg chg="mod">
          <ac:chgData name="Soleil Yi" userId="c719b956-004a-4243-81dc-14be649b7814" providerId="ADAL" clId="{50DC4EE2-8FC0-47D5-B5D6-C6C1D4ED5A25}" dt="2022-09-13T07:08:03.345" v="1733"/>
          <ac:spMkLst>
            <pc:docMk/>
            <pc:sldMk cId="1159355273" sldId="1851"/>
            <ac:spMk id="93" creationId="{CA7B8D8B-F07E-46B7-A067-475D9A4EF051}"/>
          </ac:spMkLst>
        </pc:spChg>
        <pc:spChg chg="mod">
          <ac:chgData name="Soleil Yi" userId="c719b956-004a-4243-81dc-14be649b7814" providerId="ADAL" clId="{50DC4EE2-8FC0-47D5-B5D6-C6C1D4ED5A25}" dt="2022-09-13T07:08:03.359" v="1737"/>
          <ac:spMkLst>
            <pc:docMk/>
            <pc:sldMk cId="1159355273" sldId="1851"/>
            <ac:spMk id="94" creationId="{3D4A8F84-E5E5-4F36-A6F8-08FD7E413736}"/>
          </ac:spMkLst>
        </pc:spChg>
        <pc:spChg chg="mod">
          <ac:chgData name="Soleil Yi" userId="c719b956-004a-4243-81dc-14be649b7814" providerId="ADAL" clId="{50DC4EE2-8FC0-47D5-B5D6-C6C1D4ED5A25}" dt="2022-09-13T07:08:03.373" v="1741"/>
          <ac:spMkLst>
            <pc:docMk/>
            <pc:sldMk cId="1159355273" sldId="1851"/>
            <ac:spMk id="95" creationId="{AB911A1A-9C47-4E76-A4EE-AEF133880ECC}"/>
          </ac:spMkLst>
        </pc:spChg>
        <pc:spChg chg="mod">
          <ac:chgData name="Soleil Yi" userId="c719b956-004a-4243-81dc-14be649b7814" providerId="ADAL" clId="{50DC4EE2-8FC0-47D5-B5D6-C6C1D4ED5A25}" dt="2022-09-13T07:08:03.386" v="1745"/>
          <ac:spMkLst>
            <pc:docMk/>
            <pc:sldMk cId="1159355273" sldId="1851"/>
            <ac:spMk id="96" creationId="{25AC36D1-8165-41A4-8CCA-946213BC72B5}"/>
          </ac:spMkLst>
        </pc:spChg>
        <pc:spChg chg="mod">
          <ac:chgData name="Soleil Yi" userId="c719b956-004a-4243-81dc-14be649b7814" providerId="ADAL" clId="{50DC4EE2-8FC0-47D5-B5D6-C6C1D4ED5A25}" dt="2022-09-13T07:08:03.399" v="1749"/>
          <ac:spMkLst>
            <pc:docMk/>
            <pc:sldMk cId="1159355273" sldId="1851"/>
            <ac:spMk id="97" creationId="{4FB4D45E-1B07-40FF-B3FD-31A9E7799903}"/>
          </ac:spMkLst>
        </pc:spChg>
        <pc:spChg chg="mod">
          <ac:chgData name="Soleil Yi" userId="c719b956-004a-4243-81dc-14be649b7814" providerId="ADAL" clId="{50DC4EE2-8FC0-47D5-B5D6-C6C1D4ED5A25}" dt="2022-09-13T07:08:03.413" v="1753"/>
          <ac:spMkLst>
            <pc:docMk/>
            <pc:sldMk cId="1159355273" sldId="1851"/>
            <ac:spMk id="98" creationId="{20C7FFB2-46E2-4B8B-A496-80DE83CBB1B0}"/>
          </ac:spMkLst>
        </pc:spChg>
        <pc:spChg chg="mod">
          <ac:chgData name="Soleil Yi" userId="c719b956-004a-4243-81dc-14be649b7814" providerId="ADAL" clId="{50DC4EE2-8FC0-47D5-B5D6-C6C1D4ED5A25}" dt="2022-09-13T07:08:03.427" v="1757"/>
          <ac:spMkLst>
            <pc:docMk/>
            <pc:sldMk cId="1159355273" sldId="1851"/>
            <ac:spMk id="99" creationId="{976BDBB4-B8CB-4262-9616-43546EF111B8}"/>
          </ac:spMkLst>
        </pc:spChg>
        <pc:spChg chg="mod">
          <ac:chgData name="Soleil Yi" userId="c719b956-004a-4243-81dc-14be649b7814" providerId="ADAL" clId="{50DC4EE2-8FC0-47D5-B5D6-C6C1D4ED5A25}" dt="2022-09-13T07:08:03.440" v="1761"/>
          <ac:spMkLst>
            <pc:docMk/>
            <pc:sldMk cId="1159355273" sldId="1851"/>
            <ac:spMk id="100" creationId="{9F2400CD-5E92-463F-8F50-08F5C843EBB2}"/>
          </ac:spMkLst>
        </pc:spChg>
        <pc:spChg chg="mod">
          <ac:chgData name="Soleil Yi" userId="c719b956-004a-4243-81dc-14be649b7814" providerId="ADAL" clId="{50DC4EE2-8FC0-47D5-B5D6-C6C1D4ED5A25}" dt="2022-09-13T07:08:03.453" v="1765"/>
          <ac:spMkLst>
            <pc:docMk/>
            <pc:sldMk cId="1159355273" sldId="1851"/>
            <ac:spMk id="101" creationId="{77731D2B-62EE-4662-A8A9-5E8B5BABADFB}"/>
          </ac:spMkLst>
        </pc:spChg>
        <pc:spChg chg="mod">
          <ac:chgData name="Soleil Yi" userId="c719b956-004a-4243-81dc-14be649b7814" providerId="ADAL" clId="{50DC4EE2-8FC0-47D5-B5D6-C6C1D4ED5A25}" dt="2022-09-13T07:08:03.467" v="1769"/>
          <ac:spMkLst>
            <pc:docMk/>
            <pc:sldMk cId="1159355273" sldId="1851"/>
            <ac:spMk id="102" creationId="{E7415CBB-FC2F-4ADE-B74A-F7CE239C68A1}"/>
          </ac:spMkLst>
        </pc:spChg>
        <pc:spChg chg="mod">
          <ac:chgData name="Soleil Yi" userId="c719b956-004a-4243-81dc-14be649b7814" providerId="ADAL" clId="{50DC4EE2-8FC0-47D5-B5D6-C6C1D4ED5A25}" dt="2022-09-13T07:08:03.481" v="1773"/>
          <ac:spMkLst>
            <pc:docMk/>
            <pc:sldMk cId="1159355273" sldId="1851"/>
            <ac:spMk id="103" creationId="{C6834BEB-EB04-4947-B075-A7810E461B34}"/>
          </ac:spMkLst>
        </pc:spChg>
        <pc:spChg chg="mod">
          <ac:chgData name="Soleil Yi" userId="c719b956-004a-4243-81dc-14be649b7814" providerId="ADAL" clId="{50DC4EE2-8FC0-47D5-B5D6-C6C1D4ED5A25}" dt="2022-09-13T07:08:03.494" v="1777"/>
          <ac:spMkLst>
            <pc:docMk/>
            <pc:sldMk cId="1159355273" sldId="1851"/>
            <ac:spMk id="104" creationId="{094E99C4-F7F0-4BAF-A9D4-3B53D0FCD124}"/>
          </ac:spMkLst>
        </pc:spChg>
        <pc:spChg chg="mod">
          <ac:chgData name="Soleil Yi" userId="c719b956-004a-4243-81dc-14be649b7814" providerId="ADAL" clId="{50DC4EE2-8FC0-47D5-B5D6-C6C1D4ED5A25}" dt="2022-09-13T07:08:03.508" v="1781"/>
          <ac:spMkLst>
            <pc:docMk/>
            <pc:sldMk cId="1159355273" sldId="1851"/>
            <ac:spMk id="105" creationId="{03BAC169-5C09-489F-B968-1065BF134AEC}"/>
          </ac:spMkLst>
        </pc:spChg>
        <pc:spChg chg="mod">
          <ac:chgData name="Soleil Yi" userId="c719b956-004a-4243-81dc-14be649b7814" providerId="ADAL" clId="{50DC4EE2-8FC0-47D5-B5D6-C6C1D4ED5A25}" dt="2022-09-13T07:08:03.523" v="1785"/>
          <ac:spMkLst>
            <pc:docMk/>
            <pc:sldMk cId="1159355273" sldId="1851"/>
            <ac:spMk id="106" creationId="{811269B7-0E25-49BD-A81C-BA4E0235EA2E}"/>
          </ac:spMkLst>
        </pc:spChg>
        <pc:spChg chg="mod">
          <ac:chgData name="Soleil Yi" userId="c719b956-004a-4243-81dc-14be649b7814" providerId="ADAL" clId="{50DC4EE2-8FC0-47D5-B5D6-C6C1D4ED5A25}" dt="2022-09-13T07:08:03.539" v="1789"/>
          <ac:spMkLst>
            <pc:docMk/>
            <pc:sldMk cId="1159355273" sldId="1851"/>
            <ac:spMk id="107" creationId="{25DB4889-5D0D-4244-B8AC-81EFF4478471}"/>
          </ac:spMkLst>
        </pc:spChg>
        <pc:spChg chg="mod">
          <ac:chgData name="Soleil Yi" userId="c719b956-004a-4243-81dc-14be649b7814" providerId="ADAL" clId="{50DC4EE2-8FC0-47D5-B5D6-C6C1D4ED5A25}" dt="2022-09-13T07:08:03.553" v="1793"/>
          <ac:spMkLst>
            <pc:docMk/>
            <pc:sldMk cId="1159355273" sldId="1851"/>
            <ac:spMk id="108" creationId="{89E30FF0-DBDB-43A3-84AE-F1F9958C7DD4}"/>
          </ac:spMkLst>
        </pc:spChg>
        <pc:spChg chg="mod">
          <ac:chgData name="Soleil Yi" userId="c719b956-004a-4243-81dc-14be649b7814" providerId="ADAL" clId="{50DC4EE2-8FC0-47D5-B5D6-C6C1D4ED5A25}" dt="2022-09-13T07:08:03.568" v="1797"/>
          <ac:spMkLst>
            <pc:docMk/>
            <pc:sldMk cId="1159355273" sldId="1851"/>
            <ac:spMk id="109" creationId="{F7D97195-9E67-45D6-9001-E4E2713676B0}"/>
          </ac:spMkLst>
        </pc:spChg>
        <pc:spChg chg="mod">
          <ac:chgData name="Soleil Yi" userId="c719b956-004a-4243-81dc-14be649b7814" providerId="ADAL" clId="{50DC4EE2-8FC0-47D5-B5D6-C6C1D4ED5A25}" dt="2022-09-13T07:08:03.582" v="1801"/>
          <ac:spMkLst>
            <pc:docMk/>
            <pc:sldMk cId="1159355273" sldId="1851"/>
            <ac:spMk id="110" creationId="{468314FD-14A9-485A-9760-022B6773A56B}"/>
          </ac:spMkLst>
        </pc:spChg>
        <pc:spChg chg="mod">
          <ac:chgData name="Soleil Yi" userId="c719b956-004a-4243-81dc-14be649b7814" providerId="ADAL" clId="{50DC4EE2-8FC0-47D5-B5D6-C6C1D4ED5A25}" dt="2022-09-13T07:08:03.596" v="1805"/>
          <ac:spMkLst>
            <pc:docMk/>
            <pc:sldMk cId="1159355273" sldId="1851"/>
            <ac:spMk id="111" creationId="{0D34B212-1701-4671-BCE0-92A46934DAA4}"/>
          </ac:spMkLst>
        </pc:spChg>
        <pc:spChg chg="mod">
          <ac:chgData name="Soleil Yi" userId="c719b956-004a-4243-81dc-14be649b7814" providerId="ADAL" clId="{50DC4EE2-8FC0-47D5-B5D6-C6C1D4ED5A25}" dt="2022-09-13T07:08:03.609" v="1809"/>
          <ac:spMkLst>
            <pc:docMk/>
            <pc:sldMk cId="1159355273" sldId="1851"/>
            <ac:spMk id="112" creationId="{257049B3-2D95-4B18-BDF9-0B8A7DE47D0A}"/>
          </ac:spMkLst>
        </pc:spChg>
        <pc:spChg chg="mod">
          <ac:chgData name="Soleil Yi" userId="c719b956-004a-4243-81dc-14be649b7814" providerId="ADAL" clId="{50DC4EE2-8FC0-47D5-B5D6-C6C1D4ED5A25}" dt="2022-09-13T07:08:03.622" v="1813"/>
          <ac:spMkLst>
            <pc:docMk/>
            <pc:sldMk cId="1159355273" sldId="1851"/>
            <ac:spMk id="113" creationId="{1CB8C0BD-86AB-4F01-AB14-1913FA59DF68}"/>
          </ac:spMkLst>
        </pc:spChg>
        <pc:spChg chg="mod">
          <ac:chgData name="Soleil Yi" userId="c719b956-004a-4243-81dc-14be649b7814" providerId="ADAL" clId="{50DC4EE2-8FC0-47D5-B5D6-C6C1D4ED5A25}" dt="2022-09-13T07:08:03.635" v="1817"/>
          <ac:spMkLst>
            <pc:docMk/>
            <pc:sldMk cId="1159355273" sldId="1851"/>
            <ac:spMk id="114" creationId="{B02694B3-35D3-46B7-BE67-F39F01340BB7}"/>
          </ac:spMkLst>
        </pc:spChg>
        <pc:spChg chg="mod">
          <ac:chgData name="Soleil Yi" userId="c719b956-004a-4243-81dc-14be649b7814" providerId="ADAL" clId="{50DC4EE2-8FC0-47D5-B5D6-C6C1D4ED5A25}" dt="2022-09-13T07:08:03.649" v="1821"/>
          <ac:spMkLst>
            <pc:docMk/>
            <pc:sldMk cId="1159355273" sldId="1851"/>
            <ac:spMk id="115" creationId="{59D7B2A4-3C6B-4814-92FA-F7E5E1F5B38C}"/>
          </ac:spMkLst>
        </pc:spChg>
        <pc:spChg chg="mod">
          <ac:chgData name="Soleil Yi" userId="c719b956-004a-4243-81dc-14be649b7814" providerId="ADAL" clId="{50DC4EE2-8FC0-47D5-B5D6-C6C1D4ED5A25}" dt="2022-09-13T07:08:03.662" v="1825"/>
          <ac:spMkLst>
            <pc:docMk/>
            <pc:sldMk cId="1159355273" sldId="1851"/>
            <ac:spMk id="116" creationId="{B97FBC85-FE5F-4078-BD87-B56B22F05D15}"/>
          </ac:spMkLst>
        </pc:spChg>
        <pc:spChg chg="mod">
          <ac:chgData name="Soleil Yi" userId="c719b956-004a-4243-81dc-14be649b7814" providerId="ADAL" clId="{50DC4EE2-8FC0-47D5-B5D6-C6C1D4ED5A25}" dt="2022-09-13T07:08:03.676" v="1829"/>
          <ac:spMkLst>
            <pc:docMk/>
            <pc:sldMk cId="1159355273" sldId="1851"/>
            <ac:spMk id="117" creationId="{7BB6D2EF-0E79-486E-B55B-D1D74C2BF232}"/>
          </ac:spMkLst>
        </pc:spChg>
        <pc:spChg chg="mod">
          <ac:chgData name="Soleil Yi" userId="c719b956-004a-4243-81dc-14be649b7814" providerId="ADAL" clId="{50DC4EE2-8FC0-47D5-B5D6-C6C1D4ED5A25}" dt="2022-09-13T07:08:03.689" v="1833"/>
          <ac:spMkLst>
            <pc:docMk/>
            <pc:sldMk cId="1159355273" sldId="1851"/>
            <ac:spMk id="118" creationId="{CCB79FEA-878A-4269-B755-3391F0F9696F}"/>
          </ac:spMkLst>
        </pc:spChg>
        <pc:spChg chg="mod">
          <ac:chgData name="Soleil Yi" userId="c719b956-004a-4243-81dc-14be649b7814" providerId="ADAL" clId="{50DC4EE2-8FC0-47D5-B5D6-C6C1D4ED5A25}" dt="2022-09-13T07:08:03.701" v="1837"/>
          <ac:spMkLst>
            <pc:docMk/>
            <pc:sldMk cId="1159355273" sldId="1851"/>
            <ac:spMk id="119" creationId="{25173DDE-63B1-4EC1-8EDF-A8BCBF47099F}"/>
          </ac:spMkLst>
        </pc:spChg>
        <pc:spChg chg="mod">
          <ac:chgData name="Soleil Yi" userId="c719b956-004a-4243-81dc-14be649b7814" providerId="ADAL" clId="{50DC4EE2-8FC0-47D5-B5D6-C6C1D4ED5A25}" dt="2022-09-13T07:08:03.714" v="1841"/>
          <ac:spMkLst>
            <pc:docMk/>
            <pc:sldMk cId="1159355273" sldId="1851"/>
            <ac:spMk id="120" creationId="{350B83BA-AF5C-45B4-ACFC-5AD0C5E27443}"/>
          </ac:spMkLst>
        </pc:spChg>
        <pc:spChg chg="mod">
          <ac:chgData name="Soleil Yi" userId="c719b956-004a-4243-81dc-14be649b7814" providerId="ADAL" clId="{50DC4EE2-8FC0-47D5-B5D6-C6C1D4ED5A25}" dt="2022-09-13T07:08:03.727" v="1845"/>
          <ac:spMkLst>
            <pc:docMk/>
            <pc:sldMk cId="1159355273" sldId="1851"/>
            <ac:spMk id="121" creationId="{CFB972D7-17C6-4218-A196-C0D1D37C579A}"/>
          </ac:spMkLst>
        </pc:spChg>
        <pc:spChg chg="mod">
          <ac:chgData name="Soleil Yi" userId="c719b956-004a-4243-81dc-14be649b7814" providerId="ADAL" clId="{50DC4EE2-8FC0-47D5-B5D6-C6C1D4ED5A25}" dt="2022-09-13T07:08:03.740" v="1849"/>
          <ac:spMkLst>
            <pc:docMk/>
            <pc:sldMk cId="1159355273" sldId="1851"/>
            <ac:spMk id="122" creationId="{8EC781A1-3270-4CC5-9E71-4C954BDFF886}"/>
          </ac:spMkLst>
        </pc:spChg>
        <pc:spChg chg="mod">
          <ac:chgData name="Soleil Yi" userId="c719b956-004a-4243-81dc-14be649b7814" providerId="ADAL" clId="{50DC4EE2-8FC0-47D5-B5D6-C6C1D4ED5A25}" dt="2022-09-13T07:08:03.752" v="1853"/>
          <ac:spMkLst>
            <pc:docMk/>
            <pc:sldMk cId="1159355273" sldId="1851"/>
            <ac:spMk id="123" creationId="{457D682F-1CF4-4E9F-B706-AE4E78F5E512}"/>
          </ac:spMkLst>
        </pc:spChg>
        <pc:spChg chg="mod">
          <ac:chgData name="Soleil Yi" userId="c719b956-004a-4243-81dc-14be649b7814" providerId="ADAL" clId="{50DC4EE2-8FC0-47D5-B5D6-C6C1D4ED5A25}" dt="2022-09-13T07:08:03.765" v="1857"/>
          <ac:spMkLst>
            <pc:docMk/>
            <pc:sldMk cId="1159355273" sldId="1851"/>
            <ac:spMk id="124" creationId="{A1B3C016-93B4-44C7-9217-058FB00ED8F5}"/>
          </ac:spMkLst>
        </pc:spChg>
        <pc:spChg chg="mod">
          <ac:chgData name="Soleil Yi" userId="c719b956-004a-4243-81dc-14be649b7814" providerId="ADAL" clId="{50DC4EE2-8FC0-47D5-B5D6-C6C1D4ED5A25}" dt="2022-09-13T07:08:03.778" v="1861"/>
          <ac:spMkLst>
            <pc:docMk/>
            <pc:sldMk cId="1159355273" sldId="1851"/>
            <ac:spMk id="125" creationId="{E4B85E8C-D7B6-41A9-9139-BFB4C15162F7}"/>
          </ac:spMkLst>
        </pc:spChg>
        <pc:spChg chg="mod">
          <ac:chgData name="Soleil Yi" userId="c719b956-004a-4243-81dc-14be649b7814" providerId="ADAL" clId="{50DC4EE2-8FC0-47D5-B5D6-C6C1D4ED5A25}" dt="2022-09-13T07:08:03.791" v="1865"/>
          <ac:spMkLst>
            <pc:docMk/>
            <pc:sldMk cId="1159355273" sldId="1851"/>
            <ac:spMk id="126" creationId="{FFE13A17-911C-4F7A-96E7-8A90C8E571FA}"/>
          </ac:spMkLst>
        </pc:spChg>
        <pc:spChg chg="mod">
          <ac:chgData name="Soleil Yi" userId="c719b956-004a-4243-81dc-14be649b7814" providerId="ADAL" clId="{50DC4EE2-8FC0-47D5-B5D6-C6C1D4ED5A25}" dt="2022-09-13T07:08:03.803" v="1869"/>
          <ac:spMkLst>
            <pc:docMk/>
            <pc:sldMk cId="1159355273" sldId="1851"/>
            <ac:spMk id="127" creationId="{C4F92425-6232-42B8-84FA-9CB1CE3CB10A}"/>
          </ac:spMkLst>
        </pc:spChg>
        <pc:spChg chg="mod">
          <ac:chgData name="Soleil Yi" userId="c719b956-004a-4243-81dc-14be649b7814" providerId="ADAL" clId="{50DC4EE2-8FC0-47D5-B5D6-C6C1D4ED5A25}" dt="2022-09-13T07:08:03.816" v="1873"/>
          <ac:spMkLst>
            <pc:docMk/>
            <pc:sldMk cId="1159355273" sldId="1851"/>
            <ac:spMk id="128" creationId="{C10D96D1-A755-494F-A572-E755595EB97A}"/>
          </ac:spMkLst>
        </pc:spChg>
        <pc:spChg chg="mod">
          <ac:chgData name="Soleil Yi" userId="c719b956-004a-4243-81dc-14be649b7814" providerId="ADAL" clId="{50DC4EE2-8FC0-47D5-B5D6-C6C1D4ED5A25}" dt="2022-09-13T07:08:03.830" v="1877"/>
          <ac:spMkLst>
            <pc:docMk/>
            <pc:sldMk cId="1159355273" sldId="1851"/>
            <ac:spMk id="129" creationId="{1E5730B4-0D0E-4264-BA54-112C6E67966E}"/>
          </ac:spMkLst>
        </pc:spChg>
        <pc:spChg chg="mod">
          <ac:chgData name="Soleil Yi" userId="c719b956-004a-4243-81dc-14be649b7814" providerId="ADAL" clId="{50DC4EE2-8FC0-47D5-B5D6-C6C1D4ED5A25}" dt="2022-09-13T07:08:03.842" v="1881"/>
          <ac:spMkLst>
            <pc:docMk/>
            <pc:sldMk cId="1159355273" sldId="1851"/>
            <ac:spMk id="130" creationId="{403926BD-D436-49AD-B3E6-1517C78E35D8}"/>
          </ac:spMkLst>
        </pc:spChg>
        <pc:spChg chg="mod">
          <ac:chgData name="Soleil Yi" userId="c719b956-004a-4243-81dc-14be649b7814" providerId="ADAL" clId="{50DC4EE2-8FC0-47D5-B5D6-C6C1D4ED5A25}" dt="2022-09-13T07:08:03.854" v="1885"/>
          <ac:spMkLst>
            <pc:docMk/>
            <pc:sldMk cId="1159355273" sldId="1851"/>
            <ac:spMk id="131" creationId="{52BC448A-EED7-4D99-B12C-7B7161D2717E}"/>
          </ac:spMkLst>
        </pc:spChg>
        <pc:spChg chg="mod">
          <ac:chgData name="Soleil Yi" userId="c719b956-004a-4243-81dc-14be649b7814" providerId="ADAL" clId="{50DC4EE2-8FC0-47D5-B5D6-C6C1D4ED5A25}" dt="2022-09-13T07:08:03.867" v="1889"/>
          <ac:spMkLst>
            <pc:docMk/>
            <pc:sldMk cId="1159355273" sldId="1851"/>
            <ac:spMk id="132" creationId="{465B1055-7808-40E2-8CBC-58076E0D172E}"/>
          </ac:spMkLst>
        </pc:spChg>
        <pc:spChg chg="mod">
          <ac:chgData name="Soleil Yi" userId="c719b956-004a-4243-81dc-14be649b7814" providerId="ADAL" clId="{50DC4EE2-8FC0-47D5-B5D6-C6C1D4ED5A25}" dt="2022-09-13T07:08:03.881" v="1893"/>
          <ac:spMkLst>
            <pc:docMk/>
            <pc:sldMk cId="1159355273" sldId="1851"/>
            <ac:spMk id="133" creationId="{20CDD5B5-49A0-49CB-AF22-DF676E1AEA41}"/>
          </ac:spMkLst>
        </pc:spChg>
        <pc:spChg chg="mod">
          <ac:chgData name="Soleil Yi" userId="c719b956-004a-4243-81dc-14be649b7814" providerId="ADAL" clId="{50DC4EE2-8FC0-47D5-B5D6-C6C1D4ED5A25}" dt="2022-09-13T07:08:03.893" v="1897"/>
          <ac:spMkLst>
            <pc:docMk/>
            <pc:sldMk cId="1159355273" sldId="1851"/>
            <ac:spMk id="134" creationId="{71E46E23-D9C5-4107-A64D-542104CAF743}"/>
          </ac:spMkLst>
        </pc:spChg>
        <pc:spChg chg="mod">
          <ac:chgData name="Soleil Yi" userId="c719b956-004a-4243-81dc-14be649b7814" providerId="ADAL" clId="{50DC4EE2-8FC0-47D5-B5D6-C6C1D4ED5A25}" dt="2022-09-13T07:08:03.905" v="1901"/>
          <ac:spMkLst>
            <pc:docMk/>
            <pc:sldMk cId="1159355273" sldId="1851"/>
            <ac:spMk id="135" creationId="{E462D32A-37D4-4523-A95E-CEC80BC7C12B}"/>
          </ac:spMkLst>
        </pc:spChg>
        <pc:spChg chg="mod">
          <ac:chgData name="Soleil Yi" userId="c719b956-004a-4243-81dc-14be649b7814" providerId="ADAL" clId="{50DC4EE2-8FC0-47D5-B5D6-C6C1D4ED5A25}" dt="2022-09-13T07:08:03.917" v="1905"/>
          <ac:spMkLst>
            <pc:docMk/>
            <pc:sldMk cId="1159355273" sldId="1851"/>
            <ac:spMk id="136" creationId="{4F205F21-A1A4-4947-9425-DF6624FCCC1E}"/>
          </ac:spMkLst>
        </pc:spChg>
        <pc:spChg chg="mod">
          <ac:chgData name="Soleil Yi" userId="c719b956-004a-4243-81dc-14be649b7814" providerId="ADAL" clId="{50DC4EE2-8FC0-47D5-B5D6-C6C1D4ED5A25}" dt="2022-09-13T07:08:03.931" v="1909"/>
          <ac:spMkLst>
            <pc:docMk/>
            <pc:sldMk cId="1159355273" sldId="1851"/>
            <ac:spMk id="137" creationId="{3142F163-1A00-495D-9ECA-AE875F8345FB}"/>
          </ac:spMkLst>
        </pc:spChg>
        <pc:spChg chg="mod">
          <ac:chgData name="Soleil Yi" userId="c719b956-004a-4243-81dc-14be649b7814" providerId="ADAL" clId="{50DC4EE2-8FC0-47D5-B5D6-C6C1D4ED5A25}" dt="2022-09-13T07:08:03.943" v="1913"/>
          <ac:spMkLst>
            <pc:docMk/>
            <pc:sldMk cId="1159355273" sldId="1851"/>
            <ac:spMk id="138" creationId="{BFC46DFF-C295-4FB6-AC33-BB21B61438F7}"/>
          </ac:spMkLst>
        </pc:spChg>
        <pc:spChg chg="mod">
          <ac:chgData name="Soleil Yi" userId="c719b956-004a-4243-81dc-14be649b7814" providerId="ADAL" clId="{50DC4EE2-8FC0-47D5-B5D6-C6C1D4ED5A25}" dt="2022-09-13T07:08:03.957" v="1917"/>
          <ac:spMkLst>
            <pc:docMk/>
            <pc:sldMk cId="1159355273" sldId="1851"/>
            <ac:spMk id="139" creationId="{84183E89-B59C-4FD1-89F4-F087AC601EA4}"/>
          </ac:spMkLst>
        </pc:spChg>
        <pc:spChg chg="mod">
          <ac:chgData name="Soleil Yi" userId="c719b956-004a-4243-81dc-14be649b7814" providerId="ADAL" clId="{50DC4EE2-8FC0-47D5-B5D6-C6C1D4ED5A25}" dt="2022-09-13T07:08:03.971" v="1921"/>
          <ac:spMkLst>
            <pc:docMk/>
            <pc:sldMk cId="1159355273" sldId="1851"/>
            <ac:spMk id="140" creationId="{DE99F3FD-EF7E-4D6C-AA96-D21D69385C43}"/>
          </ac:spMkLst>
        </pc:spChg>
        <pc:spChg chg="mod">
          <ac:chgData name="Soleil Yi" userId="c719b956-004a-4243-81dc-14be649b7814" providerId="ADAL" clId="{50DC4EE2-8FC0-47D5-B5D6-C6C1D4ED5A25}" dt="2022-09-13T07:08:03.984" v="1925"/>
          <ac:spMkLst>
            <pc:docMk/>
            <pc:sldMk cId="1159355273" sldId="1851"/>
            <ac:spMk id="141" creationId="{4AFA6056-223F-4E42-B0BA-0B2D9A2BEB98}"/>
          </ac:spMkLst>
        </pc:spChg>
        <pc:spChg chg="mod">
          <ac:chgData name="Soleil Yi" userId="c719b956-004a-4243-81dc-14be649b7814" providerId="ADAL" clId="{50DC4EE2-8FC0-47D5-B5D6-C6C1D4ED5A25}" dt="2022-09-13T07:08:03.997" v="1929"/>
          <ac:spMkLst>
            <pc:docMk/>
            <pc:sldMk cId="1159355273" sldId="1851"/>
            <ac:spMk id="142" creationId="{B4715335-320C-4762-AAAC-88FD3F7DF1F6}"/>
          </ac:spMkLst>
        </pc:spChg>
        <pc:spChg chg="mod">
          <ac:chgData name="Soleil Yi" userId="c719b956-004a-4243-81dc-14be649b7814" providerId="ADAL" clId="{50DC4EE2-8FC0-47D5-B5D6-C6C1D4ED5A25}" dt="2022-09-13T07:08:04.013" v="1933"/>
          <ac:spMkLst>
            <pc:docMk/>
            <pc:sldMk cId="1159355273" sldId="1851"/>
            <ac:spMk id="143" creationId="{322BE499-4CCD-4BAC-A48F-68E58F45A36E}"/>
          </ac:spMkLst>
        </pc:spChg>
        <pc:spChg chg="mod">
          <ac:chgData name="Soleil Yi" userId="c719b956-004a-4243-81dc-14be649b7814" providerId="ADAL" clId="{50DC4EE2-8FC0-47D5-B5D6-C6C1D4ED5A25}" dt="2022-09-13T07:08:04.026" v="1937"/>
          <ac:spMkLst>
            <pc:docMk/>
            <pc:sldMk cId="1159355273" sldId="1851"/>
            <ac:spMk id="144" creationId="{441F5A0F-F5FF-4BF0-B3E9-DCC4304787F7}"/>
          </ac:spMkLst>
        </pc:spChg>
        <pc:spChg chg="mod">
          <ac:chgData name="Soleil Yi" userId="c719b956-004a-4243-81dc-14be649b7814" providerId="ADAL" clId="{50DC4EE2-8FC0-47D5-B5D6-C6C1D4ED5A25}" dt="2022-09-13T07:08:04.041" v="1941"/>
          <ac:spMkLst>
            <pc:docMk/>
            <pc:sldMk cId="1159355273" sldId="1851"/>
            <ac:spMk id="145" creationId="{BA94A467-7D79-49BE-B86D-D3CD27B54067}"/>
          </ac:spMkLst>
        </pc:spChg>
        <pc:spChg chg="mod">
          <ac:chgData name="Soleil Yi" userId="c719b956-004a-4243-81dc-14be649b7814" providerId="ADAL" clId="{50DC4EE2-8FC0-47D5-B5D6-C6C1D4ED5A25}" dt="2022-09-13T07:08:04.054" v="1945"/>
          <ac:spMkLst>
            <pc:docMk/>
            <pc:sldMk cId="1159355273" sldId="1851"/>
            <ac:spMk id="146" creationId="{DD466E45-77E4-4E64-BF4B-907C6D37AD8D}"/>
          </ac:spMkLst>
        </pc:spChg>
      </pc:sldChg>
      <pc:sldChg chg="modSp mod">
        <pc:chgData name="Soleil Yi" userId="c719b956-004a-4243-81dc-14be649b7814" providerId="ADAL" clId="{50DC4EE2-8FC0-47D5-B5D6-C6C1D4ED5A25}" dt="2022-09-13T07:08:06.002" v="2473" actId="947"/>
        <pc:sldMkLst>
          <pc:docMk/>
          <pc:sldMk cId="3365594691" sldId="1854"/>
        </pc:sldMkLst>
        <pc:spChg chg="mod">
          <ac:chgData name="Soleil Yi" userId="c719b956-004a-4243-81dc-14be649b7814" providerId="ADAL" clId="{50DC4EE2-8FC0-47D5-B5D6-C6C1D4ED5A25}" dt="2022-09-13T07:08:04.681" v="2097" actId="947"/>
          <ac:spMkLst>
            <pc:docMk/>
            <pc:sldMk cId="3365594691" sldId="1854"/>
            <ac:spMk id="2" creationId="{AA49A357-35DD-4465-87D0-FBA0717BF693}"/>
          </ac:spMkLst>
        </pc:spChg>
        <pc:spChg chg="mod">
          <ac:chgData name="Soleil Yi" userId="c719b956-004a-4243-81dc-14be649b7814" providerId="ADAL" clId="{50DC4EE2-8FC0-47D5-B5D6-C6C1D4ED5A25}" dt="2022-09-13T07:08:04.725" v="2108" actId="947"/>
          <ac:spMkLst>
            <pc:docMk/>
            <pc:sldMk cId="3365594691" sldId="1854"/>
            <ac:spMk id="3" creationId="{177CE8F3-79DC-411C-BA2B-19EE9EB09EA5}"/>
          </ac:spMkLst>
        </pc:spChg>
        <pc:spChg chg="mod">
          <ac:chgData name="Soleil Yi" userId="c719b956-004a-4243-81dc-14be649b7814" providerId="ADAL" clId="{50DC4EE2-8FC0-47D5-B5D6-C6C1D4ED5A25}" dt="2022-09-13T07:08:04.727" v="2109" actId="947"/>
          <ac:spMkLst>
            <pc:docMk/>
            <pc:sldMk cId="3365594691" sldId="1854"/>
            <ac:spMk id="4" creationId="{B9D46965-FC83-4F11-9A17-57C196797362}"/>
          </ac:spMkLst>
        </pc:spChg>
        <pc:spChg chg="mod">
          <ac:chgData name="Soleil Yi" userId="c719b956-004a-4243-81dc-14be649b7814" providerId="ADAL" clId="{50DC4EE2-8FC0-47D5-B5D6-C6C1D4ED5A25}" dt="2022-09-13T07:08:06.002" v="2473" actId="947"/>
          <ac:spMkLst>
            <pc:docMk/>
            <pc:sldMk cId="3365594691" sldId="1854"/>
            <ac:spMk id="13" creationId="{FFB4534A-DA07-4A3D-B89F-227E4D0784AF}"/>
          </ac:spMkLst>
        </pc:spChg>
        <pc:spChg chg="mod">
          <ac:chgData name="Soleil Yi" userId="c719b956-004a-4243-81dc-14be649b7814" providerId="ADAL" clId="{50DC4EE2-8FC0-47D5-B5D6-C6C1D4ED5A25}" dt="2022-09-13T07:08:05.972" v="2465"/>
          <ac:spMkLst>
            <pc:docMk/>
            <pc:sldMk cId="3365594691" sldId="1854"/>
            <ac:spMk id="14" creationId="{6472F2C1-5F5B-48EE-A08A-505658BA2785}"/>
          </ac:spMkLst>
        </pc:spChg>
        <pc:spChg chg="mod">
          <ac:chgData name="Soleil Yi" userId="c719b956-004a-4243-81dc-14be649b7814" providerId="ADAL" clId="{50DC4EE2-8FC0-47D5-B5D6-C6C1D4ED5A25}" dt="2022-09-13T07:08:05.986" v="2469"/>
          <ac:spMkLst>
            <pc:docMk/>
            <pc:sldMk cId="3365594691" sldId="1854"/>
            <ac:spMk id="15" creationId="{3A7C1282-1CBF-40F3-B4B9-6EF7B8718135}"/>
          </ac:spMkLst>
        </pc:spChg>
        <pc:spChg chg="mod">
          <ac:chgData name="Soleil Yi" userId="c719b956-004a-4243-81dc-14be649b7814" providerId="ADAL" clId="{50DC4EE2-8FC0-47D5-B5D6-C6C1D4ED5A25}" dt="2022-09-13T07:08:05.959" v="2461" actId="947"/>
          <ac:spMkLst>
            <pc:docMk/>
            <pc:sldMk cId="3365594691" sldId="1854"/>
            <ac:spMk id="17" creationId="{B01C78CE-B098-4C42-B90C-9B9372D52D2B}"/>
          </ac:spMkLst>
        </pc:spChg>
        <pc:spChg chg="mod">
          <ac:chgData name="Soleil Yi" userId="c719b956-004a-4243-81dc-14be649b7814" providerId="ADAL" clId="{50DC4EE2-8FC0-47D5-B5D6-C6C1D4ED5A25}" dt="2022-09-13T07:08:05.926" v="2453"/>
          <ac:spMkLst>
            <pc:docMk/>
            <pc:sldMk cId="3365594691" sldId="1854"/>
            <ac:spMk id="18" creationId="{33C78265-74E5-4402-8318-52333A355D35}"/>
          </ac:spMkLst>
        </pc:spChg>
        <pc:spChg chg="mod">
          <ac:chgData name="Soleil Yi" userId="c719b956-004a-4243-81dc-14be649b7814" providerId="ADAL" clId="{50DC4EE2-8FC0-47D5-B5D6-C6C1D4ED5A25}" dt="2022-09-13T07:08:05.941" v="2457"/>
          <ac:spMkLst>
            <pc:docMk/>
            <pc:sldMk cId="3365594691" sldId="1854"/>
            <ac:spMk id="19" creationId="{144764A9-E64C-4F87-A468-EE1D0B231437}"/>
          </ac:spMkLst>
        </pc:spChg>
        <pc:spChg chg="mod">
          <ac:chgData name="Soleil Yi" userId="c719b956-004a-4243-81dc-14be649b7814" providerId="ADAL" clId="{50DC4EE2-8FC0-47D5-B5D6-C6C1D4ED5A25}" dt="2022-09-13T07:08:04.889" v="2149" actId="947"/>
          <ac:spMkLst>
            <pc:docMk/>
            <pc:sldMk cId="3365594691" sldId="1854"/>
            <ac:spMk id="22" creationId="{5C82D3FA-C645-49A1-BD5F-BC601EB44868}"/>
          </ac:spMkLst>
        </pc:spChg>
        <pc:spChg chg="mod">
          <ac:chgData name="Soleil Yi" userId="c719b956-004a-4243-81dc-14be649b7814" providerId="ADAL" clId="{50DC4EE2-8FC0-47D5-B5D6-C6C1D4ED5A25}" dt="2022-09-13T07:08:04.904" v="2153" actId="947"/>
          <ac:spMkLst>
            <pc:docMk/>
            <pc:sldMk cId="3365594691" sldId="1854"/>
            <ac:spMk id="23" creationId="{BBD32992-010C-489A-9D95-DAEA68009E3B}"/>
          </ac:spMkLst>
        </pc:spChg>
        <pc:spChg chg="mod">
          <ac:chgData name="Soleil Yi" userId="c719b956-004a-4243-81dc-14be649b7814" providerId="ADAL" clId="{50DC4EE2-8FC0-47D5-B5D6-C6C1D4ED5A25}" dt="2022-09-13T07:08:04.920" v="2157" actId="947"/>
          <ac:spMkLst>
            <pc:docMk/>
            <pc:sldMk cId="3365594691" sldId="1854"/>
            <ac:spMk id="24" creationId="{05D0001E-E028-4159-A35C-247ABF0E35FA}"/>
          </ac:spMkLst>
        </pc:spChg>
        <pc:spChg chg="mod">
          <ac:chgData name="Soleil Yi" userId="c719b956-004a-4243-81dc-14be649b7814" providerId="ADAL" clId="{50DC4EE2-8FC0-47D5-B5D6-C6C1D4ED5A25}" dt="2022-09-13T07:08:04.933" v="2161"/>
          <ac:spMkLst>
            <pc:docMk/>
            <pc:sldMk cId="3365594691" sldId="1854"/>
            <ac:spMk id="25" creationId="{881D1FDE-11F0-488C-B5F8-274B00CA2A65}"/>
          </ac:spMkLst>
        </pc:spChg>
        <pc:spChg chg="mod">
          <ac:chgData name="Soleil Yi" userId="c719b956-004a-4243-81dc-14be649b7814" providerId="ADAL" clId="{50DC4EE2-8FC0-47D5-B5D6-C6C1D4ED5A25}" dt="2022-09-13T07:08:04.946" v="2165"/>
          <ac:spMkLst>
            <pc:docMk/>
            <pc:sldMk cId="3365594691" sldId="1854"/>
            <ac:spMk id="26" creationId="{5CF70C86-99F3-4DE0-8B34-21CFC0DCCD54}"/>
          </ac:spMkLst>
        </pc:spChg>
        <pc:spChg chg="mod">
          <ac:chgData name="Soleil Yi" userId="c719b956-004a-4243-81dc-14be649b7814" providerId="ADAL" clId="{50DC4EE2-8FC0-47D5-B5D6-C6C1D4ED5A25}" dt="2022-09-13T07:08:04.960" v="2169"/>
          <ac:spMkLst>
            <pc:docMk/>
            <pc:sldMk cId="3365594691" sldId="1854"/>
            <ac:spMk id="27" creationId="{A7FFEC78-3600-4C77-B1AA-A71AF416BDD2}"/>
          </ac:spMkLst>
        </pc:spChg>
        <pc:spChg chg="mod">
          <ac:chgData name="Soleil Yi" userId="c719b956-004a-4243-81dc-14be649b7814" providerId="ADAL" clId="{50DC4EE2-8FC0-47D5-B5D6-C6C1D4ED5A25}" dt="2022-09-13T07:08:04.973" v="2173"/>
          <ac:spMkLst>
            <pc:docMk/>
            <pc:sldMk cId="3365594691" sldId="1854"/>
            <ac:spMk id="28" creationId="{A83309BB-A80C-48CB-85F1-89ECE834E082}"/>
          </ac:spMkLst>
        </pc:spChg>
        <pc:spChg chg="mod">
          <ac:chgData name="Soleil Yi" userId="c719b956-004a-4243-81dc-14be649b7814" providerId="ADAL" clId="{50DC4EE2-8FC0-47D5-B5D6-C6C1D4ED5A25}" dt="2022-09-13T07:08:04.987" v="2177"/>
          <ac:spMkLst>
            <pc:docMk/>
            <pc:sldMk cId="3365594691" sldId="1854"/>
            <ac:spMk id="29" creationId="{3DF71823-21A0-4F7B-A341-5DABD38E6C09}"/>
          </ac:spMkLst>
        </pc:spChg>
        <pc:spChg chg="mod">
          <ac:chgData name="Soleil Yi" userId="c719b956-004a-4243-81dc-14be649b7814" providerId="ADAL" clId="{50DC4EE2-8FC0-47D5-B5D6-C6C1D4ED5A25}" dt="2022-09-13T07:08:05" v="2181"/>
          <ac:spMkLst>
            <pc:docMk/>
            <pc:sldMk cId="3365594691" sldId="1854"/>
            <ac:spMk id="30" creationId="{3DABC568-4711-4DE8-8BB9-470AC1215DAF}"/>
          </ac:spMkLst>
        </pc:spChg>
        <pc:spChg chg="mod">
          <ac:chgData name="Soleil Yi" userId="c719b956-004a-4243-81dc-14be649b7814" providerId="ADAL" clId="{50DC4EE2-8FC0-47D5-B5D6-C6C1D4ED5A25}" dt="2022-09-13T07:08:05.013" v="2185"/>
          <ac:spMkLst>
            <pc:docMk/>
            <pc:sldMk cId="3365594691" sldId="1854"/>
            <ac:spMk id="31" creationId="{390DB282-0079-427A-AFB5-8378865D68B1}"/>
          </ac:spMkLst>
        </pc:spChg>
        <pc:spChg chg="mod">
          <ac:chgData name="Soleil Yi" userId="c719b956-004a-4243-81dc-14be649b7814" providerId="ADAL" clId="{50DC4EE2-8FC0-47D5-B5D6-C6C1D4ED5A25}" dt="2022-09-13T07:08:05.026" v="2189"/>
          <ac:spMkLst>
            <pc:docMk/>
            <pc:sldMk cId="3365594691" sldId="1854"/>
            <ac:spMk id="32" creationId="{0297C80E-3EB2-437B-942E-B3920543A504}"/>
          </ac:spMkLst>
        </pc:spChg>
        <pc:spChg chg="mod">
          <ac:chgData name="Soleil Yi" userId="c719b956-004a-4243-81dc-14be649b7814" providerId="ADAL" clId="{50DC4EE2-8FC0-47D5-B5D6-C6C1D4ED5A25}" dt="2022-09-13T07:08:05.040" v="2193"/>
          <ac:spMkLst>
            <pc:docMk/>
            <pc:sldMk cId="3365594691" sldId="1854"/>
            <ac:spMk id="33" creationId="{50D96560-807D-442A-9BE3-3942034287C7}"/>
          </ac:spMkLst>
        </pc:spChg>
        <pc:spChg chg="mod">
          <ac:chgData name="Soleil Yi" userId="c719b956-004a-4243-81dc-14be649b7814" providerId="ADAL" clId="{50DC4EE2-8FC0-47D5-B5D6-C6C1D4ED5A25}" dt="2022-09-13T07:08:05.053" v="2197"/>
          <ac:spMkLst>
            <pc:docMk/>
            <pc:sldMk cId="3365594691" sldId="1854"/>
            <ac:spMk id="34" creationId="{84C3C214-B7BD-4E02-B9E7-CFC5B8AF8327}"/>
          </ac:spMkLst>
        </pc:spChg>
        <pc:spChg chg="mod">
          <ac:chgData name="Soleil Yi" userId="c719b956-004a-4243-81dc-14be649b7814" providerId="ADAL" clId="{50DC4EE2-8FC0-47D5-B5D6-C6C1D4ED5A25}" dt="2022-09-13T07:08:05.066" v="2201"/>
          <ac:spMkLst>
            <pc:docMk/>
            <pc:sldMk cId="3365594691" sldId="1854"/>
            <ac:spMk id="35" creationId="{B8D9E697-0599-4EB7-A984-340F1DED731C}"/>
          </ac:spMkLst>
        </pc:spChg>
        <pc:spChg chg="mod">
          <ac:chgData name="Soleil Yi" userId="c719b956-004a-4243-81dc-14be649b7814" providerId="ADAL" clId="{50DC4EE2-8FC0-47D5-B5D6-C6C1D4ED5A25}" dt="2022-09-13T07:08:05.079" v="2205"/>
          <ac:spMkLst>
            <pc:docMk/>
            <pc:sldMk cId="3365594691" sldId="1854"/>
            <ac:spMk id="36" creationId="{65BE123A-C5AB-457A-A842-B567919FE905}"/>
          </ac:spMkLst>
        </pc:spChg>
        <pc:spChg chg="mod">
          <ac:chgData name="Soleil Yi" userId="c719b956-004a-4243-81dc-14be649b7814" providerId="ADAL" clId="{50DC4EE2-8FC0-47D5-B5D6-C6C1D4ED5A25}" dt="2022-09-13T07:08:05.093" v="2209"/>
          <ac:spMkLst>
            <pc:docMk/>
            <pc:sldMk cId="3365594691" sldId="1854"/>
            <ac:spMk id="37" creationId="{36166679-5381-4D9A-8A5C-593B39F3F804}"/>
          </ac:spMkLst>
        </pc:spChg>
        <pc:spChg chg="mod">
          <ac:chgData name="Soleil Yi" userId="c719b956-004a-4243-81dc-14be649b7814" providerId="ADAL" clId="{50DC4EE2-8FC0-47D5-B5D6-C6C1D4ED5A25}" dt="2022-09-13T07:08:05.106" v="2213"/>
          <ac:spMkLst>
            <pc:docMk/>
            <pc:sldMk cId="3365594691" sldId="1854"/>
            <ac:spMk id="38" creationId="{3EE6EF5E-04E4-4BC1-8BE4-4DF35A155D45}"/>
          </ac:spMkLst>
        </pc:spChg>
        <pc:spChg chg="mod">
          <ac:chgData name="Soleil Yi" userId="c719b956-004a-4243-81dc-14be649b7814" providerId="ADAL" clId="{50DC4EE2-8FC0-47D5-B5D6-C6C1D4ED5A25}" dt="2022-09-13T07:08:05.120" v="2217"/>
          <ac:spMkLst>
            <pc:docMk/>
            <pc:sldMk cId="3365594691" sldId="1854"/>
            <ac:spMk id="39" creationId="{A5F76938-0DAE-4420-80A6-E100468D33E7}"/>
          </ac:spMkLst>
        </pc:spChg>
        <pc:spChg chg="mod">
          <ac:chgData name="Soleil Yi" userId="c719b956-004a-4243-81dc-14be649b7814" providerId="ADAL" clId="{50DC4EE2-8FC0-47D5-B5D6-C6C1D4ED5A25}" dt="2022-09-13T07:08:05.133" v="2221"/>
          <ac:spMkLst>
            <pc:docMk/>
            <pc:sldMk cId="3365594691" sldId="1854"/>
            <ac:spMk id="40" creationId="{12287FD1-FF24-4F38-8F1F-36F177CDF4E6}"/>
          </ac:spMkLst>
        </pc:spChg>
        <pc:spChg chg="mod">
          <ac:chgData name="Soleil Yi" userId="c719b956-004a-4243-81dc-14be649b7814" providerId="ADAL" clId="{50DC4EE2-8FC0-47D5-B5D6-C6C1D4ED5A25}" dt="2022-09-13T07:08:05.146" v="2225"/>
          <ac:spMkLst>
            <pc:docMk/>
            <pc:sldMk cId="3365594691" sldId="1854"/>
            <ac:spMk id="41" creationId="{BA356247-C824-4C8E-8CE4-F0026D2A66CA}"/>
          </ac:spMkLst>
        </pc:spChg>
        <pc:spChg chg="mod">
          <ac:chgData name="Soleil Yi" userId="c719b956-004a-4243-81dc-14be649b7814" providerId="ADAL" clId="{50DC4EE2-8FC0-47D5-B5D6-C6C1D4ED5A25}" dt="2022-09-13T07:08:05.159" v="2229"/>
          <ac:spMkLst>
            <pc:docMk/>
            <pc:sldMk cId="3365594691" sldId="1854"/>
            <ac:spMk id="42" creationId="{D8F59490-6B07-482A-B457-00411A74475A}"/>
          </ac:spMkLst>
        </pc:spChg>
        <pc:spChg chg="mod">
          <ac:chgData name="Soleil Yi" userId="c719b956-004a-4243-81dc-14be649b7814" providerId="ADAL" clId="{50DC4EE2-8FC0-47D5-B5D6-C6C1D4ED5A25}" dt="2022-09-13T07:08:05.173" v="2233"/>
          <ac:spMkLst>
            <pc:docMk/>
            <pc:sldMk cId="3365594691" sldId="1854"/>
            <ac:spMk id="43" creationId="{F4F7B95C-EA9C-4A26-924D-2E0D6E920C56}"/>
          </ac:spMkLst>
        </pc:spChg>
        <pc:spChg chg="mod">
          <ac:chgData name="Soleil Yi" userId="c719b956-004a-4243-81dc-14be649b7814" providerId="ADAL" clId="{50DC4EE2-8FC0-47D5-B5D6-C6C1D4ED5A25}" dt="2022-09-13T07:08:05.185" v="2237"/>
          <ac:spMkLst>
            <pc:docMk/>
            <pc:sldMk cId="3365594691" sldId="1854"/>
            <ac:spMk id="44" creationId="{323D6E21-1386-4604-B1FD-B72AFE2A6C42}"/>
          </ac:spMkLst>
        </pc:spChg>
        <pc:spChg chg="mod">
          <ac:chgData name="Soleil Yi" userId="c719b956-004a-4243-81dc-14be649b7814" providerId="ADAL" clId="{50DC4EE2-8FC0-47D5-B5D6-C6C1D4ED5A25}" dt="2022-09-13T07:08:05.199" v="2241"/>
          <ac:spMkLst>
            <pc:docMk/>
            <pc:sldMk cId="3365594691" sldId="1854"/>
            <ac:spMk id="45" creationId="{E6A2AEA2-4909-40C0-A0AA-8D1FAE40B322}"/>
          </ac:spMkLst>
        </pc:spChg>
        <pc:spChg chg="mod">
          <ac:chgData name="Soleil Yi" userId="c719b956-004a-4243-81dc-14be649b7814" providerId="ADAL" clId="{50DC4EE2-8FC0-47D5-B5D6-C6C1D4ED5A25}" dt="2022-09-13T07:08:05.212" v="2245"/>
          <ac:spMkLst>
            <pc:docMk/>
            <pc:sldMk cId="3365594691" sldId="1854"/>
            <ac:spMk id="46" creationId="{ABCCF65E-6A2F-4DF0-A682-A624C87058B1}"/>
          </ac:spMkLst>
        </pc:spChg>
        <pc:spChg chg="mod">
          <ac:chgData name="Soleil Yi" userId="c719b956-004a-4243-81dc-14be649b7814" providerId="ADAL" clId="{50DC4EE2-8FC0-47D5-B5D6-C6C1D4ED5A25}" dt="2022-09-13T07:08:05.226" v="2249"/>
          <ac:spMkLst>
            <pc:docMk/>
            <pc:sldMk cId="3365594691" sldId="1854"/>
            <ac:spMk id="47" creationId="{04821983-5164-4005-90A8-F798A74ED743}"/>
          </ac:spMkLst>
        </pc:spChg>
        <pc:spChg chg="mod">
          <ac:chgData name="Soleil Yi" userId="c719b956-004a-4243-81dc-14be649b7814" providerId="ADAL" clId="{50DC4EE2-8FC0-47D5-B5D6-C6C1D4ED5A25}" dt="2022-09-13T07:08:05.241" v="2253"/>
          <ac:spMkLst>
            <pc:docMk/>
            <pc:sldMk cId="3365594691" sldId="1854"/>
            <ac:spMk id="48" creationId="{4EE02B0D-6D5D-4697-A400-E18E5EC29580}"/>
          </ac:spMkLst>
        </pc:spChg>
        <pc:spChg chg="mod">
          <ac:chgData name="Soleil Yi" userId="c719b956-004a-4243-81dc-14be649b7814" providerId="ADAL" clId="{50DC4EE2-8FC0-47D5-B5D6-C6C1D4ED5A25}" dt="2022-09-13T07:08:05.255" v="2257"/>
          <ac:spMkLst>
            <pc:docMk/>
            <pc:sldMk cId="3365594691" sldId="1854"/>
            <ac:spMk id="49" creationId="{93505F36-FED5-410D-BA2E-1445925375EA}"/>
          </ac:spMkLst>
        </pc:spChg>
        <pc:spChg chg="mod">
          <ac:chgData name="Soleil Yi" userId="c719b956-004a-4243-81dc-14be649b7814" providerId="ADAL" clId="{50DC4EE2-8FC0-47D5-B5D6-C6C1D4ED5A25}" dt="2022-09-13T07:08:05.267" v="2261"/>
          <ac:spMkLst>
            <pc:docMk/>
            <pc:sldMk cId="3365594691" sldId="1854"/>
            <ac:spMk id="50" creationId="{E5C344AB-89A5-4DF1-9F0D-090120C85F5A}"/>
          </ac:spMkLst>
        </pc:spChg>
        <pc:spChg chg="mod">
          <ac:chgData name="Soleil Yi" userId="c719b956-004a-4243-81dc-14be649b7814" providerId="ADAL" clId="{50DC4EE2-8FC0-47D5-B5D6-C6C1D4ED5A25}" dt="2022-09-13T07:08:05.280" v="2265"/>
          <ac:spMkLst>
            <pc:docMk/>
            <pc:sldMk cId="3365594691" sldId="1854"/>
            <ac:spMk id="51" creationId="{6F3F6CFD-EE4E-45C9-8E86-57A7737DB023}"/>
          </ac:spMkLst>
        </pc:spChg>
        <pc:spChg chg="mod">
          <ac:chgData name="Soleil Yi" userId="c719b956-004a-4243-81dc-14be649b7814" providerId="ADAL" clId="{50DC4EE2-8FC0-47D5-B5D6-C6C1D4ED5A25}" dt="2022-09-13T07:08:05.292" v="2269"/>
          <ac:spMkLst>
            <pc:docMk/>
            <pc:sldMk cId="3365594691" sldId="1854"/>
            <ac:spMk id="52" creationId="{D8D16928-A449-4441-A54A-DE363FD68955}"/>
          </ac:spMkLst>
        </pc:spChg>
        <pc:spChg chg="mod">
          <ac:chgData name="Soleil Yi" userId="c719b956-004a-4243-81dc-14be649b7814" providerId="ADAL" clId="{50DC4EE2-8FC0-47D5-B5D6-C6C1D4ED5A25}" dt="2022-09-13T07:08:05.305" v="2273"/>
          <ac:spMkLst>
            <pc:docMk/>
            <pc:sldMk cId="3365594691" sldId="1854"/>
            <ac:spMk id="53" creationId="{44980E93-8BE9-4074-8FF6-962C8DB4A460}"/>
          </ac:spMkLst>
        </pc:spChg>
        <pc:spChg chg="mod">
          <ac:chgData name="Soleil Yi" userId="c719b956-004a-4243-81dc-14be649b7814" providerId="ADAL" clId="{50DC4EE2-8FC0-47D5-B5D6-C6C1D4ED5A25}" dt="2022-09-13T07:08:05.319" v="2277"/>
          <ac:spMkLst>
            <pc:docMk/>
            <pc:sldMk cId="3365594691" sldId="1854"/>
            <ac:spMk id="54" creationId="{D434569B-EEF1-4F26-8D0A-31BA62E43C43}"/>
          </ac:spMkLst>
        </pc:spChg>
        <pc:spChg chg="mod">
          <ac:chgData name="Soleil Yi" userId="c719b956-004a-4243-81dc-14be649b7814" providerId="ADAL" clId="{50DC4EE2-8FC0-47D5-B5D6-C6C1D4ED5A25}" dt="2022-09-13T07:08:05.333" v="2281"/>
          <ac:spMkLst>
            <pc:docMk/>
            <pc:sldMk cId="3365594691" sldId="1854"/>
            <ac:spMk id="55" creationId="{3925AD0F-FF45-496F-BD14-A73F32B948CC}"/>
          </ac:spMkLst>
        </pc:spChg>
        <pc:spChg chg="mod">
          <ac:chgData name="Soleil Yi" userId="c719b956-004a-4243-81dc-14be649b7814" providerId="ADAL" clId="{50DC4EE2-8FC0-47D5-B5D6-C6C1D4ED5A25}" dt="2022-09-13T07:08:05.346" v="2285"/>
          <ac:spMkLst>
            <pc:docMk/>
            <pc:sldMk cId="3365594691" sldId="1854"/>
            <ac:spMk id="56" creationId="{B5710401-6F34-43AB-82B4-5A597D8AE96B}"/>
          </ac:spMkLst>
        </pc:spChg>
        <pc:spChg chg="mod">
          <ac:chgData name="Soleil Yi" userId="c719b956-004a-4243-81dc-14be649b7814" providerId="ADAL" clId="{50DC4EE2-8FC0-47D5-B5D6-C6C1D4ED5A25}" dt="2022-09-13T07:08:05.358" v="2289"/>
          <ac:spMkLst>
            <pc:docMk/>
            <pc:sldMk cId="3365594691" sldId="1854"/>
            <ac:spMk id="57" creationId="{0E017AE0-8468-47BB-93E9-359062A9AF27}"/>
          </ac:spMkLst>
        </pc:spChg>
        <pc:spChg chg="mod">
          <ac:chgData name="Soleil Yi" userId="c719b956-004a-4243-81dc-14be649b7814" providerId="ADAL" clId="{50DC4EE2-8FC0-47D5-B5D6-C6C1D4ED5A25}" dt="2022-09-13T07:08:05.371" v="2293"/>
          <ac:spMkLst>
            <pc:docMk/>
            <pc:sldMk cId="3365594691" sldId="1854"/>
            <ac:spMk id="58" creationId="{1C737BCB-34BB-40E1-B473-6DDF1A408126}"/>
          </ac:spMkLst>
        </pc:spChg>
        <pc:spChg chg="mod">
          <ac:chgData name="Soleil Yi" userId="c719b956-004a-4243-81dc-14be649b7814" providerId="ADAL" clId="{50DC4EE2-8FC0-47D5-B5D6-C6C1D4ED5A25}" dt="2022-09-13T07:08:05.386" v="2297"/>
          <ac:spMkLst>
            <pc:docMk/>
            <pc:sldMk cId="3365594691" sldId="1854"/>
            <ac:spMk id="59" creationId="{73EE43A0-4090-4997-841D-1CC35BC8BC6B}"/>
          </ac:spMkLst>
        </pc:spChg>
        <pc:spChg chg="mod">
          <ac:chgData name="Soleil Yi" userId="c719b956-004a-4243-81dc-14be649b7814" providerId="ADAL" clId="{50DC4EE2-8FC0-47D5-B5D6-C6C1D4ED5A25}" dt="2022-09-13T07:08:05.399" v="2301"/>
          <ac:spMkLst>
            <pc:docMk/>
            <pc:sldMk cId="3365594691" sldId="1854"/>
            <ac:spMk id="60" creationId="{F0C99E35-C283-4EF6-81AD-BE4500368360}"/>
          </ac:spMkLst>
        </pc:spChg>
        <pc:spChg chg="mod">
          <ac:chgData name="Soleil Yi" userId="c719b956-004a-4243-81dc-14be649b7814" providerId="ADAL" clId="{50DC4EE2-8FC0-47D5-B5D6-C6C1D4ED5A25}" dt="2022-09-13T07:08:05.412" v="2305"/>
          <ac:spMkLst>
            <pc:docMk/>
            <pc:sldMk cId="3365594691" sldId="1854"/>
            <ac:spMk id="61" creationId="{F962D828-5CC4-4AA8-8457-88D224C0652F}"/>
          </ac:spMkLst>
        </pc:spChg>
        <pc:spChg chg="mod">
          <ac:chgData name="Soleil Yi" userId="c719b956-004a-4243-81dc-14be649b7814" providerId="ADAL" clId="{50DC4EE2-8FC0-47D5-B5D6-C6C1D4ED5A25}" dt="2022-09-13T07:08:05.426" v="2309"/>
          <ac:spMkLst>
            <pc:docMk/>
            <pc:sldMk cId="3365594691" sldId="1854"/>
            <ac:spMk id="62" creationId="{E53DFA80-6204-4E31-81C8-60B7DF676B81}"/>
          </ac:spMkLst>
        </pc:spChg>
        <pc:spChg chg="mod">
          <ac:chgData name="Soleil Yi" userId="c719b956-004a-4243-81dc-14be649b7814" providerId="ADAL" clId="{50DC4EE2-8FC0-47D5-B5D6-C6C1D4ED5A25}" dt="2022-09-13T07:08:05.440" v="2313"/>
          <ac:spMkLst>
            <pc:docMk/>
            <pc:sldMk cId="3365594691" sldId="1854"/>
            <ac:spMk id="63" creationId="{1DD97EAC-6565-4A93-B602-1210A3A1BED0}"/>
          </ac:spMkLst>
        </pc:spChg>
        <pc:spChg chg="mod">
          <ac:chgData name="Soleil Yi" userId="c719b956-004a-4243-81dc-14be649b7814" providerId="ADAL" clId="{50DC4EE2-8FC0-47D5-B5D6-C6C1D4ED5A25}" dt="2022-09-13T07:08:05.453" v="2317"/>
          <ac:spMkLst>
            <pc:docMk/>
            <pc:sldMk cId="3365594691" sldId="1854"/>
            <ac:spMk id="64" creationId="{3C4413ED-19C5-466A-A677-61AADF38F23C}"/>
          </ac:spMkLst>
        </pc:spChg>
        <pc:spChg chg="mod">
          <ac:chgData name="Soleil Yi" userId="c719b956-004a-4243-81dc-14be649b7814" providerId="ADAL" clId="{50DC4EE2-8FC0-47D5-B5D6-C6C1D4ED5A25}" dt="2022-09-13T07:08:05.466" v="2321"/>
          <ac:spMkLst>
            <pc:docMk/>
            <pc:sldMk cId="3365594691" sldId="1854"/>
            <ac:spMk id="65" creationId="{104F043E-388E-4B94-9AD7-A4ABB16BD2A1}"/>
          </ac:spMkLst>
        </pc:spChg>
        <pc:spChg chg="mod">
          <ac:chgData name="Soleil Yi" userId="c719b956-004a-4243-81dc-14be649b7814" providerId="ADAL" clId="{50DC4EE2-8FC0-47D5-B5D6-C6C1D4ED5A25}" dt="2022-09-13T07:08:05.479" v="2325"/>
          <ac:spMkLst>
            <pc:docMk/>
            <pc:sldMk cId="3365594691" sldId="1854"/>
            <ac:spMk id="66" creationId="{599780F0-3259-48BA-8ECA-95592EC15325}"/>
          </ac:spMkLst>
        </pc:spChg>
        <pc:spChg chg="mod">
          <ac:chgData name="Soleil Yi" userId="c719b956-004a-4243-81dc-14be649b7814" providerId="ADAL" clId="{50DC4EE2-8FC0-47D5-B5D6-C6C1D4ED5A25}" dt="2022-09-13T07:08:05.493" v="2329"/>
          <ac:spMkLst>
            <pc:docMk/>
            <pc:sldMk cId="3365594691" sldId="1854"/>
            <ac:spMk id="67" creationId="{F4A09DBB-0970-4401-BB6F-5DE668EBA69B}"/>
          </ac:spMkLst>
        </pc:spChg>
        <pc:spChg chg="mod">
          <ac:chgData name="Soleil Yi" userId="c719b956-004a-4243-81dc-14be649b7814" providerId="ADAL" clId="{50DC4EE2-8FC0-47D5-B5D6-C6C1D4ED5A25}" dt="2022-09-13T07:08:05.509" v="2333"/>
          <ac:spMkLst>
            <pc:docMk/>
            <pc:sldMk cId="3365594691" sldId="1854"/>
            <ac:spMk id="68" creationId="{6E07CE39-FA8E-4385-AD98-2CE12A88A560}"/>
          </ac:spMkLst>
        </pc:spChg>
        <pc:spChg chg="mod">
          <ac:chgData name="Soleil Yi" userId="c719b956-004a-4243-81dc-14be649b7814" providerId="ADAL" clId="{50DC4EE2-8FC0-47D5-B5D6-C6C1D4ED5A25}" dt="2022-09-13T07:08:05.522" v="2337"/>
          <ac:spMkLst>
            <pc:docMk/>
            <pc:sldMk cId="3365594691" sldId="1854"/>
            <ac:spMk id="69" creationId="{6671B42E-A105-4826-B82C-94C535134557}"/>
          </ac:spMkLst>
        </pc:spChg>
        <pc:spChg chg="mod">
          <ac:chgData name="Soleil Yi" userId="c719b956-004a-4243-81dc-14be649b7814" providerId="ADAL" clId="{50DC4EE2-8FC0-47D5-B5D6-C6C1D4ED5A25}" dt="2022-09-13T07:08:05.536" v="2341"/>
          <ac:spMkLst>
            <pc:docMk/>
            <pc:sldMk cId="3365594691" sldId="1854"/>
            <ac:spMk id="70" creationId="{16CAF677-5C97-4F25-A530-221F1AD2BAC2}"/>
          </ac:spMkLst>
        </pc:spChg>
        <pc:spChg chg="mod">
          <ac:chgData name="Soleil Yi" userId="c719b956-004a-4243-81dc-14be649b7814" providerId="ADAL" clId="{50DC4EE2-8FC0-47D5-B5D6-C6C1D4ED5A25}" dt="2022-09-13T07:08:05.549" v="2345"/>
          <ac:spMkLst>
            <pc:docMk/>
            <pc:sldMk cId="3365594691" sldId="1854"/>
            <ac:spMk id="71" creationId="{5B76DFEE-4370-416C-9645-1A91CF8C9B52}"/>
          </ac:spMkLst>
        </pc:spChg>
        <pc:spChg chg="mod">
          <ac:chgData name="Soleil Yi" userId="c719b956-004a-4243-81dc-14be649b7814" providerId="ADAL" clId="{50DC4EE2-8FC0-47D5-B5D6-C6C1D4ED5A25}" dt="2022-09-13T07:08:05.562" v="2349"/>
          <ac:spMkLst>
            <pc:docMk/>
            <pc:sldMk cId="3365594691" sldId="1854"/>
            <ac:spMk id="72" creationId="{BD284ED8-56FC-4C00-92B7-7F3292FA80D0}"/>
          </ac:spMkLst>
        </pc:spChg>
        <pc:spChg chg="mod">
          <ac:chgData name="Soleil Yi" userId="c719b956-004a-4243-81dc-14be649b7814" providerId="ADAL" clId="{50DC4EE2-8FC0-47D5-B5D6-C6C1D4ED5A25}" dt="2022-09-13T07:08:05.575" v="2353"/>
          <ac:spMkLst>
            <pc:docMk/>
            <pc:sldMk cId="3365594691" sldId="1854"/>
            <ac:spMk id="73" creationId="{F505B91B-DE9F-4D23-BE1F-C16A9A019561}"/>
          </ac:spMkLst>
        </pc:spChg>
        <pc:spChg chg="mod">
          <ac:chgData name="Soleil Yi" userId="c719b956-004a-4243-81dc-14be649b7814" providerId="ADAL" clId="{50DC4EE2-8FC0-47D5-B5D6-C6C1D4ED5A25}" dt="2022-09-13T07:08:05.588" v="2357"/>
          <ac:spMkLst>
            <pc:docMk/>
            <pc:sldMk cId="3365594691" sldId="1854"/>
            <ac:spMk id="74" creationId="{F26A7229-C8AD-4090-8D3E-CD91045CDFE0}"/>
          </ac:spMkLst>
        </pc:spChg>
        <pc:spChg chg="mod">
          <ac:chgData name="Soleil Yi" userId="c719b956-004a-4243-81dc-14be649b7814" providerId="ADAL" clId="{50DC4EE2-8FC0-47D5-B5D6-C6C1D4ED5A25}" dt="2022-09-13T07:08:05.607" v="2361" actId="947"/>
          <ac:spMkLst>
            <pc:docMk/>
            <pc:sldMk cId="3365594691" sldId="1854"/>
            <ac:spMk id="75" creationId="{23E97883-DE38-4114-BEC0-7608DEF93984}"/>
          </ac:spMkLst>
        </pc:spChg>
        <pc:spChg chg="mod">
          <ac:chgData name="Soleil Yi" userId="c719b956-004a-4243-81dc-14be649b7814" providerId="ADAL" clId="{50DC4EE2-8FC0-47D5-B5D6-C6C1D4ED5A25}" dt="2022-09-13T07:08:05.621" v="2365"/>
          <ac:spMkLst>
            <pc:docMk/>
            <pc:sldMk cId="3365594691" sldId="1854"/>
            <ac:spMk id="76" creationId="{42A8698D-C040-4987-90B8-F5C49BBF7D67}"/>
          </ac:spMkLst>
        </pc:spChg>
        <pc:spChg chg="mod">
          <ac:chgData name="Soleil Yi" userId="c719b956-004a-4243-81dc-14be649b7814" providerId="ADAL" clId="{50DC4EE2-8FC0-47D5-B5D6-C6C1D4ED5A25}" dt="2022-09-13T07:08:05.635" v="2369"/>
          <ac:spMkLst>
            <pc:docMk/>
            <pc:sldMk cId="3365594691" sldId="1854"/>
            <ac:spMk id="77" creationId="{435ED325-094C-4988-A6FD-D100F57F0C9D}"/>
          </ac:spMkLst>
        </pc:spChg>
        <pc:spChg chg="mod">
          <ac:chgData name="Soleil Yi" userId="c719b956-004a-4243-81dc-14be649b7814" providerId="ADAL" clId="{50DC4EE2-8FC0-47D5-B5D6-C6C1D4ED5A25}" dt="2022-09-13T07:08:05.649" v="2373"/>
          <ac:spMkLst>
            <pc:docMk/>
            <pc:sldMk cId="3365594691" sldId="1854"/>
            <ac:spMk id="78" creationId="{93665757-E3B8-4EE3-998E-B40BC684FDA4}"/>
          </ac:spMkLst>
        </pc:spChg>
        <pc:spChg chg="mod">
          <ac:chgData name="Soleil Yi" userId="c719b956-004a-4243-81dc-14be649b7814" providerId="ADAL" clId="{50DC4EE2-8FC0-47D5-B5D6-C6C1D4ED5A25}" dt="2022-09-13T07:08:05.663" v="2377"/>
          <ac:spMkLst>
            <pc:docMk/>
            <pc:sldMk cId="3365594691" sldId="1854"/>
            <ac:spMk id="79" creationId="{3BBE99C2-B563-4E16-8391-D9B9783D856B}"/>
          </ac:spMkLst>
        </pc:spChg>
        <pc:spChg chg="mod">
          <ac:chgData name="Soleil Yi" userId="c719b956-004a-4243-81dc-14be649b7814" providerId="ADAL" clId="{50DC4EE2-8FC0-47D5-B5D6-C6C1D4ED5A25}" dt="2022-09-13T07:08:05.675" v="2381"/>
          <ac:spMkLst>
            <pc:docMk/>
            <pc:sldMk cId="3365594691" sldId="1854"/>
            <ac:spMk id="80" creationId="{F46A75C5-51C7-460D-86CF-2D7327722C89}"/>
          </ac:spMkLst>
        </pc:spChg>
        <pc:spChg chg="mod">
          <ac:chgData name="Soleil Yi" userId="c719b956-004a-4243-81dc-14be649b7814" providerId="ADAL" clId="{50DC4EE2-8FC0-47D5-B5D6-C6C1D4ED5A25}" dt="2022-09-13T07:08:05.689" v="2385"/>
          <ac:spMkLst>
            <pc:docMk/>
            <pc:sldMk cId="3365594691" sldId="1854"/>
            <ac:spMk id="81" creationId="{4A1FCB0F-8B25-4768-A9EF-E5BFFB99F6AE}"/>
          </ac:spMkLst>
        </pc:spChg>
        <pc:spChg chg="mod">
          <ac:chgData name="Soleil Yi" userId="c719b956-004a-4243-81dc-14be649b7814" providerId="ADAL" clId="{50DC4EE2-8FC0-47D5-B5D6-C6C1D4ED5A25}" dt="2022-09-13T07:08:05.702" v="2389"/>
          <ac:spMkLst>
            <pc:docMk/>
            <pc:sldMk cId="3365594691" sldId="1854"/>
            <ac:spMk id="82" creationId="{AC89DDEA-D5A1-435E-BDC3-07F37F56235D}"/>
          </ac:spMkLst>
        </pc:spChg>
        <pc:spChg chg="mod">
          <ac:chgData name="Soleil Yi" userId="c719b956-004a-4243-81dc-14be649b7814" providerId="ADAL" clId="{50DC4EE2-8FC0-47D5-B5D6-C6C1D4ED5A25}" dt="2022-09-13T07:08:05.715" v="2393"/>
          <ac:spMkLst>
            <pc:docMk/>
            <pc:sldMk cId="3365594691" sldId="1854"/>
            <ac:spMk id="83" creationId="{39008B06-3CAA-4418-9E7C-FB0DB10D0935}"/>
          </ac:spMkLst>
        </pc:spChg>
        <pc:spChg chg="mod">
          <ac:chgData name="Soleil Yi" userId="c719b956-004a-4243-81dc-14be649b7814" providerId="ADAL" clId="{50DC4EE2-8FC0-47D5-B5D6-C6C1D4ED5A25}" dt="2022-09-13T07:08:05.727" v="2397"/>
          <ac:spMkLst>
            <pc:docMk/>
            <pc:sldMk cId="3365594691" sldId="1854"/>
            <ac:spMk id="84" creationId="{1EEFD41F-6B18-40F6-8FB2-7C8B9A982E57}"/>
          </ac:spMkLst>
        </pc:spChg>
        <pc:spChg chg="mod">
          <ac:chgData name="Soleil Yi" userId="c719b956-004a-4243-81dc-14be649b7814" providerId="ADAL" clId="{50DC4EE2-8FC0-47D5-B5D6-C6C1D4ED5A25}" dt="2022-09-13T07:08:05.740" v="2401"/>
          <ac:spMkLst>
            <pc:docMk/>
            <pc:sldMk cId="3365594691" sldId="1854"/>
            <ac:spMk id="85" creationId="{81E74956-72E9-4B36-8119-BD443C5F85DE}"/>
          </ac:spMkLst>
        </pc:spChg>
        <pc:spChg chg="mod">
          <ac:chgData name="Soleil Yi" userId="c719b956-004a-4243-81dc-14be649b7814" providerId="ADAL" clId="{50DC4EE2-8FC0-47D5-B5D6-C6C1D4ED5A25}" dt="2022-09-13T07:08:05.756" v="2405"/>
          <ac:spMkLst>
            <pc:docMk/>
            <pc:sldMk cId="3365594691" sldId="1854"/>
            <ac:spMk id="86" creationId="{0BE869EE-427B-466A-9D0D-AD231DCEAFCC}"/>
          </ac:spMkLst>
        </pc:spChg>
        <pc:spChg chg="mod">
          <ac:chgData name="Soleil Yi" userId="c719b956-004a-4243-81dc-14be649b7814" providerId="ADAL" clId="{50DC4EE2-8FC0-47D5-B5D6-C6C1D4ED5A25}" dt="2022-09-13T07:08:05.769" v="2409"/>
          <ac:spMkLst>
            <pc:docMk/>
            <pc:sldMk cId="3365594691" sldId="1854"/>
            <ac:spMk id="87" creationId="{9A25BE3B-CB11-4876-8936-4BE35D18874A}"/>
          </ac:spMkLst>
        </pc:spChg>
        <pc:spChg chg="mod">
          <ac:chgData name="Soleil Yi" userId="c719b956-004a-4243-81dc-14be649b7814" providerId="ADAL" clId="{50DC4EE2-8FC0-47D5-B5D6-C6C1D4ED5A25}" dt="2022-09-13T07:08:05.781" v="2413"/>
          <ac:spMkLst>
            <pc:docMk/>
            <pc:sldMk cId="3365594691" sldId="1854"/>
            <ac:spMk id="88" creationId="{5124BF4A-AC07-46E2-866A-63CC71C25F9D}"/>
          </ac:spMkLst>
        </pc:spChg>
        <pc:spChg chg="mod">
          <ac:chgData name="Soleil Yi" userId="c719b956-004a-4243-81dc-14be649b7814" providerId="ADAL" clId="{50DC4EE2-8FC0-47D5-B5D6-C6C1D4ED5A25}" dt="2022-09-13T07:08:05.796" v="2417"/>
          <ac:spMkLst>
            <pc:docMk/>
            <pc:sldMk cId="3365594691" sldId="1854"/>
            <ac:spMk id="89" creationId="{7C843B15-26D8-4140-8610-DD202D8DF53A}"/>
          </ac:spMkLst>
        </pc:spChg>
        <pc:spChg chg="mod">
          <ac:chgData name="Soleil Yi" userId="c719b956-004a-4243-81dc-14be649b7814" providerId="ADAL" clId="{50DC4EE2-8FC0-47D5-B5D6-C6C1D4ED5A25}" dt="2022-09-13T07:08:05.809" v="2421"/>
          <ac:spMkLst>
            <pc:docMk/>
            <pc:sldMk cId="3365594691" sldId="1854"/>
            <ac:spMk id="90" creationId="{703A014A-5DF9-4E7B-A9ED-F65009BFAF70}"/>
          </ac:spMkLst>
        </pc:spChg>
        <pc:spChg chg="mod">
          <ac:chgData name="Soleil Yi" userId="c719b956-004a-4243-81dc-14be649b7814" providerId="ADAL" clId="{50DC4EE2-8FC0-47D5-B5D6-C6C1D4ED5A25}" dt="2022-09-13T07:08:05.827" v="2425"/>
          <ac:spMkLst>
            <pc:docMk/>
            <pc:sldMk cId="3365594691" sldId="1854"/>
            <ac:spMk id="91" creationId="{011C6672-F8D0-439C-8D47-76D900982F19}"/>
          </ac:spMkLst>
        </pc:spChg>
        <pc:spChg chg="mod">
          <ac:chgData name="Soleil Yi" userId="c719b956-004a-4243-81dc-14be649b7814" providerId="ADAL" clId="{50DC4EE2-8FC0-47D5-B5D6-C6C1D4ED5A25}" dt="2022-09-13T07:08:05.840" v="2429"/>
          <ac:spMkLst>
            <pc:docMk/>
            <pc:sldMk cId="3365594691" sldId="1854"/>
            <ac:spMk id="92" creationId="{CB5148FC-CBCB-4FED-AB08-61FBDC611736}"/>
          </ac:spMkLst>
        </pc:spChg>
        <pc:spChg chg="mod">
          <ac:chgData name="Soleil Yi" userId="c719b956-004a-4243-81dc-14be649b7814" providerId="ADAL" clId="{50DC4EE2-8FC0-47D5-B5D6-C6C1D4ED5A25}" dt="2022-09-13T07:08:05.854" v="2433"/>
          <ac:spMkLst>
            <pc:docMk/>
            <pc:sldMk cId="3365594691" sldId="1854"/>
            <ac:spMk id="93" creationId="{65EB8912-7AC3-4754-8BF4-39BFC55FF471}"/>
          </ac:spMkLst>
        </pc:spChg>
        <pc:spChg chg="mod">
          <ac:chgData name="Soleil Yi" userId="c719b956-004a-4243-81dc-14be649b7814" providerId="ADAL" clId="{50DC4EE2-8FC0-47D5-B5D6-C6C1D4ED5A25}" dt="2022-09-13T07:08:05.866" v="2437"/>
          <ac:spMkLst>
            <pc:docMk/>
            <pc:sldMk cId="3365594691" sldId="1854"/>
            <ac:spMk id="94" creationId="{6EC17F42-45B3-4A5E-8CDC-DAD0CBD0578F}"/>
          </ac:spMkLst>
        </pc:spChg>
        <pc:spChg chg="mod">
          <ac:chgData name="Soleil Yi" userId="c719b956-004a-4243-81dc-14be649b7814" providerId="ADAL" clId="{50DC4EE2-8FC0-47D5-B5D6-C6C1D4ED5A25}" dt="2022-09-13T07:08:05.884" v="2441"/>
          <ac:spMkLst>
            <pc:docMk/>
            <pc:sldMk cId="3365594691" sldId="1854"/>
            <ac:spMk id="95" creationId="{51B81D5C-2B51-4517-A5DA-E13EAA561732}"/>
          </ac:spMkLst>
        </pc:spChg>
        <pc:spChg chg="mod">
          <ac:chgData name="Soleil Yi" userId="c719b956-004a-4243-81dc-14be649b7814" providerId="ADAL" clId="{50DC4EE2-8FC0-47D5-B5D6-C6C1D4ED5A25}" dt="2022-09-13T07:08:05.898" v="2445"/>
          <ac:spMkLst>
            <pc:docMk/>
            <pc:sldMk cId="3365594691" sldId="1854"/>
            <ac:spMk id="96" creationId="{D35CEB4D-6ACA-4D2F-A46C-197C10CE9CF5}"/>
          </ac:spMkLst>
        </pc:spChg>
        <pc:spChg chg="mod">
          <ac:chgData name="Soleil Yi" userId="c719b956-004a-4243-81dc-14be649b7814" providerId="ADAL" clId="{50DC4EE2-8FC0-47D5-B5D6-C6C1D4ED5A25}" dt="2022-09-13T07:08:05.912" v="2449"/>
          <ac:spMkLst>
            <pc:docMk/>
            <pc:sldMk cId="3365594691" sldId="1854"/>
            <ac:spMk id="97" creationId="{F40ED8E6-9230-4BBD-AD4F-CABF41E5B7C2}"/>
          </ac:spMkLst>
        </pc:spChg>
        <pc:spChg chg="mod">
          <ac:chgData name="Soleil Yi" userId="c719b956-004a-4243-81dc-14be649b7814" providerId="ADAL" clId="{50DC4EE2-8FC0-47D5-B5D6-C6C1D4ED5A25}" dt="2022-09-13T07:08:04.776" v="2121" actId="947"/>
          <ac:spMkLst>
            <pc:docMk/>
            <pc:sldMk cId="3365594691" sldId="1854"/>
            <ac:spMk id="98" creationId="{146D8FF5-95EE-4E9F-9D24-683AE5E700BC}"/>
          </ac:spMkLst>
        </pc:spChg>
        <pc:spChg chg="mod">
          <ac:chgData name="Soleil Yi" userId="c719b956-004a-4243-81dc-14be649b7814" providerId="ADAL" clId="{50DC4EE2-8FC0-47D5-B5D6-C6C1D4ED5A25}" dt="2022-09-13T07:08:04.791" v="2125" actId="947"/>
          <ac:spMkLst>
            <pc:docMk/>
            <pc:sldMk cId="3365594691" sldId="1854"/>
            <ac:spMk id="99" creationId="{670BB6A7-7B9A-42AF-BA4D-391F5178BAD1}"/>
          </ac:spMkLst>
        </pc:spChg>
        <pc:spChg chg="mod">
          <ac:chgData name="Soleil Yi" userId="c719b956-004a-4243-81dc-14be649b7814" providerId="ADAL" clId="{50DC4EE2-8FC0-47D5-B5D6-C6C1D4ED5A25}" dt="2022-09-13T07:08:04.807" v="2129" actId="947"/>
          <ac:spMkLst>
            <pc:docMk/>
            <pc:sldMk cId="3365594691" sldId="1854"/>
            <ac:spMk id="100" creationId="{30142752-4222-423D-8B0C-CFB7C0A5EE9D}"/>
          </ac:spMkLst>
        </pc:spChg>
        <pc:spChg chg="mod">
          <ac:chgData name="Soleil Yi" userId="c719b956-004a-4243-81dc-14be649b7814" providerId="ADAL" clId="{50DC4EE2-8FC0-47D5-B5D6-C6C1D4ED5A25}" dt="2022-09-13T07:08:04.825" v="2133" actId="947"/>
          <ac:spMkLst>
            <pc:docMk/>
            <pc:sldMk cId="3365594691" sldId="1854"/>
            <ac:spMk id="101" creationId="{6261B168-E09D-4FE7-8694-BC2E460228C9}"/>
          </ac:spMkLst>
        </pc:spChg>
        <pc:spChg chg="mod">
          <ac:chgData name="Soleil Yi" userId="c719b956-004a-4243-81dc-14be649b7814" providerId="ADAL" clId="{50DC4EE2-8FC0-47D5-B5D6-C6C1D4ED5A25}" dt="2022-09-13T07:08:04.841" v="2137" actId="947"/>
          <ac:spMkLst>
            <pc:docMk/>
            <pc:sldMk cId="3365594691" sldId="1854"/>
            <ac:spMk id="102" creationId="{2F466F36-0E0E-4489-8644-EB381E368775}"/>
          </ac:spMkLst>
        </pc:spChg>
        <pc:spChg chg="mod">
          <ac:chgData name="Soleil Yi" userId="c719b956-004a-4243-81dc-14be649b7814" providerId="ADAL" clId="{50DC4EE2-8FC0-47D5-B5D6-C6C1D4ED5A25}" dt="2022-09-13T07:08:04.856" v="2141" actId="947"/>
          <ac:spMkLst>
            <pc:docMk/>
            <pc:sldMk cId="3365594691" sldId="1854"/>
            <ac:spMk id="103" creationId="{82DEF4D0-4F42-4AF3-B25A-803F3DD3EC8B}"/>
          </ac:spMkLst>
        </pc:spChg>
        <pc:spChg chg="mod">
          <ac:chgData name="Soleil Yi" userId="c719b956-004a-4243-81dc-14be649b7814" providerId="ADAL" clId="{50DC4EE2-8FC0-47D5-B5D6-C6C1D4ED5A25}" dt="2022-09-13T07:08:04.872" v="2145" actId="947"/>
          <ac:spMkLst>
            <pc:docMk/>
            <pc:sldMk cId="3365594691" sldId="1854"/>
            <ac:spMk id="104" creationId="{C438A5ED-0545-413B-B3B7-5D77FEB9F3BE}"/>
          </ac:spMkLst>
        </pc:spChg>
        <pc:spChg chg="mod">
          <ac:chgData name="Soleil Yi" userId="c719b956-004a-4243-81dc-14be649b7814" providerId="ADAL" clId="{50DC4EE2-8FC0-47D5-B5D6-C6C1D4ED5A25}" dt="2022-09-13T07:08:04.718" v="2105" actId="947"/>
          <ac:spMkLst>
            <pc:docMk/>
            <pc:sldMk cId="3365594691" sldId="1854"/>
            <ac:spMk id="105" creationId="{6B8E88F9-D4BA-4AE6-BE79-13C88931DBFD}"/>
          </ac:spMkLst>
        </pc:spChg>
        <pc:spChg chg="mod">
          <ac:chgData name="Soleil Yi" userId="c719b956-004a-4243-81dc-14be649b7814" providerId="ADAL" clId="{50DC4EE2-8FC0-47D5-B5D6-C6C1D4ED5A25}" dt="2022-09-13T07:08:04.740" v="2113" actId="947"/>
          <ac:spMkLst>
            <pc:docMk/>
            <pc:sldMk cId="3365594691" sldId="1854"/>
            <ac:spMk id="106" creationId="{D66C4080-C682-455C-9689-7D9CB68F1585}"/>
          </ac:spMkLst>
        </pc:spChg>
        <pc:spChg chg="mod">
          <ac:chgData name="Soleil Yi" userId="c719b956-004a-4243-81dc-14be649b7814" providerId="ADAL" clId="{50DC4EE2-8FC0-47D5-B5D6-C6C1D4ED5A25}" dt="2022-09-13T07:08:04.757" v="2117" actId="947"/>
          <ac:spMkLst>
            <pc:docMk/>
            <pc:sldMk cId="3365594691" sldId="1854"/>
            <ac:spMk id="107" creationId="{C6C6722D-2811-4750-9D74-A4BE117DE2DB}"/>
          </ac:spMkLst>
        </pc:spChg>
      </pc:sldChg>
      <pc:sldChg chg="modSp mod">
        <pc:chgData name="Soleil Yi" userId="c719b956-004a-4243-81dc-14be649b7814" providerId="ADAL" clId="{50DC4EE2-8FC0-47D5-B5D6-C6C1D4ED5A25}" dt="2022-09-13T07:08:07.117" v="2777"/>
        <pc:sldMkLst>
          <pc:docMk/>
          <pc:sldMk cId="2941851587" sldId="1856"/>
        </pc:sldMkLst>
        <pc:spChg chg="mod">
          <ac:chgData name="Soleil Yi" userId="c719b956-004a-4243-81dc-14be649b7814" providerId="ADAL" clId="{50DC4EE2-8FC0-47D5-B5D6-C6C1D4ED5A25}" dt="2022-09-13T07:08:06.944" v="2729" actId="947"/>
          <ac:spMkLst>
            <pc:docMk/>
            <pc:sldMk cId="2941851587" sldId="1856"/>
            <ac:spMk id="2" creationId="{D6F48201-24F3-4885-8007-21DA860FD0AA}"/>
          </ac:spMkLst>
        </pc:spChg>
        <pc:spChg chg="mod">
          <ac:chgData name="Soleil Yi" userId="c719b956-004a-4243-81dc-14be649b7814" providerId="ADAL" clId="{50DC4EE2-8FC0-47D5-B5D6-C6C1D4ED5A25}" dt="2022-09-13T07:08:06.983" v="2741" actId="947"/>
          <ac:spMkLst>
            <pc:docMk/>
            <pc:sldMk cId="2941851587" sldId="1856"/>
            <ac:spMk id="3" creationId="{D04D3363-4C55-4374-8137-AB2C7B09668B}"/>
          </ac:spMkLst>
        </pc:spChg>
        <pc:spChg chg="mod">
          <ac:chgData name="Soleil Yi" userId="c719b956-004a-4243-81dc-14be649b7814" providerId="ADAL" clId="{50DC4EE2-8FC0-47D5-B5D6-C6C1D4ED5A25}" dt="2022-09-13T07:08:06.981" v="2740" actId="947"/>
          <ac:spMkLst>
            <pc:docMk/>
            <pc:sldMk cId="2941851587" sldId="1856"/>
            <ac:spMk id="4" creationId="{2E2508BD-964C-4859-81C4-D05FC73A0521}"/>
          </ac:spMkLst>
        </pc:spChg>
        <pc:spChg chg="mod">
          <ac:chgData name="Soleil Yi" userId="c719b956-004a-4243-81dc-14be649b7814" providerId="ADAL" clId="{50DC4EE2-8FC0-47D5-B5D6-C6C1D4ED5A25}" dt="2022-09-13T07:08:07.077" v="2765"/>
          <ac:spMkLst>
            <pc:docMk/>
            <pc:sldMk cId="2941851587" sldId="1856"/>
            <ac:spMk id="9" creationId="{BAA6F8CE-60FE-42F8-9B32-C1063D45EFE6}"/>
          </ac:spMkLst>
        </pc:spChg>
        <pc:spChg chg="mod">
          <ac:chgData name="Soleil Yi" userId="c719b956-004a-4243-81dc-14be649b7814" providerId="ADAL" clId="{50DC4EE2-8FC0-47D5-B5D6-C6C1D4ED5A25}" dt="2022-09-13T07:08:07.090" v="2769"/>
          <ac:spMkLst>
            <pc:docMk/>
            <pc:sldMk cId="2941851587" sldId="1856"/>
            <ac:spMk id="10" creationId="{F6C1CD5F-8428-4292-9F5A-ED8CAB740EA6}"/>
          </ac:spMkLst>
        </pc:spChg>
        <pc:spChg chg="mod">
          <ac:chgData name="Soleil Yi" userId="c719b956-004a-4243-81dc-14be649b7814" providerId="ADAL" clId="{50DC4EE2-8FC0-47D5-B5D6-C6C1D4ED5A25}" dt="2022-09-13T07:08:07.104" v="2773"/>
          <ac:spMkLst>
            <pc:docMk/>
            <pc:sldMk cId="2941851587" sldId="1856"/>
            <ac:spMk id="11" creationId="{D9F116DD-763E-46CD-83F1-C8B309C39BEA}"/>
          </ac:spMkLst>
        </pc:spChg>
        <pc:spChg chg="mod">
          <ac:chgData name="Soleil Yi" userId="c719b956-004a-4243-81dc-14be649b7814" providerId="ADAL" clId="{50DC4EE2-8FC0-47D5-B5D6-C6C1D4ED5A25}" dt="2022-09-13T07:08:07.117" v="2777"/>
          <ac:spMkLst>
            <pc:docMk/>
            <pc:sldMk cId="2941851587" sldId="1856"/>
            <ac:spMk id="12" creationId="{ED897078-DD56-4042-B2A6-4A9F207BA579}"/>
          </ac:spMkLst>
        </pc:spChg>
        <pc:spChg chg="mod">
          <ac:chgData name="Soleil Yi" userId="c719b956-004a-4243-81dc-14be649b7814" providerId="ADAL" clId="{50DC4EE2-8FC0-47D5-B5D6-C6C1D4ED5A25}" dt="2022-09-13T07:08:06.978" v="2739" actId="947"/>
          <ac:spMkLst>
            <pc:docMk/>
            <pc:sldMk cId="2941851587" sldId="1856"/>
            <ac:spMk id="13" creationId="{1C015435-04F3-4F0D-9DF4-B84B879B284E}"/>
          </ac:spMkLst>
        </pc:spChg>
        <pc:spChg chg="mod">
          <ac:chgData name="Soleil Yi" userId="c719b956-004a-4243-81dc-14be649b7814" providerId="ADAL" clId="{50DC4EE2-8FC0-47D5-B5D6-C6C1D4ED5A25}" dt="2022-09-13T07:08:06.995" v="2745" actId="947"/>
          <ac:spMkLst>
            <pc:docMk/>
            <pc:sldMk cId="2941851587" sldId="1856"/>
            <ac:spMk id="14" creationId="{5047E886-323E-4FBD-915C-6C7FE5B359AE}"/>
          </ac:spMkLst>
        </pc:spChg>
        <pc:spChg chg="mod">
          <ac:chgData name="Soleil Yi" userId="c719b956-004a-4243-81dc-14be649b7814" providerId="ADAL" clId="{50DC4EE2-8FC0-47D5-B5D6-C6C1D4ED5A25}" dt="2022-09-13T07:08:07.012" v="2749" actId="947"/>
          <ac:spMkLst>
            <pc:docMk/>
            <pc:sldMk cId="2941851587" sldId="1856"/>
            <ac:spMk id="15" creationId="{A926209E-4918-4899-95B6-C2F3746A26BE}"/>
          </ac:spMkLst>
        </pc:spChg>
        <pc:spChg chg="mod">
          <ac:chgData name="Soleil Yi" userId="c719b956-004a-4243-81dc-14be649b7814" providerId="ADAL" clId="{50DC4EE2-8FC0-47D5-B5D6-C6C1D4ED5A25}" dt="2022-09-13T07:08:07.027" v="2753" actId="947"/>
          <ac:spMkLst>
            <pc:docMk/>
            <pc:sldMk cId="2941851587" sldId="1856"/>
            <ac:spMk id="16" creationId="{41452E1E-BFF3-4F89-A625-5ADFAAC330FD}"/>
          </ac:spMkLst>
        </pc:spChg>
        <pc:spChg chg="mod">
          <ac:chgData name="Soleil Yi" userId="c719b956-004a-4243-81dc-14be649b7814" providerId="ADAL" clId="{50DC4EE2-8FC0-47D5-B5D6-C6C1D4ED5A25}" dt="2022-09-13T07:08:07.043" v="2757" actId="947"/>
          <ac:spMkLst>
            <pc:docMk/>
            <pc:sldMk cId="2941851587" sldId="1856"/>
            <ac:spMk id="17" creationId="{0936EBAD-1C10-4EB5-AC69-0BF9FB4CA16C}"/>
          </ac:spMkLst>
        </pc:spChg>
        <pc:spChg chg="mod">
          <ac:chgData name="Soleil Yi" userId="c719b956-004a-4243-81dc-14be649b7814" providerId="ADAL" clId="{50DC4EE2-8FC0-47D5-B5D6-C6C1D4ED5A25}" dt="2022-09-13T07:08:07.058" v="2761" actId="947"/>
          <ac:spMkLst>
            <pc:docMk/>
            <pc:sldMk cId="2941851587" sldId="1856"/>
            <ac:spMk id="18" creationId="{5FD847D9-B428-4870-8B05-B2EA3989D640}"/>
          </ac:spMkLst>
        </pc:spChg>
      </pc:sldChg>
      <pc:sldChg chg="modSp mod">
        <pc:chgData name="Soleil Yi" userId="c719b956-004a-4243-81dc-14be649b7814" providerId="ADAL" clId="{50DC4EE2-8FC0-47D5-B5D6-C6C1D4ED5A25}" dt="2022-09-13T07:08:10.080" v="3489"/>
        <pc:sldMkLst>
          <pc:docMk/>
          <pc:sldMk cId="3688143968" sldId="1857"/>
        </pc:sldMkLst>
        <pc:spChg chg="mod">
          <ac:chgData name="Soleil Yi" userId="c719b956-004a-4243-81dc-14be649b7814" providerId="ADAL" clId="{50DC4EE2-8FC0-47D5-B5D6-C6C1D4ED5A25}" dt="2022-09-13T07:08:09.637" v="3369" actId="947"/>
          <ac:spMkLst>
            <pc:docMk/>
            <pc:sldMk cId="3688143968" sldId="1857"/>
            <ac:spMk id="2" creationId="{ACBCCE63-2539-4996-9440-BAA1122C8090}"/>
          </ac:spMkLst>
        </pc:spChg>
        <pc:spChg chg="mod">
          <ac:chgData name="Soleil Yi" userId="c719b956-004a-4243-81dc-14be649b7814" providerId="ADAL" clId="{50DC4EE2-8FC0-47D5-B5D6-C6C1D4ED5A25}" dt="2022-09-13T07:08:09.677" v="3380" actId="947"/>
          <ac:spMkLst>
            <pc:docMk/>
            <pc:sldMk cId="3688143968" sldId="1857"/>
            <ac:spMk id="3" creationId="{969565D6-3AAF-4415-BC01-A66598F34F26}"/>
          </ac:spMkLst>
        </pc:spChg>
        <pc:spChg chg="mod">
          <ac:chgData name="Soleil Yi" userId="c719b956-004a-4243-81dc-14be649b7814" providerId="ADAL" clId="{50DC4EE2-8FC0-47D5-B5D6-C6C1D4ED5A25}" dt="2022-09-13T07:08:09.679" v="3381" actId="947"/>
          <ac:spMkLst>
            <pc:docMk/>
            <pc:sldMk cId="3688143968" sldId="1857"/>
            <ac:spMk id="4" creationId="{CBDC9A6E-2BBC-4ED3-899C-327F7B6899CC}"/>
          </ac:spMkLst>
        </pc:spChg>
        <pc:spChg chg="mod">
          <ac:chgData name="Soleil Yi" userId="c719b956-004a-4243-81dc-14be649b7814" providerId="ADAL" clId="{50DC4EE2-8FC0-47D5-B5D6-C6C1D4ED5A25}" dt="2022-09-13T07:08:10.067" v="3485"/>
          <ac:spMkLst>
            <pc:docMk/>
            <pc:sldMk cId="3688143968" sldId="1857"/>
            <ac:spMk id="9" creationId="{B288BD80-4047-490E-BF4A-5048A1F64D6A}"/>
          </ac:spMkLst>
        </pc:spChg>
        <pc:spChg chg="mod">
          <ac:chgData name="Soleil Yi" userId="c719b956-004a-4243-81dc-14be649b7814" providerId="ADAL" clId="{50DC4EE2-8FC0-47D5-B5D6-C6C1D4ED5A25}" dt="2022-09-13T07:08:10.080" v="3489"/>
          <ac:spMkLst>
            <pc:docMk/>
            <pc:sldMk cId="3688143968" sldId="1857"/>
            <ac:spMk id="10" creationId="{9179528A-0E5D-4D5C-9919-F24E55593CFE}"/>
          </ac:spMkLst>
        </pc:spChg>
        <pc:spChg chg="mod">
          <ac:chgData name="Soleil Yi" userId="c719b956-004a-4243-81dc-14be649b7814" providerId="ADAL" clId="{50DC4EE2-8FC0-47D5-B5D6-C6C1D4ED5A25}" dt="2022-09-13T07:08:10.033" v="3477"/>
          <ac:spMkLst>
            <pc:docMk/>
            <pc:sldMk cId="3688143968" sldId="1857"/>
            <ac:spMk id="16" creationId="{C3DE38F1-0BCA-4C54-AE6A-BBEBAE9594FE}"/>
          </ac:spMkLst>
        </pc:spChg>
        <pc:spChg chg="mod">
          <ac:chgData name="Soleil Yi" userId="c719b956-004a-4243-81dc-14be649b7814" providerId="ADAL" clId="{50DC4EE2-8FC0-47D5-B5D6-C6C1D4ED5A25}" dt="2022-09-13T07:08:10.047" v="3481"/>
          <ac:spMkLst>
            <pc:docMk/>
            <pc:sldMk cId="3688143968" sldId="1857"/>
            <ac:spMk id="17" creationId="{A7D7529A-F87D-4FF4-B8F6-A0CD832F4AA2}"/>
          </ac:spMkLst>
        </pc:spChg>
        <pc:spChg chg="mod">
          <ac:chgData name="Soleil Yi" userId="c719b956-004a-4243-81dc-14be649b7814" providerId="ADAL" clId="{50DC4EE2-8FC0-47D5-B5D6-C6C1D4ED5A25}" dt="2022-09-13T07:08:10.001" v="3469"/>
          <ac:spMkLst>
            <pc:docMk/>
            <pc:sldMk cId="3688143968" sldId="1857"/>
            <ac:spMk id="18" creationId="{4C76B601-FCE5-4992-8820-0245CF0F02B7}"/>
          </ac:spMkLst>
        </pc:spChg>
        <pc:spChg chg="mod">
          <ac:chgData name="Soleil Yi" userId="c719b956-004a-4243-81dc-14be649b7814" providerId="ADAL" clId="{50DC4EE2-8FC0-47D5-B5D6-C6C1D4ED5A25}" dt="2022-09-13T07:08:10.018" v="3473"/>
          <ac:spMkLst>
            <pc:docMk/>
            <pc:sldMk cId="3688143968" sldId="1857"/>
            <ac:spMk id="19" creationId="{1CA393E1-4DF6-4F67-B90C-03FC91844410}"/>
          </ac:spMkLst>
        </pc:spChg>
        <pc:spChg chg="mod">
          <ac:chgData name="Soleil Yi" userId="c719b956-004a-4243-81dc-14be649b7814" providerId="ADAL" clId="{50DC4EE2-8FC0-47D5-B5D6-C6C1D4ED5A25}" dt="2022-09-13T07:08:09.974" v="3461"/>
          <ac:spMkLst>
            <pc:docMk/>
            <pc:sldMk cId="3688143968" sldId="1857"/>
            <ac:spMk id="20" creationId="{F892C470-31BB-4794-96B6-EBC3C11A6237}"/>
          </ac:spMkLst>
        </pc:spChg>
        <pc:spChg chg="mod">
          <ac:chgData name="Soleil Yi" userId="c719b956-004a-4243-81dc-14be649b7814" providerId="ADAL" clId="{50DC4EE2-8FC0-47D5-B5D6-C6C1D4ED5A25}" dt="2022-09-13T07:08:09.988" v="3465"/>
          <ac:spMkLst>
            <pc:docMk/>
            <pc:sldMk cId="3688143968" sldId="1857"/>
            <ac:spMk id="21" creationId="{3865AF53-1905-453F-A1A4-D87655EB45C7}"/>
          </ac:spMkLst>
        </pc:spChg>
        <pc:spChg chg="mod">
          <ac:chgData name="Soleil Yi" userId="c719b956-004a-4243-81dc-14be649b7814" providerId="ADAL" clId="{50DC4EE2-8FC0-47D5-B5D6-C6C1D4ED5A25}" dt="2022-09-13T07:08:09.670" v="3377" actId="947"/>
          <ac:spMkLst>
            <pc:docMk/>
            <pc:sldMk cId="3688143968" sldId="1857"/>
            <ac:spMk id="22" creationId="{AFA27067-F9C1-401C-AC3F-6EDFC2645C9B}"/>
          </ac:spMkLst>
        </pc:spChg>
        <pc:spChg chg="mod">
          <ac:chgData name="Soleil Yi" userId="c719b956-004a-4243-81dc-14be649b7814" providerId="ADAL" clId="{50DC4EE2-8FC0-47D5-B5D6-C6C1D4ED5A25}" dt="2022-09-13T07:08:09.690" v="3385" actId="947"/>
          <ac:spMkLst>
            <pc:docMk/>
            <pc:sldMk cId="3688143968" sldId="1857"/>
            <ac:spMk id="23" creationId="{6A752D70-FC12-443A-BFDD-F5FF675DB5B0}"/>
          </ac:spMkLst>
        </pc:spChg>
        <pc:spChg chg="mod">
          <ac:chgData name="Soleil Yi" userId="c719b956-004a-4243-81dc-14be649b7814" providerId="ADAL" clId="{50DC4EE2-8FC0-47D5-B5D6-C6C1D4ED5A25}" dt="2022-09-13T07:08:09.704" v="3389" actId="947"/>
          <ac:spMkLst>
            <pc:docMk/>
            <pc:sldMk cId="3688143968" sldId="1857"/>
            <ac:spMk id="24" creationId="{7A6FAB5A-2C76-4FFB-B831-AD67E1BCE8C6}"/>
          </ac:spMkLst>
        </pc:spChg>
        <pc:spChg chg="mod">
          <ac:chgData name="Soleil Yi" userId="c719b956-004a-4243-81dc-14be649b7814" providerId="ADAL" clId="{50DC4EE2-8FC0-47D5-B5D6-C6C1D4ED5A25}" dt="2022-09-13T07:08:09.720" v="3393" actId="947"/>
          <ac:spMkLst>
            <pc:docMk/>
            <pc:sldMk cId="3688143968" sldId="1857"/>
            <ac:spMk id="25" creationId="{7B606BC5-692E-4DD1-BC0D-2DC47453841D}"/>
          </ac:spMkLst>
        </pc:spChg>
        <pc:spChg chg="mod">
          <ac:chgData name="Soleil Yi" userId="c719b956-004a-4243-81dc-14be649b7814" providerId="ADAL" clId="{50DC4EE2-8FC0-47D5-B5D6-C6C1D4ED5A25}" dt="2022-09-13T07:08:09.743" v="3397" actId="947"/>
          <ac:spMkLst>
            <pc:docMk/>
            <pc:sldMk cId="3688143968" sldId="1857"/>
            <ac:spMk id="26" creationId="{F668AC1B-A26D-4F33-A559-3AAFABA67E08}"/>
          </ac:spMkLst>
        </pc:spChg>
        <pc:spChg chg="mod">
          <ac:chgData name="Soleil Yi" userId="c719b956-004a-4243-81dc-14be649b7814" providerId="ADAL" clId="{50DC4EE2-8FC0-47D5-B5D6-C6C1D4ED5A25}" dt="2022-09-13T07:08:09.757" v="3401" actId="947"/>
          <ac:spMkLst>
            <pc:docMk/>
            <pc:sldMk cId="3688143968" sldId="1857"/>
            <ac:spMk id="27" creationId="{A748923F-7CA8-4A11-A98C-534BC8FE42ED}"/>
          </ac:spMkLst>
        </pc:spChg>
        <pc:spChg chg="mod">
          <ac:chgData name="Soleil Yi" userId="c719b956-004a-4243-81dc-14be649b7814" providerId="ADAL" clId="{50DC4EE2-8FC0-47D5-B5D6-C6C1D4ED5A25}" dt="2022-09-13T07:08:09.772" v="3405" actId="947"/>
          <ac:spMkLst>
            <pc:docMk/>
            <pc:sldMk cId="3688143968" sldId="1857"/>
            <ac:spMk id="28" creationId="{D1DDF084-1DF2-45C2-A7E9-4040940BC40E}"/>
          </ac:spMkLst>
        </pc:spChg>
        <pc:spChg chg="mod">
          <ac:chgData name="Soleil Yi" userId="c719b956-004a-4243-81dc-14be649b7814" providerId="ADAL" clId="{50DC4EE2-8FC0-47D5-B5D6-C6C1D4ED5A25}" dt="2022-09-13T07:08:09.786" v="3409" actId="947"/>
          <ac:spMkLst>
            <pc:docMk/>
            <pc:sldMk cId="3688143968" sldId="1857"/>
            <ac:spMk id="29" creationId="{C28E494F-07BF-430B-BBD4-E02AAABF0370}"/>
          </ac:spMkLst>
        </pc:spChg>
        <pc:spChg chg="mod">
          <ac:chgData name="Soleil Yi" userId="c719b956-004a-4243-81dc-14be649b7814" providerId="ADAL" clId="{50DC4EE2-8FC0-47D5-B5D6-C6C1D4ED5A25}" dt="2022-09-13T07:08:09.801" v="3413" actId="947"/>
          <ac:spMkLst>
            <pc:docMk/>
            <pc:sldMk cId="3688143968" sldId="1857"/>
            <ac:spMk id="30" creationId="{B9F37A6B-F65B-48A4-B1E9-3D4B54BE4246}"/>
          </ac:spMkLst>
        </pc:spChg>
        <pc:spChg chg="mod">
          <ac:chgData name="Soleil Yi" userId="c719b956-004a-4243-81dc-14be649b7814" providerId="ADAL" clId="{50DC4EE2-8FC0-47D5-B5D6-C6C1D4ED5A25}" dt="2022-09-13T07:08:09.815" v="3417" actId="947"/>
          <ac:spMkLst>
            <pc:docMk/>
            <pc:sldMk cId="3688143968" sldId="1857"/>
            <ac:spMk id="31" creationId="{6EBEFB78-D285-4F8F-B386-8858C0CC6425}"/>
          </ac:spMkLst>
        </pc:spChg>
        <pc:spChg chg="mod">
          <ac:chgData name="Soleil Yi" userId="c719b956-004a-4243-81dc-14be649b7814" providerId="ADAL" clId="{50DC4EE2-8FC0-47D5-B5D6-C6C1D4ED5A25}" dt="2022-09-13T07:08:09.829" v="3421" actId="947"/>
          <ac:spMkLst>
            <pc:docMk/>
            <pc:sldMk cId="3688143968" sldId="1857"/>
            <ac:spMk id="32" creationId="{9AC1FF6B-FE58-4E7D-A9EE-2FAE1645023A}"/>
          </ac:spMkLst>
        </pc:spChg>
        <pc:spChg chg="mod">
          <ac:chgData name="Soleil Yi" userId="c719b956-004a-4243-81dc-14be649b7814" providerId="ADAL" clId="{50DC4EE2-8FC0-47D5-B5D6-C6C1D4ED5A25}" dt="2022-09-13T07:08:09.845" v="3425" actId="947"/>
          <ac:spMkLst>
            <pc:docMk/>
            <pc:sldMk cId="3688143968" sldId="1857"/>
            <ac:spMk id="33" creationId="{468F453F-6658-432E-A46A-B29330A15F73}"/>
          </ac:spMkLst>
        </pc:spChg>
        <pc:spChg chg="mod">
          <ac:chgData name="Soleil Yi" userId="c719b956-004a-4243-81dc-14be649b7814" providerId="ADAL" clId="{50DC4EE2-8FC0-47D5-B5D6-C6C1D4ED5A25}" dt="2022-09-13T07:08:09.860" v="3429" actId="947"/>
          <ac:spMkLst>
            <pc:docMk/>
            <pc:sldMk cId="3688143968" sldId="1857"/>
            <ac:spMk id="34" creationId="{7E4FA6A4-AFDF-4B69-81D0-5BE7714E64D1}"/>
          </ac:spMkLst>
        </pc:spChg>
        <pc:spChg chg="mod">
          <ac:chgData name="Soleil Yi" userId="c719b956-004a-4243-81dc-14be649b7814" providerId="ADAL" clId="{50DC4EE2-8FC0-47D5-B5D6-C6C1D4ED5A25}" dt="2022-09-13T07:08:09.874" v="3433" actId="947"/>
          <ac:spMkLst>
            <pc:docMk/>
            <pc:sldMk cId="3688143968" sldId="1857"/>
            <ac:spMk id="35" creationId="{59FA8FDA-C433-4750-8999-A0BE5FBC2558}"/>
          </ac:spMkLst>
        </pc:spChg>
        <pc:spChg chg="mod">
          <ac:chgData name="Soleil Yi" userId="c719b956-004a-4243-81dc-14be649b7814" providerId="ADAL" clId="{50DC4EE2-8FC0-47D5-B5D6-C6C1D4ED5A25}" dt="2022-09-13T07:08:09.888" v="3437" actId="947"/>
          <ac:spMkLst>
            <pc:docMk/>
            <pc:sldMk cId="3688143968" sldId="1857"/>
            <ac:spMk id="36" creationId="{67366D5F-43C8-4DE2-AB83-288E78DC05CA}"/>
          </ac:spMkLst>
        </pc:spChg>
        <pc:spChg chg="mod">
          <ac:chgData name="Soleil Yi" userId="c719b956-004a-4243-81dc-14be649b7814" providerId="ADAL" clId="{50DC4EE2-8FC0-47D5-B5D6-C6C1D4ED5A25}" dt="2022-09-13T07:08:09.903" v="3441" actId="947"/>
          <ac:spMkLst>
            <pc:docMk/>
            <pc:sldMk cId="3688143968" sldId="1857"/>
            <ac:spMk id="37" creationId="{B15359BD-0428-4FFC-A0BE-9DCD0F3D7318}"/>
          </ac:spMkLst>
        </pc:spChg>
        <pc:spChg chg="mod">
          <ac:chgData name="Soleil Yi" userId="c719b956-004a-4243-81dc-14be649b7814" providerId="ADAL" clId="{50DC4EE2-8FC0-47D5-B5D6-C6C1D4ED5A25}" dt="2022-09-13T07:08:09.917" v="3445" actId="947"/>
          <ac:spMkLst>
            <pc:docMk/>
            <pc:sldMk cId="3688143968" sldId="1857"/>
            <ac:spMk id="38" creationId="{D65D4E44-F465-44D6-9217-9AEDE10A0CCB}"/>
          </ac:spMkLst>
        </pc:spChg>
        <pc:spChg chg="mod">
          <ac:chgData name="Soleil Yi" userId="c719b956-004a-4243-81dc-14be649b7814" providerId="ADAL" clId="{50DC4EE2-8FC0-47D5-B5D6-C6C1D4ED5A25}" dt="2022-09-13T07:08:09.931" v="3449" actId="947"/>
          <ac:spMkLst>
            <pc:docMk/>
            <pc:sldMk cId="3688143968" sldId="1857"/>
            <ac:spMk id="39" creationId="{C79B3B09-F794-430F-A861-C030946F4EC8}"/>
          </ac:spMkLst>
        </pc:spChg>
        <pc:spChg chg="mod">
          <ac:chgData name="Soleil Yi" userId="c719b956-004a-4243-81dc-14be649b7814" providerId="ADAL" clId="{50DC4EE2-8FC0-47D5-B5D6-C6C1D4ED5A25}" dt="2022-09-13T07:08:09.946" v="3453" actId="947"/>
          <ac:spMkLst>
            <pc:docMk/>
            <pc:sldMk cId="3688143968" sldId="1857"/>
            <ac:spMk id="40" creationId="{582BF3C1-DC19-4712-8AE0-78D0992A9F04}"/>
          </ac:spMkLst>
        </pc:spChg>
        <pc:spChg chg="mod">
          <ac:chgData name="Soleil Yi" userId="c719b956-004a-4243-81dc-14be649b7814" providerId="ADAL" clId="{50DC4EE2-8FC0-47D5-B5D6-C6C1D4ED5A25}" dt="2022-09-13T07:08:09.960" v="3457" actId="947"/>
          <ac:spMkLst>
            <pc:docMk/>
            <pc:sldMk cId="3688143968" sldId="1857"/>
            <ac:spMk id="41" creationId="{926F36EF-D69A-4171-A97C-786892917FBE}"/>
          </ac:spMkLst>
        </pc:spChg>
      </pc:sldChg>
      <pc:sldChg chg="modSp mod">
        <pc:chgData name="Soleil Yi" userId="c719b956-004a-4243-81dc-14be649b7814" providerId="ADAL" clId="{50DC4EE2-8FC0-47D5-B5D6-C6C1D4ED5A25}" dt="2022-09-13T07:08:10.611" v="3613"/>
        <pc:sldMkLst>
          <pc:docMk/>
          <pc:sldMk cId="1339242824" sldId="1860"/>
        </pc:sldMkLst>
        <pc:spChg chg="mod">
          <ac:chgData name="Soleil Yi" userId="c719b956-004a-4243-81dc-14be649b7814" providerId="ADAL" clId="{50DC4EE2-8FC0-47D5-B5D6-C6C1D4ED5A25}" dt="2022-09-13T07:08:10.195" v="3505" actId="947"/>
          <ac:spMkLst>
            <pc:docMk/>
            <pc:sldMk cId="1339242824" sldId="1860"/>
            <ac:spMk id="2" creationId="{BF30D1B4-01A2-40B7-936E-CBC4ED224D0C}"/>
          </ac:spMkLst>
        </pc:spChg>
        <pc:spChg chg="mod">
          <ac:chgData name="Soleil Yi" userId="c719b956-004a-4243-81dc-14be649b7814" providerId="ADAL" clId="{50DC4EE2-8FC0-47D5-B5D6-C6C1D4ED5A25}" dt="2022-09-13T07:08:10.236" v="3516" actId="947"/>
          <ac:spMkLst>
            <pc:docMk/>
            <pc:sldMk cId="1339242824" sldId="1860"/>
            <ac:spMk id="3" creationId="{6B64C631-51D5-4DA8-A43F-AD203CD2E317}"/>
          </ac:spMkLst>
        </pc:spChg>
        <pc:spChg chg="mod">
          <ac:chgData name="Soleil Yi" userId="c719b956-004a-4243-81dc-14be649b7814" providerId="ADAL" clId="{50DC4EE2-8FC0-47D5-B5D6-C6C1D4ED5A25}" dt="2022-09-13T07:08:10.238" v="3517" actId="947"/>
          <ac:spMkLst>
            <pc:docMk/>
            <pc:sldMk cId="1339242824" sldId="1860"/>
            <ac:spMk id="4" creationId="{546AD143-11BC-4BD3-9280-4EBDD8C7052C}"/>
          </ac:spMkLst>
        </pc:spChg>
        <pc:spChg chg="mod">
          <ac:chgData name="Soleil Yi" userId="c719b956-004a-4243-81dc-14be649b7814" providerId="ADAL" clId="{50DC4EE2-8FC0-47D5-B5D6-C6C1D4ED5A25}" dt="2022-09-13T07:08:10.597" v="3609"/>
          <ac:spMkLst>
            <pc:docMk/>
            <pc:sldMk cId="1339242824" sldId="1860"/>
            <ac:spMk id="13" creationId="{BD376426-6973-4790-8ECB-1193F79D6E01}"/>
          </ac:spMkLst>
        </pc:spChg>
        <pc:spChg chg="mod">
          <ac:chgData name="Soleil Yi" userId="c719b956-004a-4243-81dc-14be649b7814" providerId="ADAL" clId="{50DC4EE2-8FC0-47D5-B5D6-C6C1D4ED5A25}" dt="2022-09-13T07:08:10.611" v="3613"/>
          <ac:spMkLst>
            <pc:docMk/>
            <pc:sldMk cId="1339242824" sldId="1860"/>
            <ac:spMk id="14" creationId="{A755BFDC-F8E0-4D66-81B9-4DDAB11FE4BD}"/>
          </ac:spMkLst>
        </pc:spChg>
        <pc:spChg chg="mod">
          <ac:chgData name="Soleil Yi" userId="c719b956-004a-4243-81dc-14be649b7814" providerId="ADAL" clId="{50DC4EE2-8FC0-47D5-B5D6-C6C1D4ED5A25}" dt="2022-09-13T07:08:10.566" v="3601"/>
          <ac:spMkLst>
            <pc:docMk/>
            <pc:sldMk cId="1339242824" sldId="1860"/>
            <ac:spMk id="16" creationId="{8D41E979-4293-4CCE-8945-BA1D58271A95}"/>
          </ac:spMkLst>
        </pc:spChg>
        <pc:spChg chg="mod">
          <ac:chgData name="Soleil Yi" userId="c719b956-004a-4243-81dc-14be649b7814" providerId="ADAL" clId="{50DC4EE2-8FC0-47D5-B5D6-C6C1D4ED5A25}" dt="2022-09-13T07:08:10.581" v="3605"/>
          <ac:spMkLst>
            <pc:docMk/>
            <pc:sldMk cId="1339242824" sldId="1860"/>
            <ac:spMk id="17" creationId="{97906B9E-3CE9-465C-A3A5-B041FAAE1CAB}"/>
          </ac:spMkLst>
        </pc:spChg>
        <pc:spChg chg="mod">
          <ac:chgData name="Soleil Yi" userId="c719b956-004a-4243-81dc-14be649b7814" providerId="ADAL" clId="{50DC4EE2-8FC0-47D5-B5D6-C6C1D4ED5A25}" dt="2022-09-13T07:08:10.536" v="3593"/>
          <ac:spMkLst>
            <pc:docMk/>
            <pc:sldMk cId="1339242824" sldId="1860"/>
            <ac:spMk id="19" creationId="{BC686285-5B6B-4D90-8B1A-0F31FA5E2A25}"/>
          </ac:spMkLst>
        </pc:spChg>
        <pc:spChg chg="mod">
          <ac:chgData name="Soleil Yi" userId="c719b956-004a-4243-81dc-14be649b7814" providerId="ADAL" clId="{50DC4EE2-8FC0-47D5-B5D6-C6C1D4ED5A25}" dt="2022-09-13T07:08:10.550" v="3597"/>
          <ac:spMkLst>
            <pc:docMk/>
            <pc:sldMk cId="1339242824" sldId="1860"/>
            <ac:spMk id="20" creationId="{A51FBE9B-CFBF-43D9-9AED-FAB7DC54FB6C}"/>
          </ac:spMkLst>
        </pc:spChg>
        <pc:spChg chg="mod">
          <ac:chgData name="Soleil Yi" userId="c719b956-004a-4243-81dc-14be649b7814" providerId="ADAL" clId="{50DC4EE2-8FC0-47D5-B5D6-C6C1D4ED5A25}" dt="2022-09-13T07:08:10.508" v="3585"/>
          <ac:spMkLst>
            <pc:docMk/>
            <pc:sldMk cId="1339242824" sldId="1860"/>
            <ac:spMk id="22" creationId="{B6722BC0-1C26-477E-8ECC-485FB25DB769}"/>
          </ac:spMkLst>
        </pc:spChg>
        <pc:spChg chg="mod">
          <ac:chgData name="Soleil Yi" userId="c719b956-004a-4243-81dc-14be649b7814" providerId="ADAL" clId="{50DC4EE2-8FC0-47D5-B5D6-C6C1D4ED5A25}" dt="2022-09-13T07:08:10.521" v="3589"/>
          <ac:spMkLst>
            <pc:docMk/>
            <pc:sldMk cId="1339242824" sldId="1860"/>
            <ac:spMk id="23" creationId="{8B91F7DE-8D16-4413-A92C-115DDD43721E}"/>
          </ac:spMkLst>
        </pc:spChg>
        <pc:spChg chg="mod">
          <ac:chgData name="Soleil Yi" userId="c719b956-004a-4243-81dc-14be649b7814" providerId="ADAL" clId="{50DC4EE2-8FC0-47D5-B5D6-C6C1D4ED5A25}" dt="2022-09-13T07:08:10.472" v="3577"/>
          <ac:spMkLst>
            <pc:docMk/>
            <pc:sldMk cId="1339242824" sldId="1860"/>
            <ac:spMk id="25" creationId="{4B341A6A-EBB1-4F2D-9549-D199EED5E272}"/>
          </ac:spMkLst>
        </pc:spChg>
        <pc:spChg chg="mod">
          <ac:chgData name="Soleil Yi" userId="c719b956-004a-4243-81dc-14be649b7814" providerId="ADAL" clId="{50DC4EE2-8FC0-47D5-B5D6-C6C1D4ED5A25}" dt="2022-09-13T07:08:10.489" v="3581"/>
          <ac:spMkLst>
            <pc:docMk/>
            <pc:sldMk cId="1339242824" sldId="1860"/>
            <ac:spMk id="26" creationId="{D0FDC823-9159-440F-AE1E-F84BA6918D65}"/>
          </ac:spMkLst>
        </pc:spChg>
        <pc:spChg chg="mod">
          <ac:chgData name="Soleil Yi" userId="c719b956-004a-4243-81dc-14be649b7814" providerId="ADAL" clId="{50DC4EE2-8FC0-47D5-B5D6-C6C1D4ED5A25}" dt="2022-09-13T07:08:10.442" v="3569"/>
          <ac:spMkLst>
            <pc:docMk/>
            <pc:sldMk cId="1339242824" sldId="1860"/>
            <ac:spMk id="28" creationId="{70790FB6-FDA8-4E31-B131-6DB4BFC8CB4C}"/>
          </ac:spMkLst>
        </pc:spChg>
        <pc:spChg chg="mod">
          <ac:chgData name="Soleil Yi" userId="c719b956-004a-4243-81dc-14be649b7814" providerId="ADAL" clId="{50DC4EE2-8FC0-47D5-B5D6-C6C1D4ED5A25}" dt="2022-09-13T07:08:10.456" v="3573"/>
          <ac:spMkLst>
            <pc:docMk/>
            <pc:sldMk cId="1339242824" sldId="1860"/>
            <ac:spMk id="29" creationId="{CCF1B446-1D72-4B0C-9D8B-B70F2A396FF0}"/>
          </ac:spMkLst>
        </pc:spChg>
        <pc:spChg chg="mod">
          <ac:chgData name="Soleil Yi" userId="c719b956-004a-4243-81dc-14be649b7814" providerId="ADAL" clId="{50DC4EE2-8FC0-47D5-B5D6-C6C1D4ED5A25}" dt="2022-09-13T07:08:10.229" v="3513" actId="947"/>
          <ac:spMkLst>
            <pc:docMk/>
            <pc:sldMk cId="1339242824" sldId="1860"/>
            <ac:spMk id="31" creationId="{FF775E5F-EF31-41DF-8CC4-52902DE4C8E1}"/>
          </ac:spMkLst>
        </pc:spChg>
        <pc:spChg chg="mod">
          <ac:chgData name="Soleil Yi" userId="c719b956-004a-4243-81dc-14be649b7814" providerId="ADAL" clId="{50DC4EE2-8FC0-47D5-B5D6-C6C1D4ED5A25}" dt="2022-09-13T07:08:10.252" v="3521" actId="947"/>
          <ac:spMkLst>
            <pc:docMk/>
            <pc:sldMk cId="1339242824" sldId="1860"/>
            <ac:spMk id="32" creationId="{6A08B46E-1747-4221-9F28-622D42D08C03}"/>
          </ac:spMkLst>
        </pc:spChg>
        <pc:spChg chg="mod">
          <ac:chgData name="Soleil Yi" userId="c719b956-004a-4243-81dc-14be649b7814" providerId="ADAL" clId="{50DC4EE2-8FC0-47D5-B5D6-C6C1D4ED5A25}" dt="2022-09-13T07:08:10.272" v="3525" actId="947"/>
          <ac:spMkLst>
            <pc:docMk/>
            <pc:sldMk cId="1339242824" sldId="1860"/>
            <ac:spMk id="33" creationId="{64E396AE-FD09-454E-9D10-171207DF79F5}"/>
          </ac:spMkLst>
        </pc:spChg>
        <pc:spChg chg="mod">
          <ac:chgData name="Soleil Yi" userId="c719b956-004a-4243-81dc-14be649b7814" providerId="ADAL" clId="{50DC4EE2-8FC0-47D5-B5D6-C6C1D4ED5A25}" dt="2022-09-13T07:08:10.288" v="3529" actId="947"/>
          <ac:spMkLst>
            <pc:docMk/>
            <pc:sldMk cId="1339242824" sldId="1860"/>
            <ac:spMk id="34" creationId="{9A23EAA5-9EF4-43AF-839B-1781AD823019}"/>
          </ac:spMkLst>
        </pc:spChg>
        <pc:spChg chg="mod">
          <ac:chgData name="Soleil Yi" userId="c719b956-004a-4243-81dc-14be649b7814" providerId="ADAL" clId="{50DC4EE2-8FC0-47D5-B5D6-C6C1D4ED5A25}" dt="2022-09-13T07:08:10.305" v="3533" actId="947"/>
          <ac:spMkLst>
            <pc:docMk/>
            <pc:sldMk cId="1339242824" sldId="1860"/>
            <ac:spMk id="35" creationId="{BEAB5E8C-7587-46D3-9E82-75CCCA18EB67}"/>
          </ac:spMkLst>
        </pc:spChg>
        <pc:spChg chg="mod">
          <ac:chgData name="Soleil Yi" userId="c719b956-004a-4243-81dc-14be649b7814" providerId="ADAL" clId="{50DC4EE2-8FC0-47D5-B5D6-C6C1D4ED5A25}" dt="2022-09-13T07:08:10.321" v="3537" actId="947"/>
          <ac:spMkLst>
            <pc:docMk/>
            <pc:sldMk cId="1339242824" sldId="1860"/>
            <ac:spMk id="36" creationId="{D315E687-EB3B-41F4-8005-EF2F369B8187}"/>
          </ac:spMkLst>
        </pc:spChg>
        <pc:spChg chg="mod">
          <ac:chgData name="Soleil Yi" userId="c719b956-004a-4243-81dc-14be649b7814" providerId="ADAL" clId="{50DC4EE2-8FC0-47D5-B5D6-C6C1D4ED5A25}" dt="2022-09-13T07:08:10.336" v="3541" actId="947"/>
          <ac:spMkLst>
            <pc:docMk/>
            <pc:sldMk cId="1339242824" sldId="1860"/>
            <ac:spMk id="37" creationId="{C22D9DEE-301A-499C-B2CF-6A87CE1FE3D7}"/>
          </ac:spMkLst>
        </pc:spChg>
        <pc:spChg chg="mod">
          <ac:chgData name="Soleil Yi" userId="c719b956-004a-4243-81dc-14be649b7814" providerId="ADAL" clId="{50DC4EE2-8FC0-47D5-B5D6-C6C1D4ED5A25}" dt="2022-09-13T07:08:10.353" v="3545" actId="947"/>
          <ac:spMkLst>
            <pc:docMk/>
            <pc:sldMk cId="1339242824" sldId="1860"/>
            <ac:spMk id="38" creationId="{E9C35B7C-90AB-455F-8CAF-4E63EED86560}"/>
          </ac:spMkLst>
        </pc:spChg>
        <pc:spChg chg="mod">
          <ac:chgData name="Soleil Yi" userId="c719b956-004a-4243-81dc-14be649b7814" providerId="ADAL" clId="{50DC4EE2-8FC0-47D5-B5D6-C6C1D4ED5A25}" dt="2022-09-13T07:08:10.369" v="3549" actId="947"/>
          <ac:spMkLst>
            <pc:docMk/>
            <pc:sldMk cId="1339242824" sldId="1860"/>
            <ac:spMk id="39" creationId="{6049A862-481B-4375-A603-5BC4EDCE23D6}"/>
          </ac:spMkLst>
        </pc:spChg>
        <pc:spChg chg="mod">
          <ac:chgData name="Soleil Yi" userId="c719b956-004a-4243-81dc-14be649b7814" providerId="ADAL" clId="{50DC4EE2-8FC0-47D5-B5D6-C6C1D4ED5A25}" dt="2022-09-13T07:08:10.384" v="3553" actId="947"/>
          <ac:spMkLst>
            <pc:docMk/>
            <pc:sldMk cId="1339242824" sldId="1860"/>
            <ac:spMk id="40" creationId="{4E8CE282-7B67-46AB-AE0D-EAEC435216A5}"/>
          </ac:spMkLst>
        </pc:spChg>
        <pc:spChg chg="mod">
          <ac:chgData name="Soleil Yi" userId="c719b956-004a-4243-81dc-14be649b7814" providerId="ADAL" clId="{50DC4EE2-8FC0-47D5-B5D6-C6C1D4ED5A25}" dt="2022-09-13T07:08:10.398" v="3557" actId="947"/>
          <ac:spMkLst>
            <pc:docMk/>
            <pc:sldMk cId="1339242824" sldId="1860"/>
            <ac:spMk id="41" creationId="{01318F1A-65B5-4778-A6BD-950877AA7F7D}"/>
          </ac:spMkLst>
        </pc:spChg>
        <pc:spChg chg="mod">
          <ac:chgData name="Soleil Yi" userId="c719b956-004a-4243-81dc-14be649b7814" providerId="ADAL" clId="{50DC4EE2-8FC0-47D5-B5D6-C6C1D4ED5A25}" dt="2022-09-13T07:08:10.413" v="3561" actId="947"/>
          <ac:spMkLst>
            <pc:docMk/>
            <pc:sldMk cId="1339242824" sldId="1860"/>
            <ac:spMk id="42" creationId="{04350A0C-6B5B-4B49-BD18-7A2E2B2D6B4E}"/>
          </ac:spMkLst>
        </pc:spChg>
        <pc:spChg chg="mod">
          <ac:chgData name="Soleil Yi" userId="c719b956-004a-4243-81dc-14be649b7814" providerId="ADAL" clId="{50DC4EE2-8FC0-47D5-B5D6-C6C1D4ED5A25}" dt="2022-09-13T07:08:10.428" v="3565" actId="947"/>
          <ac:spMkLst>
            <pc:docMk/>
            <pc:sldMk cId="1339242824" sldId="1860"/>
            <ac:spMk id="43" creationId="{14345B0E-1225-4942-B5D5-4AF54C28C409}"/>
          </ac:spMkLst>
        </pc:spChg>
      </pc:sldChg>
      <pc:sldChg chg="modSp mod">
        <pc:chgData name="Soleil Yi" userId="c719b956-004a-4243-81dc-14be649b7814" providerId="ADAL" clId="{50DC4EE2-8FC0-47D5-B5D6-C6C1D4ED5A25}" dt="2022-09-13T07:08:09.579" v="3365" actId="947"/>
        <pc:sldMkLst>
          <pc:docMk/>
          <pc:sldMk cId="399909942" sldId="1861"/>
        </pc:sldMkLst>
        <pc:spChg chg="mod">
          <ac:chgData name="Soleil Yi" userId="c719b956-004a-4243-81dc-14be649b7814" providerId="ADAL" clId="{50DC4EE2-8FC0-47D5-B5D6-C6C1D4ED5A25}" dt="2022-09-13T07:08:07.204" v="2793" actId="947"/>
          <ac:spMkLst>
            <pc:docMk/>
            <pc:sldMk cId="399909942" sldId="1861"/>
            <ac:spMk id="2" creationId="{A406B9CE-C5D0-4AF6-AC0B-9764738D0566}"/>
          </ac:spMkLst>
        </pc:spChg>
        <pc:spChg chg="mod">
          <ac:chgData name="Soleil Yi" userId="c719b956-004a-4243-81dc-14be649b7814" providerId="ADAL" clId="{50DC4EE2-8FC0-47D5-B5D6-C6C1D4ED5A25}" dt="2022-09-13T07:08:07.246" v="2805" actId="947"/>
          <ac:spMkLst>
            <pc:docMk/>
            <pc:sldMk cId="399909942" sldId="1861"/>
            <ac:spMk id="3" creationId="{96277968-EF53-4376-B782-7A0E88FCA7E4}"/>
          </ac:spMkLst>
        </pc:spChg>
        <pc:spChg chg="mod">
          <ac:chgData name="Soleil Yi" userId="c719b956-004a-4243-81dc-14be649b7814" providerId="ADAL" clId="{50DC4EE2-8FC0-47D5-B5D6-C6C1D4ED5A25}" dt="2022-09-13T07:08:07.244" v="2804" actId="947"/>
          <ac:spMkLst>
            <pc:docMk/>
            <pc:sldMk cId="399909942" sldId="1861"/>
            <ac:spMk id="4" creationId="{614F6BD1-8E33-4284-9228-05CF07461A48}"/>
          </ac:spMkLst>
        </pc:spChg>
        <pc:spChg chg="mod">
          <ac:chgData name="Soleil Yi" userId="c719b956-004a-4243-81dc-14be649b7814" providerId="ADAL" clId="{50DC4EE2-8FC0-47D5-B5D6-C6C1D4ED5A25}" dt="2022-09-13T07:08:09.402" v="3329" actId="947"/>
          <ac:spMkLst>
            <pc:docMk/>
            <pc:sldMk cId="399909942" sldId="1861"/>
            <ac:spMk id="7" creationId="{5320F2E1-6A4E-405A-850C-618AF97D12E7}"/>
          </ac:spMkLst>
        </pc:spChg>
        <pc:spChg chg="mod">
          <ac:chgData name="Soleil Yi" userId="c719b956-004a-4243-81dc-14be649b7814" providerId="ADAL" clId="{50DC4EE2-8FC0-47D5-B5D6-C6C1D4ED5A25}" dt="2022-09-13T07:08:09.419" v="3333" actId="947"/>
          <ac:spMkLst>
            <pc:docMk/>
            <pc:sldMk cId="399909942" sldId="1861"/>
            <ac:spMk id="8" creationId="{EB531B56-B3CD-4F6C-AF75-2E1359BC86C2}"/>
          </ac:spMkLst>
        </pc:spChg>
        <pc:spChg chg="mod">
          <ac:chgData name="Soleil Yi" userId="c719b956-004a-4243-81dc-14be649b7814" providerId="ADAL" clId="{50DC4EE2-8FC0-47D5-B5D6-C6C1D4ED5A25}" dt="2022-09-13T07:08:09.437" v="3337" actId="947"/>
          <ac:spMkLst>
            <pc:docMk/>
            <pc:sldMk cId="399909942" sldId="1861"/>
            <ac:spMk id="9" creationId="{BA4485BE-DB63-437A-A54D-766E859A1FEC}"/>
          </ac:spMkLst>
        </pc:spChg>
        <pc:spChg chg="mod">
          <ac:chgData name="Soleil Yi" userId="c719b956-004a-4243-81dc-14be649b7814" providerId="ADAL" clId="{50DC4EE2-8FC0-47D5-B5D6-C6C1D4ED5A25}" dt="2022-09-13T07:08:09.459" v="3341" actId="947"/>
          <ac:spMkLst>
            <pc:docMk/>
            <pc:sldMk cId="399909942" sldId="1861"/>
            <ac:spMk id="10" creationId="{2BBB97E4-86B7-4093-8491-25355910EF05}"/>
          </ac:spMkLst>
        </pc:spChg>
        <pc:spChg chg="mod">
          <ac:chgData name="Soleil Yi" userId="c719b956-004a-4243-81dc-14be649b7814" providerId="ADAL" clId="{50DC4EE2-8FC0-47D5-B5D6-C6C1D4ED5A25}" dt="2022-09-13T07:08:09.478" v="3345" actId="947"/>
          <ac:spMkLst>
            <pc:docMk/>
            <pc:sldMk cId="399909942" sldId="1861"/>
            <ac:spMk id="11" creationId="{5E1410A7-1A5B-4E69-8B27-BA01C1BF26B6}"/>
          </ac:spMkLst>
        </pc:spChg>
        <pc:spChg chg="mod">
          <ac:chgData name="Soleil Yi" userId="c719b956-004a-4243-81dc-14be649b7814" providerId="ADAL" clId="{50DC4EE2-8FC0-47D5-B5D6-C6C1D4ED5A25}" dt="2022-09-13T07:08:09.500" v="3349" actId="947"/>
          <ac:spMkLst>
            <pc:docMk/>
            <pc:sldMk cId="399909942" sldId="1861"/>
            <ac:spMk id="12" creationId="{067A5D43-3AE7-4A50-88B3-F8BFA409815E}"/>
          </ac:spMkLst>
        </pc:spChg>
        <pc:spChg chg="mod">
          <ac:chgData name="Soleil Yi" userId="c719b956-004a-4243-81dc-14be649b7814" providerId="ADAL" clId="{50DC4EE2-8FC0-47D5-B5D6-C6C1D4ED5A25}" dt="2022-09-13T07:08:09.518" v="3353" actId="947"/>
          <ac:spMkLst>
            <pc:docMk/>
            <pc:sldMk cId="399909942" sldId="1861"/>
            <ac:spMk id="13" creationId="{24CC703E-82F0-46D0-8F9A-41774D2E905A}"/>
          </ac:spMkLst>
        </pc:spChg>
        <pc:spChg chg="mod">
          <ac:chgData name="Soleil Yi" userId="c719b956-004a-4243-81dc-14be649b7814" providerId="ADAL" clId="{50DC4EE2-8FC0-47D5-B5D6-C6C1D4ED5A25}" dt="2022-09-13T07:08:09.535" v="3357" actId="947"/>
          <ac:spMkLst>
            <pc:docMk/>
            <pc:sldMk cId="399909942" sldId="1861"/>
            <ac:spMk id="14" creationId="{D019C5C3-06A3-449F-A0E1-DD89478AB8F2}"/>
          </ac:spMkLst>
        </pc:spChg>
        <pc:spChg chg="mod">
          <ac:chgData name="Soleil Yi" userId="c719b956-004a-4243-81dc-14be649b7814" providerId="ADAL" clId="{50DC4EE2-8FC0-47D5-B5D6-C6C1D4ED5A25}" dt="2022-09-13T07:08:09.552" v="3361" actId="947"/>
          <ac:spMkLst>
            <pc:docMk/>
            <pc:sldMk cId="399909942" sldId="1861"/>
            <ac:spMk id="15" creationId="{07C4A63F-21F8-4E20-A6D4-76354819746B}"/>
          </ac:spMkLst>
        </pc:spChg>
        <pc:spChg chg="mod">
          <ac:chgData name="Soleil Yi" userId="c719b956-004a-4243-81dc-14be649b7814" providerId="ADAL" clId="{50DC4EE2-8FC0-47D5-B5D6-C6C1D4ED5A25}" dt="2022-09-13T07:08:09.579" v="3365" actId="947"/>
          <ac:spMkLst>
            <pc:docMk/>
            <pc:sldMk cId="399909942" sldId="1861"/>
            <ac:spMk id="17" creationId="{C40CDCFD-CC05-4B05-A6C8-AA9DFCFC0D8B}"/>
          </ac:spMkLst>
        </pc:spChg>
        <pc:spChg chg="mod">
          <ac:chgData name="Soleil Yi" userId="c719b956-004a-4243-81dc-14be649b7814" providerId="ADAL" clId="{50DC4EE2-8FC0-47D5-B5D6-C6C1D4ED5A25}" dt="2022-09-13T07:08:09.012" v="3237" actId="947"/>
          <ac:spMkLst>
            <pc:docMk/>
            <pc:sldMk cId="399909942" sldId="1861"/>
            <ac:spMk id="24" creationId="{46455B12-1048-4A0A-B63C-7E056AF214E4}"/>
          </ac:spMkLst>
        </pc:spChg>
        <pc:spChg chg="mod">
          <ac:chgData name="Soleil Yi" userId="c719b956-004a-4243-81dc-14be649b7814" providerId="ADAL" clId="{50DC4EE2-8FC0-47D5-B5D6-C6C1D4ED5A25}" dt="2022-09-13T07:08:09.027" v="3241" actId="947"/>
          <ac:spMkLst>
            <pc:docMk/>
            <pc:sldMk cId="399909942" sldId="1861"/>
            <ac:spMk id="25" creationId="{00C31511-81EA-4FBB-832D-A3513E758BC9}"/>
          </ac:spMkLst>
        </pc:spChg>
        <pc:spChg chg="mod">
          <ac:chgData name="Soleil Yi" userId="c719b956-004a-4243-81dc-14be649b7814" providerId="ADAL" clId="{50DC4EE2-8FC0-47D5-B5D6-C6C1D4ED5A25}" dt="2022-09-13T07:08:09.045" v="3245" actId="947"/>
          <ac:spMkLst>
            <pc:docMk/>
            <pc:sldMk cId="399909942" sldId="1861"/>
            <ac:spMk id="26" creationId="{0ADD2BB8-B1C4-4402-8BB6-D3047AE59D86}"/>
          </ac:spMkLst>
        </pc:spChg>
        <pc:spChg chg="mod">
          <ac:chgData name="Soleil Yi" userId="c719b956-004a-4243-81dc-14be649b7814" providerId="ADAL" clId="{50DC4EE2-8FC0-47D5-B5D6-C6C1D4ED5A25}" dt="2022-09-13T07:08:09.062" v="3249" actId="947"/>
          <ac:spMkLst>
            <pc:docMk/>
            <pc:sldMk cId="399909942" sldId="1861"/>
            <ac:spMk id="27" creationId="{326EFF9B-5393-4C5A-90BB-D422BFF16B5F}"/>
          </ac:spMkLst>
        </pc:spChg>
        <pc:spChg chg="mod">
          <ac:chgData name="Soleil Yi" userId="c719b956-004a-4243-81dc-14be649b7814" providerId="ADAL" clId="{50DC4EE2-8FC0-47D5-B5D6-C6C1D4ED5A25}" dt="2022-09-13T07:08:09.078" v="3253" actId="947"/>
          <ac:spMkLst>
            <pc:docMk/>
            <pc:sldMk cId="399909942" sldId="1861"/>
            <ac:spMk id="28" creationId="{6B13EF08-1D21-4F14-B1E4-D26E5A02B46C}"/>
          </ac:spMkLst>
        </pc:spChg>
        <pc:spChg chg="mod">
          <ac:chgData name="Soleil Yi" userId="c719b956-004a-4243-81dc-14be649b7814" providerId="ADAL" clId="{50DC4EE2-8FC0-47D5-B5D6-C6C1D4ED5A25}" dt="2022-09-13T07:08:09.095" v="3257" actId="947"/>
          <ac:spMkLst>
            <pc:docMk/>
            <pc:sldMk cId="399909942" sldId="1861"/>
            <ac:spMk id="29" creationId="{19620FA9-D331-4EF3-A4E5-E08F06A38337}"/>
          </ac:spMkLst>
        </pc:spChg>
        <pc:spChg chg="mod">
          <ac:chgData name="Soleil Yi" userId="c719b956-004a-4243-81dc-14be649b7814" providerId="ADAL" clId="{50DC4EE2-8FC0-47D5-B5D6-C6C1D4ED5A25}" dt="2022-09-13T07:08:09.112" v="3261" actId="947"/>
          <ac:spMkLst>
            <pc:docMk/>
            <pc:sldMk cId="399909942" sldId="1861"/>
            <ac:spMk id="30" creationId="{DFD9A0E5-EF57-47C0-89EA-838A924D60C5}"/>
          </ac:spMkLst>
        </pc:spChg>
        <pc:spChg chg="mod">
          <ac:chgData name="Soleil Yi" userId="c719b956-004a-4243-81dc-14be649b7814" providerId="ADAL" clId="{50DC4EE2-8FC0-47D5-B5D6-C6C1D4ED5A25}" dt="2022-09-13T07:08:09.127" v="3265" actId="947"/>
          <ac:spMkLst>
            <pc:docMk/>
            <pc:sldMk cId="399909942" sldId="1861"/>
            <ac:spMk id="31" creationId="{14D9F283-43B2-4A08-9AA4-6EC033C869FA}"/>
          </ac:spMkLst>
        </pc:spChg>
        <pc:spChg chg="mod">
          <ac:chgData name="Soleil Yi" userId="c719b956-004a-4243-81dc-14be649b7814" providerId="ADAL" clId="{50DC4EE2-8FC0-47D5-B5D6-C6C1D4ED5A25}" dt="2022-09-13T07:08:09.145" v="3269" actId="947"/>
          <ac:spMkLst>
            <pc:docMk/>
            <pc:sldMk cId="399909942" sldId="1861"/>
            <ac:spMk id="32" creationId="{D2A9C250-515E-4057-8670-116B378D8CE2}"/>
          </ac:spMkLst>
        </pc:spChg>
        <pc:spChg chg="mod">
          <ac:chgData name="Soleil Yi" userId="c719b956-004a-4243-81dc-14be649b7814" providerId="ADAL" clId="{50DC4EE2-8FC0-47D5-B5D6-C6C1D4ED5A25}" dt="2022-09-13T07:08:09.165" v="3273" actId="947"/>
          <ac:spMkLst>
            <pc:docMk/>
            <pc:sldMk cId="399909942" sldId="1861"/>
            <ac:spMk id="33" creationId="{74F211D7-9E36-4F84-A706-4E3525A9C6AE}"/>
          </ac:spMkLst>
        </pc:spChg>
        <pc:spChg chg="mod">
          <ac:chgData name="Soleil Yi" userId="c719b956-004a-4243-81dc-14be649b7814" providerId="ADAL" clId="{50DC4EE2-8FC0-47D5-B5D6-C6C1D4ED5A25}" dt="2022-09-13T07:08:09.182" v="3277" actId="947"/>
          <ac:spMkLst>
            <pc:docMk/>
            <pc:sldMk cId="399909942" sldId="1861"/>
            <ac:spMk id="34" creationId="{1D87D234-F9F5-476C-8379-2C4BB2633F4E}"/>
          </ac:spMkLst>
        </pc:spChg>
        <pc:spChg chg="mod">
          <ac:chgData name="Soleil Yi" userId="c719b956-004a-4243-81dc-14be649b7814" providerId="ADAL" clId="{50DC4EE2-8FC0-47D5-B5D6-C6C1D4ED5A25}" dt="2022-09-13T07:08:09.197" v="3281" actId="947"/>
          <ac:spMkLst>
            <pc:docMk/>
            <pc:sldMk cId="399909942" sldId="1861"/>
            <ac:spMk id="35" creationId="{FF350C8F-479A-48E9-AA5D-3DEEDC51729F}"/>
          </ac:spMkLst>
        </pc:spChg>
        <pc:spChg chg="mod">
          <ac:chgData name="Soleil Yi" userId="c719b956-004a-4243-81dc-14be649b7814" providerId="ADAL" clId="{50DC4EE2-8FC0-47D5-B5D6-C6C1D4ED5A25}" dt="2022-09-13T07:08:09.213" v="3285" actId="947"/>
          <ac:spMkLst>
            <pc:docMk/>
            <pc:sldMk cId="399909942" sldId="1861"/>
            <ac:spMk id="36" creationId="{5433CE50-97B2-4EF8-97AF-AA3033CB30DF}"/>
          </ac:spMkLst>
        </pc:spChg>
        <pc:spChg chg="mod">
          <ac:chgData name="Soleil Yi" userId="c719b956-004a-4243-81dc-14be649b7814" providerId="ADAL" clId="{50DC4EE2-8FC0-47D5-B5D6-C6C1D4ED5A25}" dt="2022-09-13T07:08:09.229" v="3289" actId="947"/>
          <ac:spMkLst>
            <pc:docMk/>
            <pc:sldMk cId="399909942" sldId="1861"/>
            <ac:spMk id="37" creationId="{59285A73-BF0A-40DC-86B6-BE04FA41FA58}"/>
          </ac:spMkLst>
        </pc:spChg>
        <pc:spChg chg="mod">
          <ac:chgData name="Soleil Yi" userId="c719b956-004a-4243-81dc-14be649b7814" providerId="ADAL" clId="{50DC4EE2-8FC0-47D5-B5D6-C6C1D4ED5A25}" dt="2022-09-13T07:08:09.248" v="3293" actId="947"/>
          <ac:spMkLst>
            <pc:docMk/>
            <pc:sldMk cId="399909942" sldId="1861"/>
            <ac:spMk id="38" creationId="{955F3102-9177-4B44-B8DB-0AB02CC045EE}"/>
          </ac:spMkLst>
        </pc:spChg>
        <pc:spChg chg="mod">
          <ac:chgData name="Soleil Yi" userId="c719b956-004a-4243-81dc-14be649b7814" providerId="ADAL" clId="{50DC4EE2-8FC0-47D5-B5D6-C6C1D4ED5A25}" dt="2022-09-13T07:08:09.268" v="3297" actId="947"/>
          <ac:spMkLst>
            <pc:docMk/>
            <pc:sldMk cId="399909942" sldId="1861"/>
            <ac:spMk id="39" creationId="{E35D7A00-18A0-4111-9644-A36F1917D248}"/>
          </ac:spMkLst>
        </pc:spChg>
        <pc:spChg chg="mod">
          <ac:chgData name="Soleil Yi" userId="c719b956-004a-4243-81dc-14be649b7814" providerId="ADAL" clId="{50DC4EE2-8FC0-47D5-B5D6-C6C1D4ED5A25}" dt="2022-09-13T07:08:09.284" v="3301" actId="947"/>
          <ac:spMkLst>
            <pc:docMk/>
            <pc:sldMk cId="399909942" sldId="1861"/>
            <ac:spMk id="40" creationId="{8E56B07C-102B-4ACD-9594-3B99967DAE8C}"/>
          </ac:spMkLst>
        </pc:spChg>
        <pc:spChg chg="mod">
          <ac:chgData name="Soleil Yi" userId="c719b956-004a-4243-81dc-14be649b7814" providerId="ADAL" clId="{50DC4EE2-8FC0-47D5-B5D6-C6C1D4ED5A25}" dt="2022-09-13T07:08:09.303" v="3305" actId="947"/>
          <ac:spMkLst>
            <pc:docMk/>
            <pc:sldMk cId="399909942" sldId="1861"/>
            <ac:spMk id="41" creationId="{049AF16F-E9BB-49BE-9420-7B68C847E138}"/>
          </ac:spMkLst>
        </pc:spChg>
        <pc:spChg chg="mod">
          <ac:chgData name="Soleil Yi" userId="c719b956-004a-4243-81dc-14be649b7814" providerId="ADAL" clId="{50DC4EE2-8FC0-47D5-B5D6-C6C1D4ED5A25}" dt="2022-09-13T07:08:09.320" v="3309" actId="947"/>
          <ac:spMkLst>
            <pc:docMk/>
            <pc:sldMk cId="399909942" sldId="1861"/>
            <ac:spMk id="42" creationId="{C10515A4-582A-462E-820B-63F6B2812C24}"/>
          </ac:spMkLst>
        </pc:spChg>
        <pc:spChg chg="mod">
          <ac:chgData name="Soleil Yi" userId="c719b956-004a-4243-81dc-14be649b7814" providerId="ADAL" clId="{50DC4EE2-8FC0-47D5-B5D6-C6C1D4ED5A25}" dt="2022-09-13T07:08:09.336" v="3313" actId="947"/>
          <ac:spMkLst>
            <pc:docMk/>
            <pc:sldMk cId="399909942" sldId="1861"/>
            <ac:spMk id="43" creationId="{E39BDCF3-8141-4B06-8C5E-9F88728D56BB}"/>
          </ac:spMkLst>
        </pc:spChg>
        <pc:spChg chg="mod">
          <ac:chgData name="Soleil Yi" userId="c719b956-004a-4243-81dc-14be649b7814" providerId="ADAL" clId="{50DC4EE2-8FC0-47D5-B5D6-C6C1D4ED5A25}" dt="2022-09-13T07:08:09.353" v="3317" actId="947"/>
          <ac:spMkLst>
            <pc:docMk/>
            <pc:sldMk cId="399909942" sldId="1861"/>
            <ac:spMk id="44" creationId="{343C6B94-842D-4BCE-8EDF-1476B7B99AF3}"/>
          </ac:spMkLst>
        </pc:spChg>
        <pc:spChg chg="mod">
          <ac:chgData name="Soleil Yi" userId="c719b956-004a-4243-81dc-14be649b7814" providerId="ADAL" clId="{50DC4EE2-8FC0-47D5-B5D6-C6C1D4ED5A25}" dt="2022-09-13T07:08:09.370" v="3321" actId="947"/>
          <ac:spMkLst>
            <pc:docMk/>
            <pc:sldMk cId="399909942" sldId="1861"/>
            <ac:spMk id="45" creationId="{7C38BF73-B4DE-4BE9-A023-2868409E5BE9}"/>
          </ac:spMkLst>
        </pc:spChg>
        <pc:spChg chg="mod">
          <ac:chgData name="Soleil Yi" userId="c719b956-004a-4243-81dc-14be649b7814" providerId="ADAL" clId="{50DC4EE2-8FC0-47D5-B5D6-C6C1D4ED5A25}" dt="2022-09-13T07:08:09.386" v="3325" actId="947"/>
          <ac:spMkLst>
            <pc:docMk/>
            <pc:sldMk cId="399909942" sldId="1861"/>
            <ac:spMk id="46" creationId="{14B24EB4-5400-4F53-AAE7-D7C1124530E1}"/>
          </ac:spMkLst>
        </pc:spChg>
        <pc:spChg chg="mod">
          <ac:chgData name="Soleil Yi" userId="c719b956-004a-4243-81dc-14be649b7814" providerId="ADAL" clId="{50DC4EE2-8FC0-47D5-B5D6-C6C1D4ED5A25}" dt="2022-09-13T07:08:07.242" v="2803" actId="947"/>
          <ac:spMkLst>
            <pc:docMk/>
            <pc:sldMk cId="399909942" sldId="1861"/>
            <ac:spMk id="47" creationId="{6063F99A-E37A-4C67-A330-4FED9EDB7681}"/>
          </ac:spMkLst>
        </pc:spChg>
        <pc:spChg chg="mod">
          <ac:chgData name="Soleil Yi" userId="c719b956-004a-4243-81dc-14be649b7814" providerId="ADAL" clId="{50DC4EE2-8FC0-47D5-B5D6-C6C1D4ED5A25}" dt="2022-09-13T07:08:07.261" v="2809" actId="947"/>
          <ac:spMkLst>
            <pc:docMk/>
            <pc:sldMk cId="399909942" sldId="1861"/>
            <ac:spMk id="48" creationId="{8932A06A-E013-4126-8F1C-D9436F914155}"/>
          </ac:spMkLst>
        </pc:spChg>
        <pc:spChg chg="mod">
          <ac:chgData name="Soleil Yi" userId="c719b956-004a-4243-81dc-14be649b7814" providerId="ADAL" clId="{50DC4EE2-8FC0-47D5-B5D6-C6C1D4ED5A25}" dt="2022-09-13T07:08:07.277" v="2813" actId="947"/>
          <ac:spMkLst>
            <pc:docMk/>
            <pc:sldMk cId="399909942" sldId="1861"/>
            <ac:spMk id="49" creationId="{0B3754A8-495F-499C-8684-0009B5160563}"/>
          </ac:spMkLst>
        </pc:spChg>
        <pc:spChg chg="mod">
          <ac:chgData name="Soleil Yi" userId="c719b956-004a-4243-81dc-14be649b7814" providerId="ADAL" clId="{50DC4EE2-8FC0-47D5-B5D6-C6C1D4ED5A25}" dt="2022-09-13T07:08:07.294" v="2817" actId="947"/>
          <ac:spMkLst>
            <pc:docMk/>
            <pc:sldMk cId="399909942" sldId="1861"/>
            <ac:spMk id="50" creationId="{CA2672F9-EB3A-4328-BDE3-2DB463374C60}"/>
          </ac:spMkLst>
        </pc:spChg>
        <pc:spChg chg="mod">
          <ac:chgData name="Soleil Yi" userId="c719b956-004a-4243-81dc-14be649b7814" providerId="ADAL" clId="{50DC4EE2-8FC0-47D5-B5D6-C6C1D4ED5A25}" dt="2022-09-13T07:08:07.311" v="2821" actId="947"/>
          <ac:spMkLst>
            <pc:docMk/>
            <pc:sldMk cId="399909942" sldId="1861"/>
            <ac:spMk id="51" creationId="{A2A966BF-E82B-4268-8D94-F11515EDB7F8}"/>
          </ac:spMkLst>
        </pc:spChg>
        <pc:spChg chg="mod">
          <ac:chgData name="Soleil Yi" userId="c719b956-004a-4243-81dc-14be649b7814" providerId="ADAL" clId="{50DC4EE2-8FC0-47D5-B5D6-C6C1D4ED5A25}" dt="2022-09-13T07:08:07.327" v="2825" actId="947"/>
          <ac:spMkLst>
            <pc:docMk/>
            <pc:sldMk cId="399909942" sldId="1861"/>
            <ac:spMk id="52" creationId="{2EAD4A54-A09D-427C-9F62-4FCC470AB0C6}"/>
          </ac:spMkLst>
        </pc:spChg>
        <pc:spChg chg="mod">
          <ac:chgData name="Soleil Yi" userId="c719b956-004a-4243-81dc-14be649b7814" providerId="ADAL" clId="{50DC4EE2-8FC0-47D5-B5D6-C6C1D4ED5A25}" dt="2022-09-13T07:08:07.343" v="2829" actId="947"/>
          <ac:spMkLst>
            <pc:docMk/>
            <pc:sldMk cId="399909942" sldId="1861"/>
            <ac:spMk id="53" creationId="{A4A75130-025F-46D2-8F74-65D7B69A57B3}"/>
          </ac:spMkLst>
        </pc:spChg>
        <pc:spChg chg="mod">
          <ac:chgData name="Soleil Yi" userId="c719b956-004a-4243-81dc-14be649b7814" providerId="ADAL" clId="{50DC4EE2-8FC0-47D5-B5D6-C6C1D4ED5A25}" dt="2022-09-13T07:08:07.358" v="2833" actId="947"/>
          <ac:spMkLst>
            <pc:docMk/>
            <pc:sldMk cId="399909942" sldId="1861"/>
            <ac:spMk id="54" creationId="{72CA0D2A-04F0-4EAB-9B8A-38785FF8800F}"/>
          </ac:spMkLst>
        </pc:spChg>
        <pc:spChg chg="mod">
          <ac:chgData name="Soleil Yi" userId="c719b956-004a-4243-81dc-14be649b7814" providerId="ADAL" clId="{50DC4EE2-8FC0-47D5-B5D6-C6C1D4ED5A25}" dt="2022-09-13T07:08:07.374" v="2837" actId="947"/>
          <ac:spMkLst>
            <pc:docMk/>
            <pc:sldMk cId="399909942" sldId="1861"/>
            <ac:spMk id="55" creationId="{C0B56BC0-1C61-4A05-9612-F2207BC399B7}"/>
          </ac:spMkLst>
        </pc:spChg>
        <pc:spChg chg="mod">
          <ac:chgData name="Soleil Yi" userId="c719b956-004a-4243-81dc-14be649b7814" providerId="ADAL" clId="{50DC4EE2-8FC0-47D5-B5D6-C6C1D4ED5A25}" dt="2022-09-13T07:08:07.389" v="2841" actId="947"/>
          <ac:spMkLst>
            <pc:docMk/>
            <pc:sldMk cId="399909942" sldId="1861"/>
            <ac:spMk id="56" creationId="{DDD69B5E-099A-4914-A23A-EFC149A76FFB}"/>
          </ac:spMkLst>
        </pc:spChg>
        <pc:spChg chg="mod">
          <ac:chgData name="Soleil Yi" userId="c719b956-004a-4243-81dc-14be649b7814" providerId="ADAL" clId="{50DC4EE2-8FC0-47D5-B5D6-C6C1D4ED5A25}" dt="2022-09-13T07:08:07.405" v="2845" actId="947"/>
          <ac:spMkLst>
            <pc:docMk/>
            <pc:sldMk cId="399909942" sldId="1861"/>
            <ac:spMk id="57" creationId="{B828D185-1AC8-4D38-83A9-BB9524C03532}"/>
          </ac:spMkLst>
        </pc:spChg>
        <pc:spChg chg="mod">
          <ac:chgData name="Soleil Yi" userId="c719b956-004a-4243-81dc-14be649b7814" providerId="ADAL" clId="{50DC4EE2-8FC0-47D5-B5D6-C6C1D4ED5A25}" dt="2022-09-13T07:08:07.421" v="2849" actId="947"/>
          <ac:spMkLst>
            <pc:docMk/>
            <pc:sldMk cId="399909942" sldId="1861"/>
            <ac:spMk id="58" creationId="{70C3375E-D886-407A-8B9E-651BAD9ACB06}"/>
          </ac:spMkLst>
        </pc:spChg>
        <pc:spChg chg="mod">
          <ac:chgData name="Soleil Yi" userId="c719b956-004a-4243-81dc-14be649b7814" providerId="ADAL" clId="{50DC4EE2-8FC0-47D5-B5D6-C6C1D4ED5A25}" dt="2022-09-13T07:08:07.437" v="2853" actId="947"/>
          <ac:spMkLst>
            <pc:docMk/>
            <pc:sldMk cId="399909942" sldId="1861"/>
            <ac:spMk id="59" creationId="{C195B820-E805-49F7-BB48-5BF7999747FF}"/>
          </ac:spMkLst>
        </pc:spChg>
        <pc:spChg chg="mod">
          <ac:chgData name="Soleil Yi" userId="c719b956-004a-4243-81dc-14be649b7814" providerId="ADAL" clId="{50DC4EE2-8FC0-47D5-B5D6-C6C1D4ED5A25}" dt="2022-09-13T07:08:07.453" v="2857" actId="947"/>
          <ac:spMkLst>
            <pc:docMk/>
            <pc:sldMk cId="399909942" sldId="1861"/>
            <ac:spMk id="60" creationId="{356E851D-A84D-4A95-8651-1F7B80E92AAD}"/>
          </ac:spMkLst>
        </pc:spChg>
        <pc:spChg chg="mod">
          <ac:chgData name="Soleil Yi" userId="c719b956-004a-4243-81dc-14be649b7814" providerId="ADAL" clId="{50DC4EE2-8FC0-47D5-B5D6-C6C1D4ED5A25}" dt="2022-09-13T07:08:07.469" v="2861" actId="947"/>
          <ac:spMkLst>
            <pc:docMk/>
            <pc:sldMk cId="399909942" sldId="1861"/>
            <ac:spMk id="61" creationId="{BAF0624B-D21E-4AC0-99D7-C81459E62E9C}"/>
          </ac:spMkLst>
        </pc:spChg>
        <pc:spChg chg="mod">
          <ac:chgData name="Soleil Yi" userId="c719b956-004a-4243-81dc-14be649b7814" providerId="ADAL" clId="{50DC4EE2-8FC0-47D5-B5D6-C6C1D4ED5A25}" dt="2022-09-13T07:08:07.484" v="2865" actId="947"/>
          <ac:spMkLst>
            <pc:docMk/>
            <pc:sldMk cId="399909942" sldId="1861"/>
            <ac:spMk id="62" creationId="{8D3A56AB-B260-4F21-8994-E6B187F88671}"/>
          </ac:spMkLst>
        </pc:spChg>
        <pc:spChg chg="mod">
          <ac:chgData name="Soleil Yi" userId="c719b956-004a-4243-81dc-14be649b7814" providerId="ADAL" clId="{50DC4EE2-8FC0-47D5-B5D6-C6C1D4ED5A25}" dt="2022-09-13T07:08:07.502" v="2869" actId="947"/>
          <ac:spMkLst>
            <pc:docMk/>
            <pc:sldMk cId="399909942" sldId="1861"/>
            <ac:spMk id="63" creationId="{E6876F73-01F5-4800-B9D4-EE81C6483554}"/>
          </ac:spMkLst>
        </pc:spChg>
        <pc:spChg chg="mod">
          <ac:chgData name="Soleil Yi" userId="c719b956-004a-4243-81dc-14be649b7814" providerId="ADAL" clId="{50DC4EE2-8FC0-47D5-B5D6-C6C1D4ED5A25}" dt="2022-09-13T07:08:07.517" v="2873" actId="947"/>
          <ac:spMkLst>
            <pc:docMk/>
            <pc:sldMk cId="399909942" sldId="1861"/>
            <ac:spMk id="64" creationId="{5789C404-7F14-42EF-993A-16A0DE54B892}"/>
          </ac:spMkLst>
        </pc:spChg>
        <pc:spChg chg="mod">
          <ac:chgData name="Soleil Yi" userId="c719b956-004a-4243-81dc-14be649b7814" providerId="ADAL" clId="{50DC4EE2-8FC0-47D5-B5D6-C6C1D4ED5A25}" dt="2022-09-13T07:08:07.532" v="2877" actId="947"/>
          <ac:spMkLst>
            <pc:docMk/>
            <pc:sldMk cId="399909942" sldId="1861"/>
            <ac:spMk id="65" creationId="{617B75E1-3552-4246-B633-0964D019E7DF}"/>
          </ac:spMkLst>
        </pc:spChg>
        <pc:spChg chg="mod">
          <ac:chgData name="Soleil Yi" userId="c719b956-004a-4243-81dc-14be649b7814" providerId="ADAL" clId="{50DC4EE2-8FC0-47D5-B5D6-C6C1D4ED5A25}" dt="2022-09-13T07:08:07.550" v="2881" actId="947"/>
          <ac:spMkLst>
            <pc:docMk/>
            <pc:sldMk cId="399909942" sldId="1861"/>
            <ac:spMk id="66" creationId="{7B1C1E70-EE40-4502-A11E-1C79F867D7DC}"/>
          </ac:spMkLst>
        </pc:spChg>
        <pc:spChg chg="mod">
          <ac:chgData name="Soleil Yi" userId="c719b956-004a-4243-81dc-14be649b7814" providerId="ADAL" clId="{50DC4EE2-8FC0-47D5-B5D6-C6C1D4ED5A25}" dt="2022-09-13T07:08:07.565" v="2885" actId="947"/>
          <ac:spMkLst>
            <pc:docMk/>
            <pc:sldMk cId="399909942" sldId="1861"/>
            <ac:spMk id="67" creationId="{C7CF129D-8B65-48A9-9222-608B5CB53F49}"/>
          </ac:spMkLst>
        </pc:spChg>
        <pc:spChg chg="mod">
          <ac:chgData name="Soleil Yi" userId="c719b956-004a-4243-81dc-14be649b7814" providerId="ADAL" clId="{50DC4EE2-8FC0-47D5-B5D6-C6C1D4ED5A25}" dt="2022-09-13T07:08:07.581" v="2889" actId="947"/>
          <ac:spMkLst>
            <pc:docMk/>
            <pc:sldMk cId="399909942" sldId="1861"/>
            <ac:spMk id="68" creationId="{547DFAE0-63CF-4FEF-BE29-78A8C0A3ED06}"/>
          </ac:spMkLst>
        </pc:spChg>
        <pc:spChg chg="mod">
          <ac:chgData name="Soleil Yi" userId="c719b956-004a-4243-81dc-14be649b7814" providerId="ADAL" clId="{50DC4EE2-8FC0-47D5-B5D6-C6C1D4ED5A25}" dt="2022-09-13T07:08:07.596" v="2893" actId="947"/>
          <ac:spMkLst>
            <pc:docMk/>
            <pc:sldMk cId="399909942" sldId="1861"/>
            <ac:spMk id="69" creationId="{CE329BC5-69FF-49E1-B848-4D5A5ECA198A}"/>
          </ac:spMkLst>
        </pc:spChg>
        <pc:spChg chg="mod">
          <ac:chgData name="Soleil Yi" userId="c719b956-004a-4243-81dc-14be649b7814" providerId="ADAL" clId="{50DC4EE2-8FC0-47D5-B5D6-C6C1D4ED5A25}" dt="2022-09-13T07:08:07.611" v="2897" actId="947"/>
          <ac:spMkLst>
            <pc:docMk/>
            <pc:sldMk cId="399909942" sldId="1861"/>
            <ac:spMk id="70" creationId="{096FCD00-A4C1-4F4A-BD63-54A8E5FEC9E6}"/>
          </ac:spMkLst>
        </pc:spChg>
        <pc:spChg chg="mod">
          <ac:chgData name="Soleil Yi" userId="c719b956-004a-4243-81dc-14be649b7814" providerId="ADAL" clId="{50DC4EE2-8FC0-47D5-B5D6-C6C1D4ED5A25}" dt="2022-09-13T07:08:07.628" v="2901" actId="947"/>
          <ac:spMkLst>
            <pc:docMk/>
            <pc:sldMk cId="399909942" sldId="1861"/>
            <ac:spMk id="71" creationId="{1157927A-BFF5-4CC0-8D10-69CFF918B68B}"/>
          </ac:spMkLst>
        </pc:spChg>
        <pc:spChg chg="mod">
          <ac:chgData name="Soleil Yi" userId="c719b956-004a-4243-81dc-14be649b7814" providerId="ADAL" clId="{50DC4EE2-8FC0-47D5-B5D6-C6C1D4ED5A25}" dt="2022-09-13T07:08:07.644" v="2905" actId="947"/>
          <ac:spMkLst>
            <pc:docMk/>
            <pc:sldMk cId="399909942" sldId="1861"/>
            <ac:spMk id="72" creationId="{AB680324-BB67-48C7-8CE6-80D06D171416}"/>
          </ac:spMkLst>
        </pc:spChg>
        <pc:spChg chg="mod">
          <ac:chgData name="Soleil Yi" userId="c719b956-004a-4243-81dc-14be649b7814" providerId="ADAL" clId="{50DC4EE2-8FC0-47D5-B5D6-C6C1D4ED5A25}" dt="2022-09-13T07:08:07.660" v="2909" actId="947"/>
          <ac:spMkLst>
            <pc:docMk/>
            <pc:sldMk cId="399909942" sldId="1861"/>
            <ac:spMk id="73" creationId="{D39DFCC8-90C2-4DCD-8DFD-56A363E155E4}"/>
          </ac:spMkLst>
        </pc:spChg>
        <pc:spChg chg="mod">
          <ac:chgData name="Soleil Yi" userId="c719b956-004a-4243-81dc-14be649b7814" providerId="ADAL" clId="{50DC4EE2-8FC0-47D5-B5D6-C6C1D4ED5A25}" dt="2022-09-13T07:08:07.676" v="2913" actId="947"/>
          <ac:spMkLst>
            <pc:docMk/>
            <pc:sldMk cId="399909942" sldId="1861"/>
            <ac:spMk id="74" creationId="{B3E5CE77-483A-4A04-A7A7-E738590A0DEC}"/>
          </ac:spMkLst>
        </pc:spChg>
        <pc:spChg chg="mod">
          <ac:chgData name="Soleil Yi" userId="c719b956-004a-4243-81dc-14be649b7814" providerId="ADAL" clId="{50DC4EE2-8FC0-47D5-B5D6-C6C1D4ED5A25}" dt="2022-09-13T07:08:07.692" v="2917" actId="947"/>
          <ac:spMkLst>
            <pc:docMk/>
            <pc:sldMk cId="399909942" sldId="1861"/>
            <ac:spMk id="75" creationId="{44F03222-1153-49EC-84A9-93170C8CC7C7}"/>
          </ac:spMkLst>
        </pc:spChg>
        <pc:spChg chg="mod">
          <ac:chgData name="Soleil Yi" userId="c719b956-004a-4243-81dc-14be649b7814" providerId="ADAL" clId="{50DC4EE2-8FC0-47D5-B5D6-C6C1D4ED5A25}" dt="2022-09-13T07:08:07.708" v="2921" actId="947"/>
          <ac:spMkLst>
            <pc:docMk/>
            <pc:sldMk cId="399909942" sldId="1861"/>
            <ac:spMk id="76" creationId="{A4DDE62D-E9C0-4E8E-BB27-23F7CF22D5EE}"/>
          </ac:spMkLst>
        </pc:spChg>
        <pc:spChg chg="mod">
          <ac:chgData name="Soleil Yi" userId="c719b956-004a-4243-81dc-14be649b7814" providerId="ADAL" clId="{50DC4EE2-8FC0-47D5-B5D6-C6C1D4ED5A25}" dt="2022-09-13T07:08:07.727" v="2925" actId="947"/>
          <ac:spMkLst>
            <pc:docMk/>
            <pc:sldMk cId="399909942" sldId="1861"/>
            <ac:spMk id="77" creationId="{F45209C0-D399-4E74-BA0F-D8433FCCA93D}"/>
          </ac:spMkLst>
        </pc:spChg>
        <pc:spChg chg="mod">
          <ac:chgData name="Soleil Yi" userId="c719b956-004a-4243-81dc-14be649b7814" providerId="ADAL" clId="{50DC4EE2-8FC0-47D5-B5D6-C6C1D4ED5A25}" dt="2022-09-13T07:08:07.743" v="2929" actId="947"/>
          <ac:spMkLst>
            <pc:docMk/>
            <pc:sldMk cId="399909942" sldId="1861"/>
            <ac:spMk id="78" creationId="{E34808A7-7157-4EDF-9A35-6DEAE54CD9C2}"/>
          </ac:spMkLst>
        </pc:spChg>
        <pc:spChg chg="mod">
          <ac:chgData name="Soleil Yi" userId="c719b956-004a-4243-81dc-14be649b7814" providerId="ADAL" clId="{50DC4EE2-8FC0-47D5-B5D6-C6C1D4ED5A25}" dt="2022-09-13T07:08:07.759" v="2933" actId="947"/>
          <ac:spMkLst>
            <pc:docMk/>
            <pc:sldMk cId="399909942" sldId="1861"/>
            <ac:spMk id="79" creationId="{F81781F8-0F4E-4992-9045-3FE4A9797456}"/>
          </ac:spMkLst>
        </pc:spChg>
        <pc:spChg chg="mod">
          <ac:chgData name="Soleil Yi" userId="c719b956-004a-4243-81dc-14be649b7814" providerId="ADAL" clId="{50DC4EE2-8FC0-47D5-B5D6-C6C1D4ED5A25}" dt="2022-09-13T07:08:07.774" v="2937" actId="947"/>
          <ac:spMkLst>
            <pc:docMk/>
            <pc:sldMk cId="399909942" sldId="1861"/>
            <ac:spMk id="80" creationId="{955D7F00-D7F3-4EE9-A8D7-7758C9173164}"/>
          </ac:spMkLst>
        </pc:spChg>
        <pc:spChg chg="mod">
          <ac:chgData name="Soleil Yi" userId="c719b956-004a-4243-81dc-14be649b7814" providerId="ADAL" clId="{50DC4EE2-8FC0-47D5-B5D6-C6C1D4ED5A25}" dt="2022-09-13T07:08:07.789" v="2941" actId="947"/>
          <ac:spMkLst>
            <pc:docMk/>
            <pc:sldMk cId="399909942" sldId="1861"/>
            <ac:spMk id="81" creationId="{A8E4A1D9-2215-435B-BFE5-1DE0D6088BAC}"/>
          </ac:spMkLst>
        </pc:spChg>
        <pc:spChg chg="mod">
          <ac:chgData name="Soleil Yi" userId="c719b956-004a-4243-81dc-14be649b7814" providerId="ADAL" clId="{50DC4EE2-8FC0-47D5-B5D6-C6C1D4ED5A25}" dt="2022-09-13T07:08:07.805" v="2945" actId="947"/>
          <ac:spMkLst>
            <pc:docMk/>
            <pc:sldMk cId="399909942" sldId="1861"/>
            <ac:spMk id="82" creationId="{A854CF0E-7A8C-4576-9F6E-878EBE925926}"/>
          </ac:spMkLst>
        </pc:spChg>
        <pc:spChg chg="mod">
          <ac:chgData name="Soleil Yi" userId="c719b956-004a-4243-81dc-14be649b7814" providerId="ADAL" clId="{50DC4EE2-8FC0-47D5-B5D6-C6C1D4ED5A25}" dt="2022-09-13T07:08:07.822" v="2949" actId="947"/>
          <ac:spMkLst>
            <pc:docMk/>
            <pc:sldMk cId="399909942" sldId="1861"/>
            <ac:spMk id="83" creationId="{43E6DD69-9E2F-4240-A33D-5E08FD864F02}"/>
          </ac:spMkLst>
        </pc:spChg>
        <pc:spChg chg="mod">
          <ac:chgData name="Soleil Yi" userId="c719b956-004a-4243-81dc-14be649b7814" providerId="ADAL" clId="{50DC4EE2-8FC0-47D5-B5D6-C6C1D4ED5A25}" dt="2022-09-13T07:08:07.839" v="2953" actId="947"/>
          <ac:spMkLst>
            <pc:docMk/>
            <pc:sldMk cId="399909942" sldId="1861"/>
            <ac:spMk id="84" creationId="{B0182399-4A79-4C44-BB92-CF5356BF79BC}"/>
          </ac:spMkLst>
        </pc:spChg>
        <pc:spChg chg="mod">
          <ac:chgData name="Soleil Yi" userId="c719b956-004a-4243-81dc-14be649b7814" providerId="ADAL" clId="{50DC4EE2-8FC0-47D5-B5D6-C6C1D4ED5A25}" dt="2022-09-13T07:08:07.855" v="2957" actId="947"/>
          <ac:spMkLst>
            <pc:docMk/>
            <pc:sldMk cId="399909942" sldId="1861"/>
            <ac:spMk id="85" creationId="{93061523-C36C-487C-B9C8-F9DED2FC03A2}"/>
          </ac:spMkLst>
        </pc:spChg>
        <pc:spChg chg="mod">
          <ac:chgData name="Soleil Yi" userId="c719b956-004a-4243-81dc-14be649b7814" providerId="ADAL" clId="{50DC4EE2-8FC0-47D5-B5D6-C6C1D4ED5A25}" dt="2022-09-13T07:08:07.870" v="2961" actId="947"/>
          <ac:spMkLst>
            <pc:docMk/>
            <pc:sldMk cId="399909942" sldId="1861"/>
            <ac:spMk id="86" creationId="{18E57B67-C00E-4A14-8E78-CBB4453115B5}"/>
          </ac:spMkLst>
        </pc:spChg>
        <pc:spChg chg="mod">
          <ac:chgData name="Soleil Yi" userId="c719b956-004a-4243-81dc-14be649b7814" providerId="ADAL" clId="{50DC4EE2-8FC0-47D5-B5D6-C6C1D4ED5A25}" dt="2022-09-13T07:08:07.886" v="2965" actId="947"/>
          <ac:spMkLst>
            <pc:docMk/>
            <pc:sldMk cId="399909942" sldId="1861"/>
            <ac:spMk id="87" creationId="{787FD1A7-58E7-4CC1-B980-AED92DBD84EB}"/>
          </ac:spMkLst>
        </pc:spChg>
        <pc:spChg chg="mod">
          <ac:chgData name="Soleil Yi" userId="c719b956-004a-4243-81dc-14be649b7814" providerId="ADAL" clId="{50DC4EE2-8FC0-47D5-B5D6-C6C1D4ED5A25}" dt="2022-09-13T07:08:07.901" v="2969" actId="947"/>
          <ac:spMkLst>
            <pc:docMk/>
            <pc:sldMk cId="399909942" sldId="1861"/>
            <ac:spMk id="88" creationId="{DDD34E4C-2688-4A91-B3FC-49D44EB93E9D}"/>
          </ac:spMkLst>
        </pc:spChg>
        <pc:spChg chg="mod">
          <ac:chgData name="Soleil Yi" userId="c719b956-004a-4243-81dc-14be649b7814" providerId="ADAL" clId="{50DC4EE2-8FC0-47D5-B5D6-C6C1D4ED5A25}" dt="2022-09-13T07:08:07.916" v="2973" actId="947"/>
          <ac:spMkLst>
            <pc:docMk/>
            <pc:sldMk cId="399909942" sldId="1861"/>
            <ac:spMk id="89" creationId="{BA4CBF54-83BD-4E7C-B992-FBAC1022DF7E}"/>
          </ac:spMkLst>
        </pc:spChg>
        <pc:spChg chg="mod">
          <ac:chgData name="Soleil Yi" userId="c719b956-004a-4243-81dc-14be649b7814" providerId="ADAL" clId="{50DC4EE2-8FC0-47D5-B5D6-C6C1D4ED5A25}" dt="2022-09-13T07:08:07.933" v="2977" actId="947"/>
          <ac:spMkLst>
            <pc:docMk/>
            <pc:sldMk cId="399909942" sldId="1861"/>
            <ac:spMk id="90" creationId="{A1602593-B6F2-4AB3-B21F-DC9F6EC957E0}"/>
          </ac:spMkLst>
        </pc:spChg>
        <pc:spChg chg="mod">
          <ac:chgData name="Soleil Yi" userId="c719b956-004a-4243-81dc-14be649b7814" providerId="ADAL" clId="{50DC4EE2-8FC0-47D5-B5D6-C6C1D4ED5A25}" dt="2022-09-13T07:08:07.948" v="2981" actId="947"/>
          <ac:spMkLst>
            <pc:docMk/>
            <pc:sldMk cId="399909942" sldId="1861"/>
            <ac:spMk id="91" creationId="{433B5357-396E-41C0-BFE4-680C05316656}"/>
          </ac:spMkLst>
        </pc:spChg>
        <pc:spChg chg="mod">
          <ac:chgData name="Soleil Yi" userId="c719b956-004a-4243-81dc-14be649b7814" providerId="ADAL" clId="{50DC4EE2-8FC0-47D5-B5D6-C6C1D4ED5A25}" dt="2022-09-13T07:08:07.964" v="2985" actId="947"/>
          <ac:spMkLst>
            <pc:docMk/>
            <pc:sldMk cId="399909942" sldId="1861"/>
            <ac:spMk id="92" creationId="{D8C6E910-DBD9-4AAF-B2E9-A44DD98EF9CB}"/>
          </ac:spMkLst>
        </pc:spChg>
        <pc:spChg chg="mod">
          <ac:chgData name="Soleil Yi" userId="c719b956-004a-4243-81dc-14be649b7814" providerId="ADAL" clId="{50DC4EE2-8FC0-47D5-B5D6-C6C1D4ED5A25}" dt="2022-09-13T07:08:07.980" v="2989" actId="947"/>
          <ac:spMkLst>
            <pc:docMk/>
            <pc:sldMk cId="399909942" sldId="1861"/>
            <ac:spMk id="93" creationId="{A6ACC6FD-CC13-4824-9140-A8B0E5E247E1}"/>
          </ac:spMkLst>
        </pc:spChg>
        <pc:spChg chg="mod">
          <ac:chgData name="Soleil Yi" userId="c719b956-004a-4243-81dc-14be649b7814" providerId="ADAL" clId="{50DC4EE2-8FC0-47D5-B5D6-C6C1D4ED5A25}" dt="2022-09-13T07:08:07.995" v="2993" actId="947"/>
          <ac:spMkLst>
            <pc:docMk/>
            <pc:sldMk cId="399909942" sldId="1861"/>
            <ac:spMk id="94" creationId="{234AF1BF-4315-4895-96BE-8F58A873BCFE}"/>
          </ac:spMkLst>
        </pc:spChg>
        <pc:spChg chg="mod">
          <ac:chgData name="Soleil Yi" userId="c719b956-004a-4243-81dc-14be649b7814" providerId="ADAL" clId="{50DC4EE2-8FC0-47D5-B5D6-C6C1D4ED5A25}" dt="2022-09-13T07:08:08.010" v="2997" actId="947"/>
          <ac:spMkLst>
            <pc:docMk/>
            <pc:sldMk cId="399909942" sldId="1861"/>
            <ac:spMk id="95" creationId="{D4E64973-39DD-4ED8-BA28-EC6D0C5414F7}"/>
          </ac:spMkLst>
        </pc:spChg>
        <pc:spChg chg="mod">
          <ac:chgData name="Soleil Yi" userId="c719b956-004a-4243-81dc-14be649b7814" providerId="ADAL" clId="{50DC4EE2-8FC0-47D5-B5D6-C6C1D4ED5A25}" dt="2022-09-13T07:08:08.027" v="3001" actId="947"/>
          <ac:spMkLst>
            <pc:docMk/>
            <pc:sldMk cId="399909942" sldId="1861"/>
            <ac:spMk id="96" creationId="{CBE35CE0-1077-4F2D-9BA7-6BBA2BD6FC59}"/>
          </ac:spMkLst>
        </pc:spChg>
        <pc:spChg chg="mod">
          <ac:chgData name="Soleil Yi" userId="c719b956-004a-4243-81dc-14be649b7814" providerId="ADAL" clId="{50DC4EE2-8FC0-47D5-B5D6-C6C1D4ED5A25}" dt="2022-09-13T07:08:08.043" v="3005" actId="947"/>
          <ac:spMkLst>
            <pc:docMk/>
            <pc:sldMk cId="399909942" sldId="1861"/>
            <ac:spMk id="97" creationId="{C27A6C78-8C20-4D0D-B106-BFF2671A59F6}"/>
          </ac:spMkLst>
        </pc:spChg>
        <pc:spChg chg="mod">
          <ac:chgData name="Soleil Yi" userId="c719b956-004a-4243-81dc-14be649b7814" providerId="ADAL" clId="{50DC4EE2-8FC0-47D5-B5D6-C6C1D4ED5A25}" dt="2022-09-13T07:08:08.059" v="3009" actId="947"/>
          <ac:spMkLst>
            <pc:docMk/>
            <pc:sldMk cId="399909942" sldId="1861"/>
            <ac:spMk id="98" creationId="{CE830F7F-A18A-458D-B9FB-DB1826BAA587}"/>
          </ac:spMkLst>
        </pc:spChg>
        <pc:spChg chg="mod">
          <ac:chgData name="Soleil Yi" userId="c719b956-004a-4243-81dc-14be649b7814" providerId="ADAL" clId="{50DC4EE2-8FC0-47D5-B5D6-C6C1D4ED5A25}" dt="2022-09-13T07:08:08.077" v="3013" actId="947"/>
          <ac:spMkLst>
            <pc:docMk/>
            <pc:sldMk cId="399909942" sldId="1861"/>
            <ac:spMk id="99" creationId="{74710EC8-4065-4158-BAC4-29AECA6F9F1D}"/>
          </ac:spMkLst>
        </pc:spChg>
        <pc:spChg chg="mod">
          <ac:chgData name="Soleil Yi" userId="c719b956-004a-4243-81dc-14be649b7814" providerId="ADAL" clId="{50DC4EE2-8FC0-47D5-B5D6-C6C1D4ED5A25}" dt="2022-09-13T07:08:08.093" v="3017" actId="947"/>
          <ac:spMkLst>
            <pc:docMk/>
            <pc:sldMk cId="399909942" sldId="1861"/>
            <ac:spMk id="100" creationId="{84D76EE7-CD14-4FAD-8675-8352D96B7592}"/>
          </ac:spMkLst>
        </pc:spChg>
        <pc:spChg chg="mod">
          <ac:chgData name="Soleil Yi" userId="c719b956-004a-4243-81dc-14be649b7814" providerId="ADAL" clId="{50DC4EE2-8FC0-47D5-B5D6-C6C1D4ED5A25}" dt="2022-09-13T07:08:08.109" v="3021" actId="947"/>
          <ac:spMkLst>
            <pc:docMk/>
            <pc:sldMk cId="399909942" sldId="1861"/>
            <ac:spMk id="101" creationId="{A7DEEC84-9123-4761-B91F-BE8D699EECAF}"/>
          </ac:spMkLst>
        </pc:spChg>
        <pc:spChg chg="mod">
          <ac:chgData name="Soleil Yi" userId="c719b956-004a-4243-81dc-14be649b7814" providerId="ADAL" clId="{50DC4EE2-8FC0-47D5-B5D6-C6C1D4ED5A25}" dt="2022-09-13T07:08:08.125" v="3025" actId="947"/>
          <ac:spMkLst>
            <pc:docMk/>
            <pc:sldMk cId="399909942" sldId="1861"/>
            <ac:spMk id="102" creationId="{5DB1376B-AEF7-4CA0-ACA7-63558036AB1C}"/>
          </ac:spMkLst>
        </pc:spChg>
        <pc:spChg chg="mod">
          <ac:chgData name="Soleil Yi" userId="c719b956-004a-4243-81dc-14be649b7814" providerId="ADAL" clId="{50DC4EE2-8FC0-47D5-B5D6-C6C1D4ED5A25}" dt="2022-09-13T07:08:08.142" v="3029" actId="947"/>
          <ac:spMkLst>
            <pc:docMk/>
            <pc:sldMk cId="399909942" sldId="1861"/>
            <ac:spMk id="103" creationId="{02155E7F-E33E-476D-83FB-CD12C4878659}"/>
          </ac:spMkLst>
        </pc:spChg>
        <pc:spChg chg="mod">
          <ac:chgData name="Soleil Yi" userId="c719b956-004a-4243-81dc-14be649b7814" providerId="ADAL" clId="{50DC4EE2-8FC0-47D5-B5D6-C6C1D4ED5A25}" dt="2022-09-13T07:08:08.161" v="3033" actId="947"/>
          <ac:spMkLst>
            <pc:docMk/>
            <pc:sldMk cId="399909942" sldId="1861"/>
            <ac:spMk id="104" creationId="{5BBAAA9A-214D-4387-9A12-4EF42033E830}"/>
          </ac:spMkLst>
        </pc:spChg>
        <pc:spChg chg="mod">
          <ac:chgData name="Soleil Yi" userId="c719b956-004a-4243-81dc-14be649b7814" providerId="ADAL" clId="{50DC4EE2-8FC0-47D5-B5D6-C6C1D4ED5A25}" dt="2022-09-13T07:08:08.177" v="3037" actId="947"/>
          <ac:spMkLst>
            <pc:docMk/>
            <pc:sldMk cId="399909942" sldId="1861"/>
            <ac:spMk id="105" creationId="{CF155661-E559-4CE3-98CC-9D2AFC92925E}"/>
          </ac:spMkLst>
        </pc:spChg>
        <pc:spChg chg="mod">
          <ac:chgData name="Soleil Yi" userId="c719b956-004a-4243-81dc-14be649b7814" providerId="ADAL" clId="{50DC4EE2-8FC0-47D5-B5D6-C6C1D4ED5A25}" dt="2022-09-13T07:08:08.192" v="3041" actId="947"/>
          <ac:spMkLst>
            <pc:docMk/>
            <pc:sldMk cId="399909942" sldId="1861"/>
            <ac:spMk id="106" creationId="{81007E20-F8A2-4C50-B279-156DCDDC2B56}"/>
          </ac:spMkLst>
        </pc:spChg>
        <pc:spChg chg="mod">
          <ac:chgData name="Soleil Yi" userId="c719b956-004a-4243-81dc-14be649b7814" providerId="ADAL" clId="{50DC4EE2-8FC0-47D5-B5D6-C6C1D4ED5A25}" dt="2022-09-13T07:08:08.208" v="3045" actId="947"/>
          <ac:spMkLst>
            <pc:docMk/>
            <pc:sldMk cId="399909942" sldId="1861"/>
            <ac:spMk id="107" creationId="{4C44F900-C01E-4476-83D5-C3DB172BCFA7}"/>
          </ac:spMkLst>
        </pc:spChg>
        <pc:spChg chg="mod">
          <ac:chgData name="Soleil Yi" userId="c719b956-004a-4243-81dc-14be649b7814" providerId="ADAL" clId="{50DC4EE2-8FC0-47D5-B5D6-C6C1D4ED5A25}" dt="2022-09-13T07:08:08.227" v="3049" actId="947"/>
          <ac:spMkLst>
            <pc:docMk/>
            <pc:sldMk cId="399909942" sldId="1861"/>
            <ac:spMk id="108" creationId="{E23C78F5-65B4-4AB9-85E4-406190C63FE1}"/>
          </ac:spMkLst>
        </pc:spChg>
        <pc:spChg chg="mod">
          <ac:chgData name="Soleil Yi" userId="c719b956-004a-4243-81dc-14be649b7814" providerId="ADAL" clId="{50DC4EE2-8FC0-47D5-B5D6-C6C1D4ED5A25}" dt="2022-09-13T07:08:08.246" v="3053" actId="947"/>
          <ac:spMkLst>
            <pc:docMk/>
            <pc:sldMk cId="399909942" sldId="1861"/>
            <ac:spMk id="109" creationId="{2384B5C0-5B8B-4F5E-A0E5-C6F662EEB77E}"/>
          </ac:spMkLst>
        </pc:spChg>
        <pc:spChg chg="mod">
          <ac:chgData name="Soleil Yi" userId="c719b956-004a-4243-81dc-14be649b7814" providerId="ADAL" clId="{50DC4EE2-8FC0-47D5-B5D6-C6C1D4ED5A25}" dt="2022-09-13T07:08:08.266" v="3057" actId="947"/>
          <ac:spMkLst>
            <pc:docMk/>
            <pc:sldMk cId="399909942" sldId="1861"/>
            <ac:spMk id="110" creationId="{A3E4F0F6-4B1B-4448-A6AD-E5775285C380}"/>
          </ac:spMkLst>
        </pc:spChg>
        <pc:spChg chg="mod">
          <ac:chgData name="Soleil Yi" userId="c719b956-004a-4243-81dc-14be649b7814" providerId="ADAL" clId="{50DC4EE2-8FC0-47D5-B5D6-C6C1D4ED5A25}" dt="2022-09-13T07:08:08.282" v="3061" actId="947"/>
          <ac:spMkLst>
            <pc:docMk/>
            <pc:sldMk cId="399909942" sldId="1861"/>
            <ac:spMk id="111" creationId="{2B65B6B5-9545-4EC4-A7BB-F084571AC8E4}"/>
          </ac:spMkLst>
        </pc:spChg>
        <pc:spChg chg="mod">
          <ac:chgData name="Soleil Yi" userId="c719b956-004a-4243-81dc-14be649b7814" providerId="ADAL" clId="{50DC4EE2-8FC0-47D5-B5D6-C6C1D4ED5A25}" dt="2022-09-13T07:08:08.297" v="3065" actId="947"/>
          <ac:spMkLst>
            <pc:docMk/>
            <pc:sldMk cId="399909942" sldId="1861"/>
            <ac:spMk id="112" creationId="{54B3AE53-1487-4DD8-B84B-3D7B2AAA04F5}"/>
          </ac:spMkLst>
        </pc:spChg>
        <pc:spChg chg="mod">
          <ac:chgData name="Soleil Yi" userId="c719b956-004a-4243-81dc-14be649b7814" providerId="ADAL" clId="{50DC4EE2-8FC0-47D5-B5D6-C6C1D4ED5A25}" dt="2022-09-13T07:08:08.317" v="3069" actId="947"/>
          <ac:spMkLst>
            <pc:docMk/>
            <pc:sldMk cId="399909942" sldId="1861"/>
            <ac:spMk id="113" creationId="{92DDC0F3-E7BC-4670-9981-F50A7B36C186}"/>
          </ac:spMkLst>
        </pc:spChg>
        <pc:spChg chg="mod">
          <ac:chgData name="Soleil Yi" userId="c719b956-004a-4243-81dc-14be649b7814" providerId="ADAL" clId="{50DC4EE2-8FC0-47D5-B5D6-C6C1D4ED5A25}" dt="2022-09-13T07:08:08.338" v="3073" actId="947"/>
          <ac:spMkLst>
            <pc:docMk/>
            <pc:sldMk cId="399909942" sldId="1861"/>
            <ac:spMk id="114" creationId="{060AF3CF-2246-48A4-A56D-EBB5D265F99E}"/>
          </ac:spMkLst>
        </pc:spChg>
        <pc:spChg chg="mod">
          <ac:chgData name="Soleil Yi" userId="c719b956-004a-4243-81dc-14be649b7814" providerId="ADAL" clId="{50DC4EE2-8FC0-47D5-B5D6-C6C1D4ED5A25}" dt="2022-09-13T07:08:08.353" v="3077" actId="947"/>
          <ac:spMkLst>
            <pc:docMk/>
            <pc:sldMk cId="399909942" sldId="1861"/>
            <ac:spMk id="115" creationId="{D8586A01-07A5-4908-9069-C1307ABB6BF3}"/>
          </ac:spMkLst>
        </pc:spChg>
        <pc:spChg chg="mod">
          <ac:chgData name="Soleil Yi" userId="c719b956-004a-4243-81dc-14be649b7814" providerId="ADAL" clId="{50DC4EE2-8FC0-47D5-B5D6-C6C1D4ED5A25}" dt="2022-09-13T07:08:08.369" v="3081" actId="947"/>
          <ac:spMkLst>
            <pc:docMk/>
            <pc:sldMk cId="399909942" sldId="1861"/>
            <ac:spMk id="116" creationId="{8A51C1BC-6783-4F33-BE11-F98E78512F9B}"/>
          </ac:spMkLst>
        </pc:spChg>
        <pc:spChg chg="mod">
          <ac:chgData name="Soleil Yi" userId="c719b956-004a-4243-81dc-14be649b7814" providerId="ADAL" clId="{50DC4EE2-8FC0-47D5-B5D6-C6C1D4ED5A25}" dt="2022-09-13T07:08:08.385" v="3085" actId="947"/>
          <ac:spMkLst>
            <pc:docMk/>
            <pc:sldMk cId="399909942" sldId="1861"/>
            <ac:spMk id="117" creationId="{C8894B94-406B-4759-AC6A-54C37BBC9565}"/>
          </ac:spMkLst>
        </pc:spChg>
        <pc:spChg chg="mod">
          <ac:chgData name="Soleil Yi" userId="c719b956-004a-4243-81dc-14be649b7814" providerId="ADAL" clId="{50DC4EE2-8FC0-47D5-B5D6-C6C1D4ED5A25}" dt="2022-09-13T07:08:08.400" v="3089" actId="947"/>
          <ac:spMkLst>
            <pc:docMk/>
            <pc:sldMk cId="399909942" sldId="1861"/>
            <ac:spMk id="118" creationId="{1EDA7CB5-927D-4CF3-A3E7-560759DE2BFF}"/>
          </ac:spMkLst>
        </pc:spChg>
        <pc:spChg chg="mod">
          <ac:chgData name="Soleil Yi" userId="c719b956-004a-4243-81dc-14be649b7814" providerId="ADAL" clId="{50DC4EE2-8FC0-47D5-B5D6-C6C1D4ED5A25}" dt="2022-09-13T07:08:08.416" v="3093" actId="947"/>
          <ac:spMkLst>
            <pc:docMk/>
            <pc:sldMk cId="399909942" sldId="1861"/>
            <ac:spMk id="119" creationId="{780B3D1D-9307-4C3F-8262-06F66A86B77D}"/>
          </ac:spMkLst>
        </pc:spChg>
        <pc:spChg chg="mod">
          <ac:chgData name="Soleil Yi" userId="c719b956-004a-4243-81dc-14be649b7814" providerId="ADAL" clId="{50DC4EE2-8FC0-47D5-B5D6-C6C1D4ED5A25}" dt="2022-09-13T07:08:08.432" v="3097" actId="947"/>
          <ac:spMkLst>
            <pc:docMk/>
            <pc:sldMk cId="399909942" sldId="1861"/>
            <ac:spMk id="120" creationId="{1B55581F-FC5E-4AAC-9B17-C99BA71D6D29}"/>
          </ac:spMkLst>
        </pc:spChg>
        <pc:spChg chg="mod">
          <ac:chgData name="Soleil Yi" userId="c719b956-004a-4243-81dc-14be649b7814" providerId="ADAL" clId="{50DC4EE2-8FC0-47D5-B5D6-C6C1D4ED5A25}" dt="2022-09-13T07:08:08.448" v="3101" actId="947"/>
          <ac:spMkLst>
            <pc:docMk/>
            <pc:sldMk cId="399909942" sldId="1861"/>
            <ac:spMk id="121" creationId="{0FE509DF-F545-465C-AC39-DCEC0CB27C49}"/>
          </ac:spMkLst>
        </pc:spChg>
        <pc:spChg chg="mod">
          <ac:chgData name="Soleil Yi" userId="c719b956-004a-4243-81dc-14be649b7814" providerId="ADAL" clId="{50DC4EE2-8FC0-47D5-B5D6-C6C1D4ED5A25}" dt="2022-09-13T07:08:08.466" v="3105" actId="947"/>
          <ac:spMkLst>
            <pc:docMk/>
            <pc:sldMk cId="399909942" sldId="1861"/>
            <ac:spMk id="122" creationId="{4F8A37CA-2EE8-48B7-9055-E208F8886FBB}"/>
          </ac:spMkLst>
        </pc:spChg>
        <pc:spChg chg="mod">
          <ac:chgData name="Soleil Yi" userId="c719b956-004a-4243-81dc-14be649b7814" providerId="ADAL" clId="{50DC4EE2-8FC0-47D5-B5D6-C6C1D4ED5A25}" dt="2022-09-13T07:08:08.484" v="3109" actId="947"/>
          <ac:spMkLst>
            <pc:docMk/>
            <pc:sldMk cId="399909942" sldId="1861"/>
            <ac:spMk id="123" creationId="{E1EFB32C-65BE-4A0D-B7E3-6A311AF27CEE}"/>
          </ac:spMkLst>
        </pc:spChg>
        <pc:spChg chg="mod">
          <ac:chgData name="Soleil Yi" userId="c719b956-004a-4243-81dc-14be649b7814" providerId="ADAL" clId="{50DC4EE2-8FC0-47D5-B5D6-C6C1D4ED5A25}" dt="2022-09-13T07:08:08.499" v="3113" actId="947"/>
          <ac:spMkLst>
            <pc:docMk/>
            <pc:sldMk cId="399909942" sldId="1861"/>
            <ac:spMk id="124" creationId="{94C54E05-817D-415B-8DA4-95984C025A42}"/>
          </ac:spMkLst>
        </pc:spChg>
        <pc:spChg chg="mod">
          <ac:chgData name="Soleil Yi" userId="c719b956-004a-4243-81dc-14be649b7814" providerId="ADAL" clId="{50DC4EE2-8FC0-47D5-B5D6-C6C1D4ED5A25}" dt="2022-09-13T07:08:08.515" v="3117" actId="947"/>
          <ac:spMkLst>
            <pc:docMk/>
            <pc:sldMk cId="399909942" sldId="1861"/>
            <ac:spMk id="125" creationId="{80E8180A-471F-423C-9677-25B5D513BD85}"/>
          </ac:spMkLst>
        </pc:spChg>
        <pc:spChg chg="mod">
          <ac:chgData name="Soleil Yi" userId="c719b956-004a-4243-81dc-14be649b7814" providerId="ADAL" clId="{50DC4EE2-8FC0-47D5-B5D6-C6C1D4ED5A25}" dt="2022-09-13T07:08:08.530" v="3121" actId="947"/>
          <ac:spMkLst>
            <pc:docMk/>
            <pc:sldMk cId="399909942" sldId="1861"/>
            <ac:spMk id="126" creationId="{127DD2B2-51C3-43DA-9BD0-9456AC9176D2}"/>
          </ac:spMkLst>
        </pc:spChg>
        <pc:spChg chg="mod">
          <ac:chgData name="Soleil Yi" userId="c719b956-004a-4243-81dc-14be649b7814" providerId="ADAL" clId="{50DC4EE2-8FC0-47D5-B5D6-C6C1D4ED5A25}" dt="2022-09-13T07:08:08.547" v="3125" actId="947"/>
          <ac:spMkLst>
            <pc:docMk/>
            <pc:sldMk cId="399909942" sldId="1861"/>
            <ac:spMk id="127" creationId="{11A5A29D-6A82-4AF0-923A-4BAD252791FD}"/>
          </ac:spMkLst>
        </pc:spChg>
        <pc:spChg chg="mod">
          <ac:chgData name="Soleil Yi" userId="c719b956-004a-4243-81dc-14be649b7814" providerId="ADAL" clId="{50DC4EE2-8FC0-47D5-B5D6-C6C1D4ED5A25}" dt="2022-09-13T07:08:08.565" v="3129" actId="947"/>
          <ac:spMkLst>
            <pc:docMk/>
            <pc:sldMk cId="399909942" sldId="1861"/>
            <ac:spMk id="128" creationId="{1FF3ACC3-933C-43FC-8D39-5B4CEC4880AA}"/>
          </ac:spMkLst>
        </pc:spChg>
        <pc:spChg chg="mod">
          <ac:chgData name="Soleil Yi" userId="c719b956-004a-4243-81dc-14be649b7814" providerId="ADAL" clId="{50DC4EE2-8FC0-47D5-B5D6-C6C1D4ED5A25}" dt="2022-09-13T07:08:08.581" v="3133" actId="947"/>
          <ac:spMkLst>
            <pc:docMk/>
            <pc:sldMk cId="399909942" sldId="1861"/>
            <ac:spMk id="129" creationId="{578B3627-514C-4CB6-9603-8C8729882CF4}"/>
          </ac:spMkLst>
        </pc:spChg>
        <pc:spChg chg="mod">
          <ac:chgData name="Soleil Yi" userId="c719b956-004a-4243-81dc-14be649b7814" providerId="ADAL" clId="{50DC4EE2-8FC0-47D5-B5D6-C6C1D4ED5A25}" dt="2022-09-13T07:08:08.597" v="3137" actId="947"/>
          <ac:spMkLst>
            <pc:docMk/>
            <pc:sldMk cId="399909942" sldId="1861"/>
            <ac:spMk id="130" creationId="{DECC1395-B80A-4FB3-9288-93889826CB6D}"/>
          </ac:spMkLst>
        </pc:spChg>
        <pc:spChg chg="mod">
          <ac:chgData name="Soleil Yi" userId="c719b956-004a-4243-81dc-14be649b7814" providerId="ADAL" clId="{50DC4EE2-8FC0-47D5-B5D6-C6C1D4ED5A25}" dt="2022-09-13T07:08:08.613" v="3141" actId="947"/>
          <ac:spMkLst>
            <pc:docMk/>
            <pc:sldMk cId="399909942" sldId="1861"/>
            <ac:spMk id="131" creationId="{94BF47CD-E3B5-4F67-91C1-85B481357625}"/>
          </ac:spMkLst>
        </pc:spChg>
        <pc:spChg chg="mod">
          <ac:chgData name="Soleil Yi" userId="c719b956-004a-4243-81dc-14be649b7814" providerId="ADAL" clId="{50DC4EE2-8FC0-47D5-B5D6-C6C1D4ED5A25}" dt="2022-09-13T07:08:08.635" v="3145" actId="947"/>
          <ac:spMkLst>
            <pc:docMk/>
            <pc:sldMk cId="399909942" sldId="1861"/>
            <ac:spMk id="132" creationId="{427759E9-DEFB-4610-B9B7-463B465B42DD}"/>
          </ac:spMkLst>
        </pc:spChg>
        <pc:spChg chg="mod">
          <ac:chgData name="Soleil Yi" userId="c719b956-004a-4243-81dc-14be649b7814" providerId="ADAL" clId="{50DC4EE2-8FC0-47D5-B5D6-C6C1D4ED5A25}" dt="2022-09-13T07:08:08.651" v="3149" actId="947"/>
          <ac:spMkLst>
            <pc:docMk/>
            <pc:sldMk cId="399909942" sldId="1861"/>
            <ac:spMk id="133" creationId="{9E1D8972-60BA-45EF-A8A5-FFD53D18C5F6}"/>
          </ac:spMkLst>
        </pc:spChg>
        <pc:spChg chg="mod">
          <ac:chgData name="Soleil Yi" userId="c719b956-004a-4243-81dc-14be649b7814" providerId="ADAL" clId="{50DC4EE2-8FC0-47D5-B5D6-C6C1D4ED5A25}" dt="2022-09-13T07:08:08.668" v="3153" actId="947"/>
          <ac:spMkLst>
            <pc:docMk/>
            <pc:sldMk cId="399909942" sldId="1861"/>
            <ac:spMk id="134" creationId="{7564378E-D594-4721-A40D-C49E57A2CFA1}"/>
          </ac:spMkLst>
        </pc:spChg>
        <pc:spChg chg="mod">
          <ac:chgData name="Soleil Yi" userId="c719b956-004a-4243-81dc-14be649b7814" providerId="ADAL" clId="{50DC4EE2-8FC0-47D5-B5D6-C6C1D4ED5A25}" dt="2022-09-13T07:08:08.684" v="3157" actId="947"/>
          <ac:spMkLst>
            <pc:docMk/>
            <pc:sldMk cId="399909942" sldId="1861"/>
            <ac:spMk id="135" creationId="{5735A1F9-BB64-4EDE-B10E-A1E80BFEA93C}"/>
          </ac:spMkLst>
        </pc:spChg>
        <pc:spChg chg="mod">
          <ac:chgData name="Soleil Yi" userId="c719b956-004a-4243-81dc-14be649b7814" providerId="ADAL" clId="{50DC4EE2-8FC0-47D5-B5D6-C6C1D4ED5A25}" dt="2022-09-13T07:08:08.701" v="3161" actId="947"/>
          <ac:spMkLst>
            <pc:docMk/>
            <pc:sldMk cId="399909942" sldId="1861"/>
            <ac:spMk id="136" creationId="{7625FB01-032F-401A-AE68-C7A2C0F043A3}"/>
          </ac:spMkLst>
        </pc:spChg>
        <pc:spChg chg="mod">
          <ac:chgData name="Soleil Yi" userId="c719b956-004a-4243-81dc-14be649b7814" providerId="ADAL" clId="{50DC4EE2-8FC0-47D5-B5D6-C6C1D4ED5A25}" dt="2022-09-13T07:08:08.718" v="3165" actId="947"/>
          <ac:spMkLst>
            <pc:docMk/>
            <pc:sldMk cId="399909942" sldId="1861"/>
            <ac:spMk id="137" creationId="{BC246C7E-01B2-4394-A176-A70B1C291575}"/>
          </ac:spMkLst>
        </pc:spChg>
        <pc:spChg chg="mod">
          <ac:chgData name="Soleil Yi" userId="c719b956-004a-4243-81dc-14be649b7814" providerId="ADAL" clId="{50DC4EE2-8FC0-47D5-B5D6-C6C1D4ED5A25}" dt="2022-09-13T07:08:08.733" v="3169" actId="947"/>
          <ac:spMkLst>
            <pc:docMk/>
            <pc:sldMk cId="399909942" sldId="1861"/>
            <ac:spMk id="138" creationId="{F30E0241-1D7F-4BCA-BE9C-883EE8E09A64}"/>
          </ac:spMkLst>
        </pc:spChg>
        <pc:spChg chg="mod">
          <ac:chgData name="Soleil Yi" userId="c719b956-004a-4243-81dc-14be649b7814" providerId="ADAL" clId="{50DC4EE2-8FC0-47D5-B5D6-C6C1D4ED5A25}" dt="2022-09-13T07:08:08.750" v="3173" actId="947"/>
          <ac:spMkLst>
            <pc:docMk/>
            <pc:sldMk cId="399909942" sldId="1861"/>
            <ac:spMk id="139" creationId="{B7331C07-CE9E-48A8-AFAD-237F98670BB1}"/>
          </ac:spMkLst>
        </pc:spChg>
        <pc:spChg chg="mod">
          <ac:chgData name="Soleil Yi" userId="c719b956-004a-4243-81dc-14be649b7814" providerId="ADAL" clId="{50DC4EE2-8FC0-47D5-B5D6-C6C1D4ED5A25}" dt="2022-09-13T07:08:08.765" v="3177" actId="947"/>
          <ac:spMkLst>
            <pc:docMk/>
            <pc:sldMk cId="399909942" sldId="1861"/>
            <ac:spMk id="140" creationId="{A60D1D86-3CF2-40F9-AD81-3D1B19326085}"/>
          </ac:spMkLst>
        </pc:spChg>
        <pc:spChg chg="mod">
          <ac:chgData name="Soleil Yi" userId="c719b956-004a-4243-81dc-14be649b7814" providerId="ADAL" clId="{50DC4EE2-8FC0-47D5-B5D6-C6C1D4ED5A25}" dt="2022-09-13T07:08:08.780" v="3181" actId="947"/>
          <ac:spMkLst>
            <pc:docMk/>
            <pc:sldMk cId="399909942" sldId="1861"/>
            <ac:spMk id="141" creationId="{BC8252EE-602A-4192-B8E7-2F744A750B92}"/>
          </ac:spMkLst>
        </pc:spChg>
        <pc:spChg chg="mod">
          <ac:chgData name="Soleil Yi" userId="c719b956-004a-4243-81dc-14be649b7814" providerId="ADAL" clId="{50DC4EE2-8FC0-47D5-B5D6-C6C1D4ED5A25}" dt="2022-09-13T07:08:08.796" v="3185" actId="947"/>
          <ac:spMkLst>
            <pc:docMk/>
            <pc:sldMk cId="399909942" sldId="1861"/>
            <ac:spMk id="142" creationId="{3B82A66D-922C-44F2-A1BE-4CD0947BDC0F}"/>
          </ac:spMkLst>
        </pc:spChg>
        <pc:spChg chg="mod">
          <ac:chgData name="Soleil Yi" userId="c719b956-004a-4243-81dc-14be649b7814" providerId="ADAL" clId="{50DC4EE2-8FC0-47D5-B5D6-C6C1D4ED5A25}" dt="2022-09-13T07:08:08.814" v="3189" actId="947"/>
          <ac:spMkLst>
            <pc:docMk/>
            <pc:sldMk cId="399909942" sldId="1861"/>
            <ac:spMk id="143" creationId="{663CE6AF-7359-40C2-B206-8144270A0831}"/>
          </ac:spMkLst>
        </pc:spChg>
        <pc:spChg chg="mod">
          <ac:chgData name="Soleil Yi" userId="c719b956-004a-4243-81dc-14be649b7814" providerId="ADAL" clId="{50DC4EE2-8FC0-47D5-B5D6-C6C1D4ED5A25}" dt="2022-09-13T07:08:08.832" v="3193" actId="947"/>
          <ac:spMkLst>
            <pc:docMk/>
            <pc:sldMk cId="399909942" sldId="1861"/>
            <ac:spMk id="144" creationId="{39861C91-2ECD-4A6E-A1AF-9C2B0054CF53}"/>
          </ac:spMkLst>
        </pc:spChg>
        <pc:spChg chg="mod">
          <ac:chgData name="Soleil Yi" userId="c719b956-004a-4243-81dc-14be649b7814" providerId="ADAL" clId="{50DC4EE2-8FC0-47D5-B5D6-C6C1D4ED5A25}" dt="2022-09-13T07:08:08.850" v="3197" actId="947"/>
          <ac:spMkLst>
            <pc:docMk/>
            <pc:sldMk cId="399909942" sldId="1861"/>
            <ac:spMk id="145" creationId="{BEEF084A-65C3-4FD1-9F88-9CCC5899CB21}"/>
          </ac:spMkLst>
        </pc:spChg>
        <pc:spChg chg="mod">
          <ac:chgData name="Soleil Yi" userId="c719b956-004a-4243-81dc-14be649b7814" providerId="ADAL" clId="{50DC4EE2-8FC0-47D5-B5D6-C6C1D4ED5A25}" dt="2022-09-13T07:08:08.867" v="3201" actId="947"/>
          <ac:spMkLst>
            <pc:docMk/>
            <pc:sldMk cId="399909942" sldId="1861"/>
            <ac:spMk id="146" creationId="{8FB6B687-0CCF-41A3-AF78-BD7FAA10AFA2}"/>
          </ac:spMkLst>
        </pc:spChg>
        <pc:spChg chg="mod">
          <ac:chgData name="Soleil Yi" userId="c719b956-004a-4243-81dc-14be649b7814" providerId="ADAL" clId="{50DC4EE2-8FC0-47D5-B5D6-C6C1D4ED5A25}" dt="2022-09-13T07:08:08.884" v="3205" actId="947"/>
          <ac:spMkLst>
            <pc:docMk/>
            <pc:sldMk cId="399909942" sldId="1861"/>
            <ac:spMk id="147" creationId="{30CB1789-B1CC-4D13-AFE5-87321E393266}"/>
          </ac:spMkLst>
        </pc:spChg>
        <pc:spChg chg="mod">
          <ac:chgData name="Soleil Yi" userId="c719b956-004a-4243-81dc-14be649b7814" providerId="ADAL" clId="{50DC4EE2-8FC0-47D5-B5D6-C6C1D4ED5A25}" dt="2022-09-13T07:08:08.900" v="3209" actId="947"/>
          <ac:spMkLst>
            <pc:docMk/>
            <pc:sldMk cId="399909942" sldId="1861"/>
            <ac:spMk id="148" creationId="{ABCFBCEB-4D09-40C9-B4DA-EDFBEED550F9}"/>
          </ac:spMkLst>
        </pc:spChg>
        <pc:spChg chg="mod">
          <ac:chgData name="Soleil Yi" userId="c719b956-004a-4243-81dc-14be649b7814" providerId="ADAL" clId="{50DC4EE2-8FC0-47D5-B5D6-C6C1D4ED5A25}" dt="2022-09-13T07:08:08.917" v="3213" actId="947"/>
          <ac:spMkLst>
            <pc:docMk/>
            <pc:sldMk cId="399909942" sldId="1861"/>
            <ac:spMk id="149" creationId="{4E2103C2-2DD4-427B-BA0C-140E9F153AB3}"/>
          </ac:spMkLst>
        </pc:spChg>
        <pc:spChg chg="mod">
          <ac:chgData name="Soleil Yi" userId="c719b956-004a-4243-81dc-14be649b7814" providerId="ADAL" clId="{50DC4EE2-8FC0-47D5-B5D6-C6C1D4ED5A25}" dt="2022-09-13T07:08:08.932" v="3217" actId="947"/>
          <ac:spMkLst>
            <pc:docMk/>
            <pc:sldMk cId="399909942" sldId="1861"/>
            <ac:spMk id="150" creationId="{65AFDB21-FD85-4AA6-9E3A-437A0329AF85}"/>
          </ac:spMkLst>
        </pc:spChg>
        <pc:spChg chg="mod">
          <ac:chgData name="Soleil Yi" userId="c719b956-004a-4243-81dc-14be649b7814" providerId="ADAL" clId="{50DC4EE2-8FC0-47D5-B5D6-C6C1D4ED5A25}" dt="2022-09-13T07:08:08.947" v="3221" actId="947"/>
          <ac:spMkLst>
            <pc:docMk/>
            <pc:sldMk cId="399909942" sldId="1861"/>
            <ac:spMk id="151" creationId="{8E4CF405-DB0F-42A9-BF1F-0ADE20559931}"/>
          </ac:spMkLst>
        </pc:spChg>
        <pc:spChg chg="mod">
          <ac:chgData name="Soleil Yi" userId="c719b956-004a-4243-81dc-14be649b7814" providerId="ADAL" clId="{50DC4EE2-8FC0-47D5-B5D6-C6C1D4ED5A25}" dt="2022-09-13T07:08:08.965" v="3225" actId="947"/>
          <ac:spMkLst>
            <pc:docMk/>
            <pc:sldMk cId="399909942" sldId="1861"/>
            <ac:spMk id="152" creationId="{BA63638A-BBC7-4568-8720-FF23F798DC4A}"/>
          </ac:spMkLst>
        </pc:spChg>
        <pc:spChg chg="mod">
          <ac:chgData name="Soleil Yi" userId="c719b956-004a-4243-81dc-14be649b7814" providerId="ADAL" clId="{50DC4EE2-8FC0-47D5-B5D6-C6C1D4ED5A25}" dt="2022-09-13T07:08:08.980" v="3229" actId="947"/>
          <ac:spMkLst>
            <pc:docMk/>
            <pc:sldMk cId="399909942" sldId="1861"/>
            <ac:spMk id="153" creationId="{12C8272D-41C9-44DF-BC04-615F220DF475}"/>
          </ac:spMkLst>
        </pc:spChg>
        <pc:spChg chg="mod">
          <ac:chgData name="Soleil Yi" userId="c719b956-004a-4243-81dc-14be649b7814" providerId="ADAL" clId="{50DC4EE2-8FC0-47D5-B5D6-C6C1D4ED5A25}" dt="2022-09-13T07:08:08.996" v="3233" actId="947"/>
          <ac:spMkLst>
            <pc:docMk/>
            <pc:sldMk cId="399909942" sldId="1861"/>
            <ac:spMk id="154" creationId="{6CEB8576-8D25-42CE-871C-33530F354ABF}"/>
          </ac:spMkLst>
        </pc:spChg>
      </pc:sldChg>
      <pc:sldChg chg="modSp mod">
        <pc:chgData name="Soleil Yi" userId="c719b956-004a-4243-81dc-14be649b7814" providerId="ADAL" clId="{50DC4EE2-8FC0-47D5-B5D6-C6C1D4ED5A25}" dt="2022-09-13T07:08:11.330" v="3837"/>
        <pc:sldMkLst>
          <pc:docMk/>
          <pc:sldMk cId="4106035081" sldId="1862"/>
        </pc:sldMkLst>
        <pc:spChg chg="mod">
          <ac:chgData name="Soleil Yi" userId="c719b956-004a-4243-81dc-14be649b7814" providerId="ADAL" clId="{50DC4EE2-8FC0-47D5-B5D6-C6C1D4ED5A25}" dt="2022-09-13T07:08:10.635" v="3617" actId="947"/>
          <ac:spMkLst>
            <pc:docMk/>
            <pc:sldMk cId="4106035081" sldId="1862"/>
            <ac:spMk id="2" creationId="{93B1C08F-DAC4-4A92-8CA4-FADF97A16AEB}"/>
          </ac:spMkLst>
        </pc:spChg>
        <pc:spChg chg="mod">
          <ac:chgData name="Soleil Yi" userId="c719b956-004a-4243-81dc-14be649b7814" providerId="ADAL" clId="{50DC4EE2-8FC0-47D5-B5D6-C6C1D4ED5A25}" dt="2022-09-13T07:08:10.773" v="3658" actId="947"/>
          <ac:spMkLst>
            <pc:docMk/>
            <pc:sldMk cId="4106035081" sldId="1862"/>
            <ac:spMk id="3" creationId="{D436BD1E-82A5-4699-BA76-C1D6EE7D510B}"/>
          </ac:spMkLst>
        </pc:spChg>
        <pc:spChg chg="mod">
          <ac:chgData name="Soleil Yi" userId="c719b956-004a-4243-81dc-14be649b7814" providerId="ADAL" clId="{50DC4EE2-8FC0-47D5-B5D6-C6C1D4ED5A25}" dt="2022-09-13T07:08:10.781" v="3661" actId="947"/>
          <ac:spMkLst>
            <pc:docMk/>
            <pc:sldMk cId="4106035081" sldId="1862"/>
            <ac:spMk id="4" creationId="{E70E009C-7DA0-4A77-AE35-B2C26E5C236D}"/>
          </ac:spMkLst>
        </pc:spChg>
        <pc:spChg chg="mod">
          <ac:chgData name="Soleil Yi" userId="c719b956-004a-4243-81dc-14be649b7814" providerId="ADAL" clId="{50DC4EE2-8FC0-47D5-B5D6-C6C1D4ED5A25}" dt="2022-09-13T07:08:10.798" v="3668" actId="947"/>
          <ac:spMkLst>
            <pc:docMk/>
            <pc:sldMk cId="4106035081" sldId="1862"/>
            <ac:spMk id="6" creationId="{8F2AEA44-08CF-4086-B96B-428234F935A5}"/>
          </ac:spMkLst>
        </pc:spChg>
        <pc:spChg chg="mod">
          <ac:chgData name="Soleil Yi" userId="c719b956-004a-4243-81dc-14be649b7814" providerId="ADAL" clId="{50DC4EE2-8FC0-47D5-B5D6-C6C1D4ED5A25}" dt="2022-09-13T07:08:10.760" v="3653" actId="947"/>
          <ac:spMkLst>
            <pc:docMk/>
            <pc:sldMk cId="4106035081" sldId="1862"/>
            <ac:spMk id="13" creationId="{5A897CE5-6418-4BE9-9133-38CB916ACB34}"/>
          </ac:spMkLst>
        </pc:spChg>
        <pc:spChg chg="mod">
          <ac:chgData name="Soleil Yi" userId="c719b956-004a-4243-81dc-14be649b7814" providerId="ADAL" clId="{50DC4EE2-8FC0-47D5-B5D6-C6C1D4ED5A25}" dt="2022-09-13T07:08:10.793" v="3666" actId="947"/>
          <ac:spMkLst>
            <pc:docMk/>
            <pc:sldMk cId="4106035081" sldId="1862"/>
            <ac:spMk id="14" creationId="{0E45D583-FCBC-4ACE-803C-72C1AF15C7F6}"/>
          </ac:spMkLst>
        </pc:spChg>
        <pc:spChg chg="mod">
          <ac:chgData name="Soleil Yi" userId="c719b956-004a-4243-81dc-14be649b7814" providerId="ADAL" clId="{50DC4EE2-8FC0-47D5-B5D6-C6C1D4ED5A25}" dt="2022-09-13T07:08:10.790" v="3665" actId="947"/>
          <ac:spMkLst>
            <pc:docMk/>
            <pc:sldMk cId="4106035081" sldId="1862"/>
            <ac:spMk id="15" creationId="{64A452B9-48B1-4872-9AEE-7B44CBD605F9}"/>
          </ac:spMkLst>
        </pc:spChg>
        <pc:spChg chg="mod">
          <ac:chgData name="Soleil Yi" userId="c719b956-004a-4243-81dc-14be649b7814" providerId="ADAL" clId="{50DC4EE2-8FC0-47D5-B5D6-C6C1D4ED5A25}" dt="2022-09-13T07:08:10.796" v="3667" actId="947"/>
          <ac:spMkLst>
            <pc:docMk/>
            <pc:sldMk cId="4106035081" sldId="1862"/>
            <ac:spMk id="16" creationId="{E88C541E-B19D-47D9-AA5E-643FD532E2DF}"/>
          </ac:spMkLst>
        </pc:spChg>
        <pc:spChg chg="mod">
          <ac:chgData name="Soleil Yi" userId="c719b956-004a-4243-81dc-14be649b7814" providerId="ADAL" clId="{50DC4EE2-8FC0-47D5-B5D6-C6C1D4ED5A25}" dt="2022-09-13T07:08:10.800" v="3669" actId="947"/>
          <ac:spMkLst>
            <pc:docMk/>
            <pc:sldMk cId="4106035081" sldId="1862"/>
            <ac:spMk id="17" creationId="{5C8419C7-0716-4603-8185-ACCD1996BDAF}"/>
          </ac:spMkLst>
        </pc:spChg>
        <pc:spChg chg="mod">
          <ac:chgData name="Soleil Yi" userId="c719b956-004a-4243-81dc-14be649b7814" providerId="ADAL" clId="{50DC4EE2-8FC0-47D5-B5D6-C6C1D4ED5A25}" dt="2022-09-13T07:08:10.785" v="3663" actId="947"/>
          <ac:spMkLst>
            <pc:docMk/>
            <pc:sldMk cId="4106035081" sldId="1862"/>
            <ac:spMk id="18" creationId="{C97785A4-03D5-4CF5-86A1-AC008B17638A}"/>
          </ac:spMkLst>
        </pc:spChg>
        <pc:spChg chg="mod">
          <ac:chgData name="Soleil Yi" userId="c719b956-004a-4243-81dc-14be649b7814" providerId="ADAL" clId="{50DC4EE2-8FC0-47D5-B5D6-C6C1D4ED5A25}" dt="2022-09-13T07:08:10.767" v="3655" actId="947"/>
          <ac:spMkLst>
            <pc:docMk/>
            <pc:sldMk cId="4106035081" sldId="1862"/>
            <ac:spMk id="19" creationId="{F079E017-76D9-450F-B1DF-06752D23478E}"/>
          </ac:spMkLst>
        </pc:spChg>
        <pc:spChg chg="mod">
          <ac:chgData name="Soleil Yi" userId="c719b956-004a-4243-81dc-14be649b7814" providerId="ADAL" clId="{50DC4EE2-8FC0-47D5-B5D6-C6C1D4ED5A25}" dt="2022-09-13T07:08:10.826" v="3684" actId="947"/>
          <ac:spMkLst>
            <pc:docMk/>
            <pc:sldMk cId="4106035081" sldId="1862"/>
            <ac:spMk id="20" creationId="{BF53B94B-F411-4407-B97B-D18C73F51FAF}"/>
          </ac:spMkLst>
        </pc:spChg>
        <pc:spChg chg="mod">
          <ac:chgData name="Soleil Yi" userId="c719b956-004a-4243-81dc-14be649b7814" providerId="ADAL" clId="{50DC4EE2-8FC0-47D5-B5D6-C6C1D4ED5A25}" dt="2022-09-13T07:08:10.771" v="3657" actId="947"/>
          <ac:spMkLst>
            <pc:docMk/>
            <pc:sldMk cId="4106035081" sldId="1862"/>
            <ac:spMk id="21" creationId="{68F84769-2193-44A2-BFD1-7CE4C5F35D0B}"/>
          </ac:spMkLst>
        </pc:spChg>
        <pc:spChg chg="mod">
          <ac:chgData name="Soleil Yi" userId="c719b956-004a-4243-81dc-14be649b7814" providerId="ADAL" clId="{50DC4EE2-8FC0-47D5-B5D6-C6C1D4ED5A25}" dt="2022-09-13T07:08:10.827" v="3685" actId="947"/>
          <ac:spMkLst>
            <pc:docMk/>
            <pc:sldMk cId="4106035081" sldId="1862"/>
            <ac:spMk id="22" creationId="{7D84F04C-A547-4B97-8AA6-F9A9DF24241E}"/>
          </ac:spMkLst>
        </pc:spChg>
        <pc:spChg chg="mod">
          <ac:chgData name="Soleil Yi" userId="c719b956-004a-4243-81dc-14be649b7814" providerId="ADAL" clId="{50DC4EE2-8FC0-47D5-B5D6-C6C1D4ED5A25}" dt="2022-09-13T07:08:10.755" v="3650"/>
          <ac:spMkLst>
            <pc:docMk/>
            <pc:sldMk cId="4106035081" sldId="1862"/>
            <ac:spMk id="122" creationId="{10B166FE-69FA-4415-9143-FA2C80BCFB2F}"/>
          </ac:spMkLst>
        </pc:spChg>
        <pc:spChg chg="mod">
          <ac:chgData name="Soleil Yi" userId="c719b956-004a-4243-81dc-14be649b7814" providerId="ADAL" clId="{50DC4EE2-8FC0-47D5-B5D6-C6C1D4ED5A25}" dt="2022-09-13T07:08:10.820" v="3681"/>
          <ac:spMkLst>
            <pc:docMk/>
            <pc:sldMk cId="4106035081" sldId="1862"/>
            <ac:spMk id="123" creationId="{62377F12-4400-416B-8083-9F02152875E0}"/>
          </ac:spMkLst>
        </pc:spChg>
        <pc:spChg chg="mod">
          <ac:chgData name="Soleil Yi" userId="c719b956-004a-4243-81dc-14be649b7814" providerId="ADAL" clId="{50DC4EE2-8FC0-47D5-B5D6-C6C1D4ED5A25}" dt="2022-09-13T07:08:10.838" v="3689"/>
          <ac:spMkLst>
            <pc:docMk/>
            <pc:sldMk cId="4106035081" sldId="1862"/>
            <ac:spMk id="124" creationId="{75F3686E-7A2F-4D54-9DFD-062FBC8C562A}"/>
          </ac:spMkLst>
        </pc:spChg>
        <pc:spChg chg="mod">
          <ac:chgData name="Soleil Yi" userId="c719b956-004a-4243-81dc-14be649b7814" providerId="ADAL" clId="{50DC4EE2-8FC0-47D5-B5D6-C6C1D4ED5A25}" dt="2022-09-13T07:08:10.852" v="3693"/>
          <ac:spMkLst>
            <pc:docMk/>
            <pc:sldMk cId="4106035081" sldId="1862"/>
            <ac:spMk id="125" creationId="{772B8B73-F7CB-4975-8111-5ED60CB2D716}"/>
          </ac:spMkLst>
        </pc:spChg>
        <pc:spChg chg="mod">
          <ac:chgData name="Soleil Yi" userId="c719b956-004a-4243-81dc-14be649b7814" providerId="ADAL" clId="{50DC4EE2-8FC0-47D5-B5D6-C6C1D4ED5A25}" dt="2022-09-13T07:08:10.864" v="3697"/>
          <ac:spMkLst>
            <pc:docMk/>
            <pc:sldMk cId="4106035081" sldId="1862"/>
            <ac:spMk id="126" creationId="{9FF8F5BE-79E5-47A4-B1D9-91F3ED92596B}"/>
          </ac:spMkLst>
        </pc:spChg>
        <pc:spChg chg="mod">
          <ac:chgData name="Soleil Yi" userId="c719b956-004a-4243-81dc-14be649b7814" providerId="ADAL" clId="{50DC4EE2-8FC0-47D5-B5D6-C6C1D4ED5A25}" dt="2022-09-13T07:08:10.880" v="3701"/>
          <ac:spMkLst>
            <pc:docMk/>
            <pc:sldMk cId="4106035081" sldId="1862"/>
            <ac:spMk id="127" creationId="{2C4DE0F5-3F03-4B54-A9D8-705C2A1382CE}"/>
          </ac:spMkLst>
        </pc:spChg>
        <pc:spChg chg="mod">
          <ac:chgData name="Soleil Yi" userId="c719b956-004a-4243-81dc-14be649b7814" providerId="ADAL" clId="{50DC4EE2-8FC0-47D5-B5D6-C6C1D4ED5A25}" dt="2022-09-13T07:08:10.893" v="3705"/>
          <ac:spMkLst>
            <pc:docMk/>
            <pc:sldMk cId="4106035081" sldId="1862"/>
            <ac:spMk id="128" creationId="{2D192F55-376C-4E59-9450-DAA605A1B3B3}"/>
          </ac:spMkLst>
        </pc:spChg>
        <pc:spChg chg="mod">
          <ac:chgData name="Soleil Yi" userId="c719b956-004a-4243-81dc-14be649b7814" providerId="ADAL" clId="{50DC4EE2-8FC0-47D5-B5D6-C6C1D4ED5A25}" dt="2022-09-13T07:08:10.905" v="3709"/>
          <ac:spMkLst>
            <pc:docMk/>
            <pc:sldMk cId="4106035081" sldId="1862"/>
            <ac:spMk id="129" creationId="{38DBFC0B-837B-4B1F-B08A-98B33D83FB96}"/>
          </ac:spMkLst>
        </pc:spChg>
        <pc:spChg chg="mod">
          <ac:chgData name="Soleil Yi" userId="c719b956-004a-4243-81dc-14be649b7814" providerId="ADAL" clId="{50DC4EE2-8FC0-47D5-B5D6-C6C1D4ED5A25}" dt="2022-09-13T07:08:10.921" v="3713"/>
          <ac:spMkLst>
            <pc:docMk/>
            <pc:sldMk cId="4106035081" sldId="1862"/>
            <ac:spMk id="130" creationId="{6869DF07-3461-421F-A279-D0A67E51F07B}"/>
          </ac:spMkLst>
        </pc:spChg>
        <pc:spChg chg="mod">
          <ac:chgData name="Soleil Yi" userId="c719b956-004a-4243-81dc-14be649b7814" providerId="ADAL" clId="{50DC4EE2-8FC0-47D5-B5D6-C6C1D4ED5A25}" dt="2022-09-13T07:08:10.933" v="3717"/>
          <ac:spMkLst>
            <pc:docMk/>
            <pc:sldMk cId="4106035081" sldId="1862"/>
            <ac:spMk id="131" creationId="{C8D3C29C-95BC-48AB-ACC3-ED1976A72E69}"/>
          </ac:spMkLst>
        </pc:spChg>
        <pc:spChg chg="mod">
          <ac:chgData name="Soleil Yi" userId="c719b956-004a-4243-81dc-14be649b7814" providerId="ADAL" clId="{50DC4EE2-8FC0-47D5-B5D6-C6C1D4ED5A25}" dt="2022-09-13T07:08:10.945" v="3721"/>
          <ac:spMkLst>
            <pc:docMk/>
            <pc:sldMk cId="4106035081" sldId="1862"/>
            <ac:spMk id="132" creationId="{9CFA7212-9FF4-423D-87EA-DC44BDC1DF93}"/>
          </ac:spMkLst>
        </pc:spChg>
        <pc:spChg chg="mod">
          <ac:chgData name="Soleil Yi" userId="c719b956-004a-4243-81dc-14be649b7814" providerId="ADAL" clId="{50DC4EE2-8FC0-47D5-B5D6-C6C1D4ED5A25}" dt="2022-09-13T07:08:10.957" v="3725"/>
          <ac:spMkLst>
            <pc:docMk/>
            <pc:sldMk cId="4106035081" sldId="1862"/>
            <ac:spMk id="133" creationId="{6B82B19A-BD88-4C39-ADDE-D72D9EA84AC6}"/>
          </ac:spMkLst>
        </pc:spChg>
        <pc:spChg chg="mod">
          <ac:chgData name="Soleil Yi" userId="c719b956-004a-4243-81dc-14be649b7814" providerId="ADAL" clId="{50DC4EE2-8FC0-47D5-B5D6-C6C1D4ED5A25}" dt="2022-09-13T07:08:10.969" v="3729"/>
          <ac:spMkLst>
            <pc:docMk/>
            <pc:sldMk cId="4106035081" sldId="1862"/>
            <ac:spMk id="134" creationId="{45759D5C-A10B-4B08-9CAC-E58962A5F550}"/>
          </ac:spMkLst>
        </pc:spChg>
        <pc:spChg chg="mod">
          <ac:chgData name="Soleil Yi" userId="c719b956-004a-4243-81dc-14be649b7814" providerId="ADAL" clId="{50DC4EE2-8FC0-47D5-B5D6-C6C1D4ED5A25}" dt="2022-09-13T07:08:10.982" v="3733"/>
          <ac:spMkLst>
            <pc:docMk/>
            <pc:sldMk cId="4106035081" sldId="1862"/>
            <ac:spMk id="135" creationId="{DAB793CC-6657-4513-BC31-803ACCFB732B}"/>
          </ac:spMkLst>
        </pc:spChg>
        <pc:spChg chg="mod">
          <ac:chgData name="Soleil Yi" userId="c719b956-004a-4243-81dc-14be649b7814" providerId="ADAL" clId="{50DC4EE2-8FC0-47D5-B5D6-C6C1D4ED5A25}" dt="2022-09-13T07:08:10.995" v="3737"/>
          <ac:spMkLst>
            <pc:docMk/>
            <pc:sldMk cId="4106035081" sldId="1862"/>
            <ac:spMk id="136" creationId="{CD9FE645-D1D7-4EA1-BBAD-B10FCF2EED6C}"/>
          </ac:spMkLst>
        </pc:spChg>
        <pc:spChg chg="mod">
          <ac:chgData name="Soleil Yi" userId="c719b956-004a-4243-81dc-14be649b7814" providerId="ADAL" clId="{50DC4EE2-8FC0-47D5-B5D6-C6C1D4ED5A25}" dt="2022-09-13T07:08:11.009" v="3741"/>
          <ac:spMkLst>
            <pc:docMk/>
            <pc:sldMk cId="4106035081" sldId="1862"/>
            <ac:spMk id="137" creationId="{387E8429-B384-4158-8659-3325A815031C}"/>
          </ac:spMkLst>
        </pc:spChg>
        <pc:spChg chg="mod">
          <ac:chgData name="Soleil Yi" userId="c719b956-004a-4243-81dc-14be649b7814" providerId="ADAL" clId="{50DC4EE2-8FC0-47D5-B5D6-C6C1D4ED5A25}" dt="2022-09-13T07:08:11.023" v="3745"/>
          <ac:spMkLst>
            <pc:docMk/>
            <pc:sldMk cId="4106035081" sldId="1862"/>
            <ac:spMk id="138" creationId="{6A9A3F39-8307-4134-A782-AA0514F43516}"/>
          </ac:spMkLst>
        </pc:spChg>
        <pc:spChg chg="mod">
          <ac:chgData name="Soleil Yi" userId="c719b956-004a-4243-81dc-14be649b7814" providerId="ADAL" clId="{50DC4EE2-8FC0-47D5-B5D6-C6C1D4ED5A25}" dt="2022-09-13T07:08:11.036" v="3749"/>
          <ac:spMkLst>
            <pc:docMk/>
            <pc:sldMk cId="4106035081" sldId="1862"/>
            <ac:spMk id="139" creationId="{6B3F00D8-3215-4C0C-A345-DC41E1F9F6D0}"/>
          </ac:spMkLst>
        </pc:spChg>
        <pc:spChg chg="mod">
          <ac:chgData name="Soleil Yi" userId="c719b956-004a-4243-81dc-14be649b7814" providerId="ADAL" clId="{50DC4EE2-8FC0-47D5-B5D6-C6C1D4ED5A25}" dt="2022-09-13T07:08:11.049" v="3753"/>
          <ac:spMkLst>
            <pc:docMk/>
            <pc:sldMk cId="4106035081" sldId="1862"/>
            <ac:spMk id="140" creationId="{578B6E3C-EADF-431D-A9F6-CEE162E28FBC}"/>
          </ac:spMkLst>
        </pc:spChg>
        <pc:spChg chg="mod">
          <ac:chgData name="Soleil Yi" userId="c719b956-004a-4243-81dc-14be649b7814" providerId="ADAL" clId="{50DC4EE2-8FC0-47D5-B5D6-C6C1D4ED5A25}" dt="2022-09-13T07:08:11.062" v="3757"/>
          <ac:spMkLst>
            <pc:docMk/>
            <pc:sldMk cId="4106035081" sldId="1862"/>
            <ac:spMk id="141" creationId="{7273F9F3-A43D-46E3-8B78-E0708068CE74}"/>
          </ac:spMkLst>
        </pc:spChg>
        <pc:spChg chg="mod">
          <ac:chgData name="Soleil Yi" userId="c719b956-004a-4243-81dc-14be649b7814" providerId="ADAL" clId="{50DC4EE2-8FC0-47D5-B5D6-C6C1D4ED5A25}" dt="2022-09-13T07:08:11.075" v="3761"/>
          <ac:spMkLst>
            <pc:docMk/>
            <pc:sldMk cId="4106035081" sldId="1862"/>
            <ac:spMk id="142" creationId="{FBE96081-ECF0-47FF-A60E-05DBBFD4CEB4}"/>
          </ac:spMkLst>
        </pc:spChg>
        <pc:spChg chg="mod">
          <ac:chgData name="Soleil Yi" userId="c719b956-004a-4243-81dc-14be649b7814" providerId="ADAL" clId="{50DC4EE2-8FC0-47D5-B5D6-C6C1D4ED5A25}" dt="2022-09-13T07:08:11.089" v="3765"/>
          <ac:spMkLst>
            <pc:docMk/>
            <pc:sldMk cId="4106035081" sldId="1862"/>
            <ac:spMk id="143" creationId="{6F13EE76-EC83-4F55-9AD0-C832DC591CEA}"/>
          </ac:spMkLst>
        </pc:spChg>
        <pc:spChg chg="mod">
          <ac:chgData name="Soleil Yi" userId="c719b956-004a-4243-81dc-14be649b7814" providerId="ADAL" clId="{50DC4EE2-8FC0-47D5-B5D6-C6C1D4ED5A25}" dt="2022-09-13T07:08:11.102" v="3769"/>
          <ac:spMkLst>
            <pc:docMk/>
            <pc:sldMk cId="4106035081" sldId="1862"/>
            <ac:spMk id="144" creationId="{57E90EB4-E5BB-4607-BA8D-088F3EE926C1}"/>
          </ac:spMkLst>
        </pc:spChg>
        <pc:spChg chg="mod">
          <ac:chgData name="Soleil Yi" userId="c719b956-004a-4243-81dc-14be649b7814" providerId="ADAL" clId="{50DC4EE2-8FC0-47D5-B5D6-C6C1D4ED5A25}" dt="2022-09-13T07:08:11.117" v="3773"/>
          <ac:spMkLst>
            <pc:docMk/>
            <pc:sldMk cId="4106035081" sldId="1862"/>
            <ac:spMk id="145" creationId="{539F2620-F1E7-450F-A1CE-1A23D9D4001C}"/>
          </ac:spMkLst>
        </pc:spChg>
        <pc:spChg chg="mod">
          <ac:chgData name="Soleil Yi" userId="c719b956-004a-4243-81dc-14be649b7814" providerId="ADAL" clId="{50DC4EE2-8FC0-47D5-B5D6-C6C1D4ED5A25}" dt="2022-09-13T07:08:11.130" v="3777"/>
          <ac:spMkLst>
            <pc:docMk/>
            <pc:sldMk cId="4106035081" sldId="1862"/>
            <ac:spMk id="146" creationId="{F951B934-DA43-41D3-BB81-CF49AE6CA120}"/>
          </ac:spMkLst>
        </pc:spChg>
        <pc:spChg chg="mod">
          <ac:chgData name="Soleil Yi" userId="c719b956-004a-4243-81dc-14be649b7814" providerId="ADAL" clId="{50DC4EE2-8FC0-47D5-B5D6-C6C1D4ED5A25}" dt="2022-09-13T07:08:11.142" v="3781"/>
          <ac:spMkLst>
            <pc:docMk/>
            <pc:sldMk cId="4106035081" sldId="1862"/>
            <ac:spMk id="147" creationId="{9F659C1F-B20B-4DE8-B193-7E7665BD3E42}"/>
          </ac:spMkLst>
        </pc:spChg>
        <pc:spChg chg="mod">
          <ac:chgData name="Soleil Yi" userId="c719b956-004a-4243-81dc-14be649b7814" providerId="ADAL" clId="{50DC4EE2-8FC0-47D5-B5D6-C6C1D4ED5A25}" dt="2022-09-13T07:08:11.154" v="3785"/>
          <ac:spMkLst>
            <pc:docMk/>
            <pc:sldMk cId="4106035081" sldId="1862"/>
            <ac:spMk id="148" creationId="{48D4D413-5FDC-4C4B-8E7A-EA526F69F393}"/>
          </ac:spMkLst>
        </pc:spChg>
        <pc:spChg chg="mod">
          <ac:chgData name="Soleil Yi" userId="c719b956-004a-4243-81dc-14be649b7814" providerId="ADAL" clId="{50DC4EE2-8FC0-47D5-B5D6-C6C1D4ED5A25}" dt="2022-09-13T07:08:11.170" v="3789"/>
          <ac:spMkLst>
            <pc:docMk/>
            <pc:sldMk cId="4106035081" sldId="1862"/>
            <ac:spMk id="149" creationId="{82BFA7D8-6F28-4D38-8E1D-2D6F5ADDD247}"/>
          </ac:spMkLst>
        </pc:spChg>
        <pc:spChg chg="mod">
          <ac:chgData name="Soleil Yi" userId="c719b956-004a-4243-81dc-14be649b7814" providerId="ADAL" clId="{50DC4EE2-8FC0-47D5-B5D6-C6C1D4ED5A25}" dt="2022-09-13T07:08:11.184" v="3793"/>
          <ac:spMkLst>
            <pc:docMk/>
            <pc:sldMk cId="4106035081" sldId="1862"/>
            <ac:spMk id="150" creationId="{3AB03170-EEFA-41F8-9802-4EDAD943E50F}"/>
          </ac:spMkLst>
        </pc:spChg>
        <pc:spChg chg="mod">
          <ac:chgData name="Soleil Yi" userId="c719b956-004a-4243-81dc-14be649b7814" providerId="ADAL" clId="{50DC4EE2-8FC0-47D5-B5D6-C6C1D4ED5A25}" dt="2022-09-13T07:08:11.196" v="3797"/>
          <ac:spMkLst>
            <pc:docMk/>
            <pc:sldMk cId="4106035081" sldId="1862"/>
            <ac:spMk id="151" creationId="{BA2C67E0-B804-4036-8C2E-A62A44990B88}"/>
          </ac:spMkLst>
        </pc:spChg>
        <pc:spChg chg="mod">
          <ac:chgData name="Soleil Yi" userId="c719b956-004a-4243-81dc-14be649b7814" providerId="ADAL" clId="{50DC4EE2-8FC0-47D5-B5D6-C6C1D4ED5A25}" dt="2022-09-13T07:08:11.208" v="3801"/>
          <ac:spMkLst>
            <pc:docMk/>
            <pc:sldMk cId="4106035081" sldId="1862"/>
            <ac:spMk id="152" creationId="{738930F9-0E89-4420-BC3E-E37C2F0DC416}"/>
          </ac:spMkLst>
        </pc:spChg>
        <pc:spChg chg="mod">
          <ac:chgData name="Soleil Yi" userId="c719b956-004a-4243-81dc-14be649b7814" providerId="ADAL" clId="{50DC4EE2-8FC0-47D5-B5D6-C6C1D4ED5A25}" dt="2022-09-13T07:08:11.220" v="3805"/>
          <ac:spMkLst>
            <pc:docMk/>
            <pc:sldMk cId="4106035081" sldId="1862"/>
            <ac:spMk id="153" creationId="{FBD828D5-AA4E-49F8-911E-5875113DF364}"/>
          </ac:spMkLst>
        </pc:spChg>
        <pc:spChg chg="mod">
          <ac:chgData name="Soleil Yi" userId="c719b956-004a-4243-81dc-14be649b7814" providerId="ADAL" clId="{50DC4EE2-8FC0-47D5-B5D6-C6C1D4ED5A25}" dt="2022-09-13T07:08:11.232" v="3809"/>
          <ac:spMkLst>
            <pc:docMk/>
            <pc:sldMk cId="4106035081" sldId="1862"/>
            <ac:spMk id="154" creationId="{748C215E-D659-4B50-8181-CF78A95A76FF}"/>
          </ac:spMkLst>
        </pc:spChg>
        <pc:spChg chg="mod">
          <ac:chgData name="Soleil Yi" userId="c719b956-004a-4243-81dc-14be649b7814" providerId="ADAL" clId="{50DC4EE2-8FC0-47D5-B5D6-C6C1D4ED5A25}" dt="2022-09-13T07:08:11.245" v="3813"/>
          <ac:spMkLst>
            <pc:docMk/>
            <pc:sldMk cId="4106035081" sldId="1862"/>
            <ac:spMk id="155" creationId="{61F3C4C9-004A-4507-A34C-A456582805F7}"/>
          </ac:spMkLst>
        </pc:spChg>
        <pc:spChg chg="mod">
          <ac:chgData name="Soleil Yi" userId="c719b956-004a-4243-81dc-14be649b7814" providerId="ADAL" clId="{50DC4EE2-8FC0-47D5-B5D6-C6C1D4ED5A25}" dt="2022-09-13T07:08:11.259" v="3817"/>
          <ac:spMkLst>
            <pc:docMk/>
            <pc:sldMk cId="4106035081" sldId="1862"/>
            <ac:spMk id="156" creationId="{BC66C36F-C1EB-4E75-B0D8-5E9083375852}"/>
          </ac:spMkLst>
        </pc:spChg>
        <pc:spChg chg="mod">
          <ac:chgData name="Soleil Yi" userId="c719b956-004a-4243-81dc-14be649b7814" providerId="ADAL" clId="{50DC4EE2-8FC0-47D5-B5D6-C6C1D4ED5A25}" dt="2022-09-13T07:08:11.275" v="3821"/>
          <ac:spMkLst>
            <pc:docMk/>
            <pc:sldMk cId="4106035081" sldId="1862"/>
            <ac:spMk id="157" creationId="{34218A3B-F4E5-4EA6-B515-22E1FF4A76B0}"/>
          </ac:spMkLst>
        </pc:spChg>
        <pc:spChg chg="mod">
          <ac:chgData name="Soleil Yi" userId="c719b956-004a-4243-81dc-14be649b7814" providerId="ADAL" clId="{50DC4EE2-8FC0-47D5-B5D6-C6C1D4ED5A25}" dt="2022-09-13T07:08:11.288" v="3825"/>
          <ac:spMkLst>
            <pc:docMk/>
            <pc:sldMk cId="4106035081" sldId="1862"/>
            <ac:spMk id="158" creationId="{DC7B6E74-C9DA-4DA0-BA50-C69889B8FE2D}"/>
          </ac:spMkLst>
        </pc:spChg>
        <pc:spChg chg="mod">
          <ac:chgData name="Soleil Yi" userId="c719b956-004a-4243-81dc-14be649b7814" providerId="ADAL" clId="{50DC4EE2-8FC0-47D5-B5D6-C6C1D4ED5A25}" dt="2022-09-13T07:08:11.300" v="3829"/>
          <ac:spMkLst>
            <pc:docMk/>
            <pc:sldMk cId="4106035081" sldId="1862"/>
            <ac:spMk id="159" creationId="{45D16FC4-B8F1-48EC-A8E0-8CA4122D00F4}"/>
          </ac:spMkLst>
        </pc:spChg>
        <pc:spChg chg="mod">
          <ac:chgData name="Soleil Yi" userId="c719b956-004a-4243-81dc-14be649b7814" providerId="ADAL" clId="{50DC4EE2-8FC0-47D5-B5D6-C6C1D4ED5A25}" dt="2022-09-13T07:08:11.312" v="3833"/>
          <ac:spMkLst>
            <pc:docMk/>
            <pc:sldMk cId="4106035081" sldId="1862"/>
            <ac:spMk id="160" creationId="{A1CDCEEE-4428-427B-8B6B-517D63580E51}"/>
          </ac:spMkLst>
        </pc:spChg>
        <pc:spChg chg="mod">
          <ac:chgData name="Soleil Yi" userId="c719b956-004a-4243-81dc-14be649b7814" providerId="ADAL" clId="{50DC4EE2-8FC0-47D5-B5D6-C6C1D4ED5A25}" dt="2022-09-13T07:08:11.330" v="3837"/>
          <ac:spMkLst>
            <pc:docMk/>
            <pc:sldMk cId="4106035081" sldId="1862"/>
            <ac:spMk id="161" creationId="{66194A62-A706-43C4-8124-43CD6627CCB2}"/>
          </ac:spMkLst>
        </pc:spChg>
        <pc:spChg chg="mod">
          <ac:chgData name="Soleil Yi" userId="c719b956-004a-4243-81dc-14be649b7814" providerId="ADAL" clId="{50DC4EE2-8FC0-47D5-B5D6-C6C1D4ED5A25}" dt="2022-09-13T07:08:10.757" v="3651" actId="947"/>
          <ac:spMkLst>
            <pc:docMk/>
            <pc:sldMk cId="4106035081" sldId="1862"/>
            <ac:spMk id="163" creationId="{3497CC79-AE2A-41CC-81FC-C4A473A30846}"/>
          </ac:spMkLst>
        </pc:spChg>
        <pc:spChg chg="mod">
          <ac:chgData name="Soleil Yi" userId="c719b956-004a-4243-81dc-14be649b7814" providerId="ADAL" clId="{50DC4EE2-8FC0-47D5-B5D6-C6C1D4ED5A25}" dt="2022-09-13T07:08:10.822" v="3682" actId="947"/>
          <ac:spMkLst>
            <pc:docMk/>
            <pc:sldMk cId="4106035081" sldId="1862"/>
            <ac:spMk id="164" creationId="{3BD41578-DDF0-4759-9CBB-1EF4F7333DE0}"/>
          </ac:spMkLst>
        </pc:spChg>
      </pc:sldChg>
      <pc:sldChg chg="modSp mod">
        <pc:chgData name="Soleil Yi" userId="c719b956-004a-4243-81dc-14be649b7814" providerId="ADAL" clId="{50DC4EE2-8FC0-47D5-B5D6-C6C1D4ED5A25}" dt="2022-09-13T07:08:04.587" v="2081"/>
        <pc:sldMkLst>
          <pc:docMk/>
          <pc:sldMk cId="895792438" sldId="1863"/>
        </pc:sldMkLst>
        <pc:spChg chg="mod">
          <ac:chgData name="Soleil Yi" userId="c719b956-004a-4243-81dc-14be649b7814" providerId="ADAL" clId="{50DC4EE2-8FC0-47D5-B5D6-C6C1D4ED5A25}" dt="2022-09-13T07:08:04.352" v="2013" actId="947"/>
          <ac:spMkLst>
            <pc:docMk/>
            <pc:sldMk cId="895792438" sldId="1863"/>
            <ac:spMk id="2" creationId="{F153A4E0-094A-4144-8C1C-75C6B5D58663}"/>
          </ac:spMkLst>
        </pc:spChg>
        <pc:spChg chg="mod">
          <ac:chgData name="Soleil Yi" userId="c719b956-004a-4243-81dc-14be649b7814" providerId="ADAL" clId="{50DC4EE2-8FC0-47D5-B5D6-C6C1D4ED5A25}" dt="2022-09-13T07:08:04.390" v="2025" actId="947"/>
          <ac:spMkLst>
            <pc:docMk/>
            <pc:sldMk cId="895792438" sldId="1863"/>
            <ac:spMk id="3" creationId="{E6038584-3D8E-4BCD-AF5B-7A6EBAC6A887}"/>
          </ac:spMkLst>
        </pc:spChg>
        <pc:spChg chg="mod">
          <ac:chgData name="Soleil Yi" userId="c719b956-004a-4243-81dc-14be649b7814" providerId="ADAL" clId="{50DC4EE2-8FC0-47D5-B5D6-C6C1D4ED5A25}" dt="2022-09-13T07:08:04.388" v="2024" actId="947"/>
          <ac:spMkLst>
            <pc:docMk/>
            <pc:sldMk cId="895792438" sldId="1863"/>
            <ac:spMk id="4" creationId="{F0E38F0F-2B3E-4CD9-9689-30B1CE90478D}"/>
          </ac:spMkLst>
        </pc:spChg>
        <pc:spChg chg="mod">
          <ac:chgData name="Soleil Yi" userId="c719b956-004a-4243-81dc-14be649b7814" providerId="ADAL" clId="{50DC4EE2-8FC0-47D5-B5D6-C6C1D4ED5A25}" dt="2022-09-13T07:08:04.497" v="2057" actId="947"/>
          <ac:spMkLst>
            <pc:docMk/>
            <pc:sldMk cId="895792438" sldId="1863"/>
            <ac:spMk id="113" creationId="{DB9D9632-25ED-4D44-B265-2A2F3B0FE5BD}"/>
          </ac:spMkLst>
        </pc:spChg>
        <pc:spChg chg="mod">
          <ac:chgData name="Soleil Yi" userId="c719b956-004a-4243-81dc-14be649b7814" providerId="ADAL" clId="{50DC4EE2-8FC0-47D5-B5D6-C6C1D4ED5A25}" dt="2022-09-13T07:08:04.512" v="2061" actId="947"/>
          <ac:spMkLst>
            <pc:docMk/>
            <pc:sldMk cId="895792438" sldId="1863"/>
            <ac:spMk id="114" creationId="{5F0D1427-561F-49E1-8BCB-200FE242AC33}"/>
          </ac:spMkLst>
        </pc:spChg>
        <pc:spChg chg="mod">
          <ac:chgData name="Soleil Yi" userId="c719b956-004a-4243-81dc-14be649b7814" providerId="ADAL" clId="{50DC4EE2-8FC0-47D5-B5D6-C6C1D4ED5A25}" dt="2022-09-13T07:08:04.527" v="2065" actId="947"/>
          <ac:spMkLst>
            <pc:docMk/>
            <pc:sldMk cId="895792438" sldId="1863"/>
            <ac:spMk id="115" creationId="{9C2D7D85-D7D7-45DC-BD48-450FAF7961A9}"/>
          </ac:spMkLst>
        </pc:spChg>
        <pc:spChg chg="mod">
          <ac:chgData name="Soleil Yi" userId="c719b956-004a-4243-81dc-14be649b7814" providerId="ADAL" clId="{50DC4EE2-8FC0-47D5-B5D6-C6C1D4ED5A25}" dt="2022-09-13T07:08:04.543" v="2069" actId="947"/>
          <ac:spMkLst>
            <pc:docMk/>
            <pc:sldMk cId="895792438" sldId="1863"/>
            <ac:spMk id="116" creationId="{07EDF83C-2EF4-4DC2-AE7E-4C17D2D1CC2D}"/>
          </ac:spMkLst>
        </pc:spChg>
        <pc:spChg chg="mod">
          <ac:chgData name="Soleil Yi" userId="c719b956-004a-4243-81dc-14be649b7814" providerId="ADAL" clId="{50DC4EE2-8FC0-47D5-B5D6-C6C1D4ED5A25}" dt="2022-09-13T07:08:04.560" v="2073" actId="947"/>
          <ac:spMkLst>
            <pc:docMk/>
            <pc:sldMk cId="895792438" sldId="1863"/>
            <ac:spMk id="117" creationId="{1A9A2992-4929-4661-AB82-15C52FCF4D7A}"/>
          </ac:spMkLst>
        </pc:spChg>
        <pc:spChg chg="mod">
          <ac:chgData name="Soleil Yi" userId="c719b956-004a-4243-81dc-14be649b7814" providerId="ADAL" clId="{50DC4EE2-8FC0-47D5-B5D6-C6C1D4ED5A25}" dt="2022-09-13T07:08:04.573" v="2077"/>
          <ac:spMkLst>
            <pc:docMk/>
            <pc:sldMk cId="895792438" sldId="1863"/>
            <ac:spMk id="123" creationId="{4800592C-AA54-4C51-98E3-256ECCE18B3E}"/>
          </ac:spMkLst>
        </pc:spChg>
        <pc:spChg chg="mod">
          <ac:chgData name="Soleil Yi" userId="c719b956-004a-4243-81dc-14be649b7814" providerId="ADAL" clId="{50DC4EE2-8FC0-47D5-B5D6-C6C1D4ED5A25}" dt="2022-09-13T07:08:04.587" v="2081"/>
          <ac:spMkLst>
            <pc:docMk/>
            <pc:sldMk cId="895792438" sldId="1863"/>
            <ac:spMk id="124" creationId="{7502DF5D-69CD-4985-B21D-E5EDDC1345FF}"/>
          </ac:spMkLst>
        </pc:spChg>
        <pc:spChg chg="mod">
          <ac:chgData name="Soleil Yi" userId="c719b956-004a-4243-81dc-14be649b7814" providerId="ADAL" clId="{50DC4EE2-8FC0-47D5-B5D6-C6C1D4ED5A25}" dt="2022-09-13T07:08:04.469" v="2049"/>
          <ac:spMkLst>
            <pc:docMk/>
            <pc:sldMk cId="895792438" sldId="1863"/>
            <ac:spMk id="125" creationId="{CDBA3A5A-AE97-4D12-A391-166B4200AA3F}"/>
          </ac:spMkLst>
        </pc:spChg>
        <pc:spChg chg="mod">
          <ac:chgData name="Soleil Yi" userId="c719b956-004a-4243-81dc-14be649b7814" providerId="ADAL" clId="{50DC4EE2-8FC0-47D5-B5D6-C6C1D4ED5A25}" dt="2022-09-13T07:08:04.482" v="2053"/>
          <ac:spMkLst>
            <pc:docMk/>
            <pc:sldMk cId="895792438" sldId="1863"/>
            <ac:spMk id="126" creationId="{D78461D9-021F-4293-80C2-D2BA1BBB6039}"/>
          </ac:spMkLst>
        </pc:spChg>
        <pc:spChg chg="mod">
          <ac:chgData name="Soleil Yi" userId="c719b956-004a-4243-81dc-14be649b7814" providerId="ADAL" clId="{50DC4EE2-8FC0-47D5-B5D6-C6C1D4ED5A25}" dt="2022-09-13T07:08:04.441" v="2041"/>
          <ac:spMkLst>
            <pc:docMk/>
            <pc:sldMk cId="895792438" sldId="1863"/>
            <ac:spMk id="127" creationId="{3A289050-5576-4F61-8CF7-1221EEB2D766}"/>
          </ac:spMkLst>
        </pc:spChg>
        <pc:spChg chg="mod">
          <ac:chgData name="Soleil Yi" userId="c719b956-004a-4243-81dc-14be649b7814" providerId="ADAL" clId="{50DC4EE2-8FC0-47D5-B5D6-C6C1D4ED5A25}" dt="2022-09-13T07:08:04.456" v="2045"/>
          <ac:spMkLst>
            <pc:docMk/>
            <pc:sldMk cId="895792438" sldId="1863"/>
            <ac:spMk id="128" creationId="{87FCCD41-AC87-4B8C-9EAB-116482B4FA4F}"/>
          </ac:spMkLst>
        </pc:spChg>
        <pc:spChg chg="mod">
          <ac:chgData name="Soleil Yi" userId="c719b956-004a-4243-81dc-14be649b7814" providerId="ADAL" clId="{50DC4EE2-8FC0-47D5-B5D6-C6C1D4ED5A25}" dt="2022-09-13T07:08:04.413" v="2033"/>
          <ac:spMkLst>
            <pc:docMk/>
            <pc:sldMk cId="895792438" sldId="1863"/>
            <ac:spMk id="129" creationId="{423F3A8E-3CD5-4E11-BC03-FE0889485141}"/>
          </ac:spMkLst>
        </pc:spChg>
        <pc:spChg chg="mod">
          <ac:chgData name="Soleil Yi" userId="c719b956-004a-4243-81dc-14be649b7814" providerId="ADAL" clId="{50DC4EE2-8FC0-47D5-B5D6-C6C1D4ED5A25}" dt="2022-09-13T07:08:04.428" v="2037"/>
          <ac:spMkLst>
            <pc:docMk/>
            <pc:sldMk cId="895792438" sldId="1863"/>
            <ac:spMk id="130" creationId="{C9794D12-8FFE-49B6-8A94-535452CE45DC}"/>
          </ac:spMkLst>
        </pc:spChg>
        <pc:spChg chg="mod">
          <ac:chgData name="Soleil Yi" userId="c719b956-004a-4243-81dc-14be649b7814" providerId="ADAL" clId="{50DC4EE2-8FC0-47D5-B5D6-C6C1D4ED5A25}" dt="2022-09-13T07:08:04.379" v="2020"/>
          <ac:spMkLst>
            <pc:docMk/>
            <pc:sldMk cId="895792438" sldId="1863"/>
            <ac:spMk id="131" creationId="{F81B1813-301B-4006-926B-42ACD08B2AE2}"/>
          </ac:spMkLst>
        </pc:spChg>
        <pc:spChg chg="mod">
          <ac:chgData name="Soleil Yi" userId="c719b956-004a-4243-81dc-14be649b7814" providerId="ADAL" clId="{50DC4EE2-8FC0-47D5-B5D6-C6C1D4ED5A25}" dt="2022-09-13T07:08:04.399" v="2029"/>
          <ac:spMkLst>
            <pc:docMk/>
            <pc:sldMk cId="895792438" sldId="1863"/>
            <ac:spMk id="132" creationId="{261B9078-0266-4E73-AA4E-76FCF0EABDB0}"/>
          </ac:spMkLst>
        </pc:spChg>
      </pc:sldChg>
      <pc:sldChg chg="modSp mod">
        <pc:chgData name="Soleil Yi" userId="c719b956-004a-4243-81dc-14be649b7814" providerId="ADAL" clId="{50DC4EE2-8FC0-47D5-B5D6-C6C1D4ED5A25}" dt="2022-09-13T07:08:02.859" v="1621" actId="947"/>
        <pc:sldMkLst>
          <pc:docMk/>
          <pc:sldMk cId="3120695156" sldId="1864"/>
        </pc:sldMkLst>
        <pc:spChg chg="mod">
          <ac:chgData name="Soleil Yi" userId="c719b956-004a-4243-81dc-14be649b7814" providerId="ADAL" clId="{50DC4EE2-8FC0-47D5-B5D6-C6C1D4ED5A25}" dt="2022-09-13T07:07:57.680" v="153" actId="947"/>
          <ac:spMkLst>
            <pc:docMk/>
            <pc:sldMk cId="3120695156" sldId="1864"/>
            <ac:spMk id="2" creationId="{F153A4E0-094A-4144-8C1C-75C6B5D58663}"/>
          </ac:spMkLst>
        </pc:spChg>
        <pc:spChg chg="mod">
          <ac:chgData name="Soleil Yi" userId="c719b956-004a-4243-81dc-14be649b7814" providerId="ADAL" clId="{50DC4EE2-8FC0-47D5-B5D6-C6C1D4ED5A25}" dt="2022-09-13T07:07:57.727" v="165" actId="947"/>
          <ac:spMkLst>
            <pc:docMk/>
            <pc:sldMk cId="3120695156" sldId="1864"/>
            <ac:spMk id="3" creationId="{E6038584-3D8E-4BCD-AF5B-7A6EBAC6A887}"/>
          </ac:spMkLst>
        </pc:spChg>
        <pc:spChg chg="mod">
          <ac:chgData name="Soleil Yi" userId="c719b956-004a-4243-81dc-14be649b7814" providerId="ADAL" clId="{50DC4EE2-8FC0-47D5-B5D6-C6C1D4ED5A25}" dt="2022-09-13T07:07:57.726" v="164" actId="947"/>
          <ac:spMkLst>
            <pc:docMk/>
            <pc:sldMk cId="3120695156" sldId="1864"/>
            <ac:spMk id="4" creationId="{F0E38F0F-2B3E-4CD9-9689-30B1CE90478D}"/>
          </ac:spMkLst>
        </pc:spChg>
        <pc:spChg chg="mod">
          <ac:chgData name="Soleil Yi" userId="c719b956-004a-4243-81dc-14be649b7814" providerId="ADAL" clId="{50DC4EE2-8FC0-47D5-B5D6-C6C1D4ED5A25}" dt="2022-09-13T07:08:02.654" v="1569" actId="947"/>
          <ac:spMkLst>
            <pc:docMk/>
            <pc:sldMk cId="3120695156" sldId="1864"/>
            <ac:spMk id="7" creationId="{B5365172-DC57-4C21-BCD6-B93FB71DA1FE}"/>
          </ac:spMkLst>
        </pc:spChg>
        <pc:spChg chg="mod">
          <ac:chgData name="Soleil Yi" userId="c719b956-004a-4243-81dc-14be649b7814" providerId="ADAL" clId="{50DC4EE2-8FC0-47D5-B5D6-C6C1D4ED5A25}" dt="2022-09-13T07:08:02.672" v="1573" actId="947"/>
          <ac:spMkLst>
            <pc:docMk/>
            <pc:sldMk cId="3120695156" sldId="1864"/>
            <ac:spMk id="8" creationId="{CC502E67-0D98-4A0F-8D5D-73D771EA1ED2}"/>
          </ac:spMkLst>
        </pc:spChg>
        <pc:spChg chg="mod">
          <ac:chgData name="Soleil Yi" userId="c719b956-004a-4243-81dc-14be649b7814" providerId="ADAL" clId="{50DC4EE2-8FC0-47D5-B5D6-C6C1D4ED5A25}" dt="2022-09-13T07:08:02.721" v="1585" actId="947"/>
          <ac:spMkLst>
            <pc:docMk/>
            <pc:sldMk cId="3120695156" sldId="1864"/>
            <ac:spMk id="11" creationId="{51917A60-541A-4321-ABBF-A0084B577E07}"/>
          </ac:spMkLst>
        </pc:spChg>
        <pc:spChg chg="mod">
          <ac:chgData name="Soleil Yi" userId="c719b956-004a-4243-81dc-14be649b7814" providerId="ADAL" clId="{50DC4EE2-8FC0-47D5-B5D6-C6C1D4ED5A25}" dt="2022-09-13T07:08:02.767" v="1597" actId="947"/>
          <ac:spMkLst>
            <pc:docMk/>
            <pc:sldMk cId="3120695156" sldId="1864"/>
            <ac:spMk id="14" creationId="{8E37FF50-8365-4D97-892A-CB12279199F8}"/>
          </ac:spMkLst>
        </pc:spChg>
        <pc:spChg chg="mod">
          <ac:chgData name="Soleil Yi" userId="c719b956-004a-4243-81dc-14be649b7814" providerId="ADAL" clId="{50DC4EE2-8FC0-47D5-B5D6-C6C1D4ED5A25}" dt="2022-09-13T07:08:02.815" v="1609" actId="947"/>
          <ac:spMkLst>
            <pc:docMk/>
            <pc:sldMk cId="3120695156" sldId="1864"/>
            <ac:spMk id="17" creationId="{79D3A713-C3B8-41EE-AC25-3A02661DE855}"/>
          </ac:spMkLst>
        </pc:spChg>
        <pc:spChg chg="mod">
          <ac:chgData name="Soleil Yi" userId="c719b956-004a-4243-81dc-14be649b7814" providerId="ADAL" clId="{50DC4EE2-8FC0-47D5-B5D6-C6C1D4ED5A25}" dt="2022-09-13T07:08:02.859" v="1621" actId="947"/>
          <ac:spMkLst>
            <pc:docMk/>
            <pc:sldMk cId="3120695156" sldId="1864"/>
            <ac:spMk id="20" creationId="{9159620D-CD65-4F30-B7CC-B7BA58688FCA}"/>
          </ac:spMkLst>
        </pc:spChg>
        <pc:spChg chg="mod">
          <ac:chgData name="Soleil Yi" userId="c719b956-004a-4243-81dc-14be649b7814" providerId="ADAL" clId="{50DC4EE2-8FC0-47D5-B5D6-C6C1D4ED5A25}" dt="2022-09-13T07:08:02.829" v="1613"/>
          <ac:spMkLst>
            <pc:docMk/>
            <pc:sldMk cId="3120695156" sldId="1864"/>
            <ac:spMk id="21" creationId="{14E80F6D-5431-49B9-9E4F-C52EB6B2242A}"/>
          </ac:spMkLst>
        </pc:spChg>
        <pc:spChg chg="mod">
          <ac:chgData name="Soleil Yi" userId="c719b956-004a-4243-81dc-14be649b7814" providerId="ADAL" clId="{50DC4EE2-8FC0-47D5-B5D6-C6C1D4ED5A25}" dt="2022-09-13T07:08:02.843" v="1617"/>
          <ac:spMkLst>
            <pc:docMk/>
            <pc:sldMk cId="3120695156" sldId="1864"/>
            <ac:spMk id="22" creationId="{B5B2AC3B-4B0B-4A81-BBFB-3B02A0A9BA7C}"/>
          </ac:spMkLst>
        </pc:spChg>
        <pc:spChg chg="mod">
          <ac:chgData name="Soleil Yi" userId="c719b956-004a-4243-81dc-14be649b7814" providerId="ADAL" clId="{50DC4EE2-8FC0-47D5-B5D6-C6C1D4ED5A25}" dt="2022-09-13T07:08:02.781" v="1601"/>
          <ac:spMkLst>
            <pc:docMk/>
            <pc:sldMk cId="3120695156" sldId="1864"/>
            <ac:spMk id="23" creationId="{797B407E-DDDD-473B-9FED-0ABB445D07F7}"/>
          </ac:spMkLst>
        </pc:spChg>
        <pc:spChg chg="mod">
          <ac:chgData name="Soleil Yi" userId="c719b956-004a-4243-81dc-14be649b7814" providerId="ADAL" clId="{50DC4EE2-8FC0-47D5-B5D6-C6C1D4ED5A25}" dt="2022-09-13T07:08:02.796" v="1605"/>
          <ac:spMkLst>
            <pc:docMk/>
            <pc:sldMk cId="3120695156" sldId="1864"/>
            <ac:spMk id="24" creationId="{6EF8AD5D-FD41-44FF-923E-7399136242F0}"/>
          </ac:spMkLst>
        </pc:spChg>
        <pc:spChg chg="mod">
          <ac:chgData name="Soleil Yi" userId="c719b956-004a-4243-81dc-14be649b7814" providerId="ADAL" clId="{50DC4EE2-8FC0-47D5-B5D6-C6C1D4ED5A25}" dt="2022-09-13T07:08:02.736" v="1589"/>
          <ac:spMkLst>
            <pc:docMk/>
            <pc:sldMk cId="3120695156" sldId="1864"/>
            <ac:spMk id="25" creationId="{431BCD5A-55F5-44D8-947C-305B4BF3359E}"/>
          </ac:spMkLst>
        </pc:spChg>
        <pc:spChg chg="mod">
          <ac:chgData name="Soleil Yi" userId="c719b956-004a-4243-81dc-14be649b7814" providerId="ADAL" clId="{50DC4EE2-8FC0-47D5-B5D6-C6C1D4ED5A25}" dt="2022-09-13T07:08:02.750" v="1593"/>
          <ac:spMkLst>
            <pc:docMk/>
            <pc:sldMk cId="3120695156" sldId="1864"/>
            <ac:spMk id="26" creationId="{AB417835-37CC-4D7A-8D23-3896E8FEFB8E}"/>
          </ac:spMkLst>
        </pc:spChg>
        <pc:spChg chg="mod">
          <ac:chgData name="Soleil Yi" userId="c719b956-004a-4243-81dc-14be649b7814" providerId="ADAL" clId="{50DC4EE2-8FC0-47D5-B5D6-C6C1D4ED5A25}" dt="2022-09-13T07:08:02.687" v="1577"/>
          <ac:spMkLst>
            <pc:docMk/>
            <pc:sldMk cId="3120695156" sldId="1864"/>
            <ac:spMk id="27" creationId="{7F6B6859-E432-4B9C-974D-4A4B92A2AC16}"/>
          </ac:spMkLst>
        </pc:spChg>
        <pc:spChg chg="mod">
          <ac:chgData name="Soleil Yi" userId="c719b956-004a-4243-81dc-14be649b7814" providerId="ADAL" clId="{50DC4EE2-8FC0-47D5-B5D6-C6C1D4ED5A25}" dt="2022-09-13T07:08:02.701" v="1581"/>
          <ac:spMkLst>
            <pc:docMk/>
            <pc:sldMk cId="3120695156" sldId="1864"/>
            <ac:spMk id="28" creationId="{1746ED36-D8F0-465B-B02F-C378C63C820D}"/>
          </ac:spMkLst>
        </pc:spChg>
        <pc:spChg chg="mod">
          <ac:chgData name="Soleil Yi" userId="c719b956-004a-4243-81dc-14be649b7814" providerId="ADAL" clId="{50DC4EE2-8FC0-47D5-B5D6-C6C1D4ED5A25}" dt="2022-09-13T07:07:57.716" v="160"/>
          <ac:spMkLst>
            <pc:docMk/>
            <pc:sldMk cId="3120695156" sldId="1864"/>
            <ac:spMk id="29" creationId="{D606EEAB-EA65-44B7-AD3E-C6D040A20076}"/>
          </ac:spMkLst>
        </pc:spChg>
        <pc:spChg chg="mod">
          <ac:chgData name="Soleil Yi" userId="c719b956-004a-4243-81dc-14be649b7814" providerId="ADAL" clId="{50DC4EE2-8FC0-47D5-B5D6-C6C1D4ED5A25}" dt="2022-09-13T07:07:57.735" v="169"/>
          <ac:spMkLst>
            <pc:docMk/>
            <pc:sldMk cId="3120695156" sldId="1864"/>
            <ac:spMk id="30" creationId="{D86C73F9-4158-457D-9940-16941FA18BE2}"/>
          </ac:spMkLst>
        </pc:spChg>
        <pc:spChg chg="mod">
          <ac:chgData name="Soleil Yi" userId="c719b956-004a-4243-81dc-14be649b7814" providerId="ADAL" clId="{50DC4EE2-8FC0-47D5-B5D6-C6C1D4ED5A25}" dt="2022-09-13T07:07:57.749" v="173"/>
          <ac:spMkLst>
            <pc:docMk/>
            <pc:sldMk cId="3120695156" sldId="1864"/>
            <ac:spMk id="31" creationId="{CB636659-5ADB-4293-9E12-FAA2C932E250}"/>
          </ac:spMkLst>
        </pc:spChg>
        <pc:spChg chg="mod">
          <ac:chgData name="Soleil Yi" userId="c719b956-004a-4243-81dc-14be649b7814" providerId="ADAL" clId="{50DC4EE2-8FC0-47D5-B5D6-C6C1D4ED5A25}" dt="2022-09-13T07:07:57.763" v="177"/>
          <ac:spMkLst>
            <pc:docMk/>
            <pc:sldMk cId="3120695156" sldId="1864"/>
            <ac:spMk id="32" creationId="{B80BAED3-8A1E-4C3C-8A8D-A8316017D3CE}"/>
          </ac:spMkLst>
        </pc:spChg>
        <pc:spChg chg="mod">
          <ac:chgData name="Soleil Yi" userId="c719b956-004a-4243-81dc-14be649b7814" providerId="ADAL" clId="{50DC4EE2-8FC0-47D5-B5D6-C6C1D4ED5A25}" dt="2022-09-13T07:07:57.777" v="181"/>
          <ac:spMkLst>
            <pc:docMk/>
            <pc:sldMk cId="3120695156" sldId="1864"/>
            <ac:spMk id="33" creationId="{5080DE7D-2F0D-4F1F-ADD7-FB1178ADD126}"/>
          </ac:spMkLst>
        </pc:spChg>
        <pc:spChg chg="mod">
          <ac:chgData name="Soleil Yi" userId="c719b956-004a-4243-81dc-14be649b7814" providerId="ADAL" clId="{50DC4EE2-8FC0-47D5-B5D6-C6C1D4ED5A25}" dt="2022-09-13T07:07:57.791" v="185"/>
          <ac:spMkLst>
            <pc:docMk/>
            <pc:sldMk cId="3120695156" sldId="1864"/>
            <ac:spMk id="34" creationId="{5841C99A-1299-4D36-828E-88840BD7779E}"/>
          </ac:spMkLst>
        </pc:spChg>
        <pc:spChg chg="mod">
          <ac:chgData name="Soleil Yi" userId="c719b956-004a-4243-81dc-14be649b7814" providerId="ADAL" clId="{50DC4EE2-8FC0-47D5-B5D6-C6C1D4ED5A25}" dt="2022-09-13T07:07:57.807" v="189"/>
          <ac:spMkLst>
            <pc:docMk/>
            <pc:sldMk cId="3120695156" sldId="1864"/>
            <ac:spMk id="35" creationId="{8C0B6AE3-BE02-4EAC-B11A-CE29DDE4211C}"/>
          </ac:spMkLst>
        </pc:spChg>
        <pc:spChg chg="mod">
          <ac:chgData name="Soleil Yi" userId="c719b956-004a-4243-81dc-14be649b7814" providerId="ADAL" clId="{50DC4EE2-8FC0-47D5-B5D6-C6C1D4ED5A25}" dt="2022-09-13T07:07:57.819" v="193"/>
          <ac:spMkLst>
            <pc:docMk/>
            <pc:sldMk cId="3120695156" sldId="1864"/>
            <ac:spMk id="36" creationId="{47079D69-B94E-4FE3-98DD-A85BB75D8249}"/>
          </ac:spMkLst>
        </pc:spChg>
        <pc:spChg chg="mod">
          <ac:chgData name="Soleil Yi" userId="c719b956-004a-4243-81dc-14be649b7814" providerId="ADAL" clId="{50DC4EE2-8FC0-47D5-B5D6-C6C1D4ED5A25}" dt="2022-09-13T07:07:57.831" v="197"/>
          <ac:spMkLst>
            <pc:docMk/>
            <pc:sldMk cId="3120695156" sldId="1864"/>
            <ac:spMk id="37" creationId="{886B52A0-5BA7-4E8C-A787-D7CA6486B652}"/>
          </ac:spMkLst>
        </pc:spChg>
        <pc:spChg chg="mod">
          <ac:chgData name="Soleil Yi" userId="c719b956-004a-4243-81dc-14be649b7814" providerId="ADAL" clId="{50DC4EE2-8FC0-47D5-B5D6-C6C1D4ED5A25}" dt="2022-09-13T07:07:57.845" v="201"/>
          <ac:spMkLst>
            <pc:docMk/>
            <pc:sldMk cId="3120695156" sldId="1864"/>
            <ac:spMk id="38" creationId="{2901C81E-62E9-4834-9BB6-A65542F89827}"/>
          </ac:spMkLst>
        </pc:spChg>
        <pc:spChg chg="mod">
          <ac:chgData name="Soleil Yi" userId="c719b956-004a-4243-81dc-14be649b7814" providerId="ADAL" clId="{50DC4EE2-8FC0-47D5-B5D6-C6C1D4ED5A25}" dt="2022-09-13T07:07:57.858" v="205"/>
          <ac:spMkLst>
            <pc:docMk/>
            <pc:sldMk cId="3120695156" sldId="1864"/>
            <ac:spMk id="39" creationId="{BBFAC8BD-62A3-43D5-8509-09EA1EF8F4D0}"/>
          </ac:spMkLst>
        </pc:spChg>
        <pc:spChg chg="mod">
          <ac:chgData name="Soleil Yi" userId="c719b956-004a-4243-81dc-14be649b7814" providerId="ADAL" clId="{50DC4EE2-8FC0-47D5-B5D6-C6C1D4ED5A25}" dt="2022-09-13T07:07:57.871" v="209"/>
          <ac:spMkLst>
            <pc:docMk/>
            <pc:sldMk cId="3120695156" sldId="1864"/>
            <ac:spMk id="40" creationId="{4C647929-3ED1-45C3-82CE-3A230338B18D}"/>
          </ac:spMkLst>
        </pc:spChg>
        <pc:spChg chg="mod">
          <ac:chgData name="Soleil Yi" userId="c719b956-004a-4243-81dc-14be649b7814" providerId="ADAL" clId="{50DC4EE2-8FC0-47D5-B5D6-C6C1D4ED5A25}" dt="2022-09-13T07:07:57.884" v="213"/>
          <ac:spMkLst>
            <pc:docMk/>
            <pc:sldMk cId="3120695156" sldId="1864"/>
            <ac:spMk id="41" creationId="{3A6892E3-E3B8-4FCA-8587-FE6F50C390B2}"/>
          </ac:spMkLst>
        </pc:spChg>
        <pc:spChg chg="mod">
          <ac:chgData name="Soleil Yi" userId="c719b956-004a-4243-81dc-14be649b7814" providerId="ADAL" clId="{50DC4EE2-8FC0-47D5-B5D6-C6C1D4ED5A25}" dt="2022-09-13T07:07:57.901" v="217"/>
          <ac:spMkLst>
            <pc:docMk/>
            <pc:sldMk cId="3120695156" sldId="1864"/>
            <ac:spMk id="42" creationId="{BEA0335A-7E41-4DBA-B5BA-5A09722926C6}"/>
          </ac:spMkLst>
        </pc:spChg>
        <pc:spChg chg="mod">
          <ac:chgData name="Soleil Yi" userId="c719b956-004a-4243-81dc-14be649b7814" providerId="ADAL" clId="{50DC4EE2-8FC0-47D5-B5D6-C6C1D4ED5A25}" dt="2022-09-13T07:07:57.916" v="221"/>
          <ac:spMkLst>
            <pc:docMk/>
            <pc:sldMk cId="3120695156" sldId="1864"/>
            <ac:spMk id="43" creationId="{64191F35-0075-469D-915A-99A94C18C922}"/>
          </ac:spMkLst>
        </pc:spChg>
        <pc:spChg chg="mod">
          <ac:chgData name="Soleil Yi" userId="c719b956-004a-4243-81dc-14be649b7814" providerId="ADAL" clId="{50DC4EE2-8FC0-47D5-B5D6-C6C1D4ED5A25}" dt="2022-09-13T07:07:57.931" v="225"/>
          <ac:spMkLst>
            <pc:docMk/>
            <pc:sldMk cId="3120695156" sldId="1864"/>
            <ac:spMk id="44" creationId="{C94C2D9A-8E96-429B-B33E-2BA0FFA8D799}"/>
          </ac:spMkLst>
        </pc:spChg>
        <pc:spChg chg="mod">
          <ac:chgData name="Soleil Yi" userId="c719b956-004a-4243-81dc-14be649b7814" providerId="ADAL" clId="{50DC4EE2-8FC0-47D5-B5D6-C6C1D4ED5A25}" dt="2022-09-13T07:07:57.946" v="229"/>
          <ac:spMkLst>
            <pc:docMk/>
            <pc:sldMk cId="3120695156" sldId="1864"/>
            <ac:spMk id="45" creationId="{256EB67C-3475-4C93-8742-C1E8DE85BA6C}"/>
          </ac:spMkLst>
        </pc:spChg>
        <pc:spChg chg="mod">
          <ac:chgData name="Soleil Yi" userId="c719b956-004a-4243-81dc-14be649b7814" providerId="ADAL" clId="{50DC4EE2-8FC0-47D5-B5D6-C6C1D4ED5A25}" dt="2022-09-13T07:07:57.959" v="233"/>
          <ac:spMkLst>
            <pc:docMk/>
            <pc:sldMk cId="3120695156" sldId="1864"/>
            <ac:spMk id="46" creationId="{727B01EE-1C06-4F66-8164-2EB8B4D412CF}"/>
          </ac:spMkLst>
        </pc:spChg>
        <pc:spChg chg="mod">
          <ac:chgData name="Soleil Yi" userId="c719b956-004a-4243-81dc-14be649b7814" providerId="ADAL" clId="{50DC4EE2-8FC0-47D5-B5D6-C6C1D4ED5A25}" dt="2022-09-13T07:07:57.973" v="237"/>
          <ac:spMkLst>
            <pc:docMk/>
            <pc:sldMk cId="3120695156" sldId="1864"/>
            <ac:spMk id="47" creationId="{2DBB5F82-F296-4E6E-92CB-73903DCE65CA}"/>
          </ac:spMkLst>
        </pc:spChg>
        <pc:spChg chg="mod">
          <ac:chgData name="Soleil Yi" userId="c719b956-004a-4243-81dc-14be649b7814" providerId="ADAL" clId="{50DC4EE2-8FC0-47D5-B5D6-C6C1D4ED5A25}" dt="2022-09-13T07:07:57.989" v="241"/>
          <ac:spMkLst>
            <pc:docMk/>
            <pc:sldMk cId="3120695156" sldId="1864"/>
            <ac:spMk id="48" creationId="{01D48EEC-A0D5-4EAF-8631-6FB162E39297}"/>
          </ac:spMkLst>
        </pc:spChg>
        <pc:spChg chg="mod">
          <ac:chgData name="Soleil Yi" userId="c719b956-004a-4243-81dc-14be649b7814" providerId="ADAL" clId="{50DC4EE2-8FC0-47D5-B5D6-C6C1D4ED5A25}" dt="2022-09-13T07:07:58.003" v="245"/>
          <ac:spMkLst>
            <pc:docMk/>
            <pc:sldMk cId="3120695156" sldId="1864"/>
            <ac:spMk id="49" creationId="{7A1FFA0B-767D-48A6-89D6-3AA214BF6BAF}"/>
          </ac:spMkLst>
        </pc:spChg>
        <pc:spChg chg="mod">
          <ac:chgData name="Soleil Yi" userId="c719b956-004a-4243-81dc-14be649b7814" providerId="ADAL" clId="{50DC4EE2-8FC0-47D5-B5D6-C6C1D4ED5A25}" dt="2022-09-13T07:07:58.016" v="249"/>
          <ac:spMkLst>
            <pc:docMk/>
            <pc:sldMk cId="3120695156" sldId="1864"/>
            <ac:spMk id="50" creationId="{F08AC7C5-33D3-4780-8197-D425CA33370E}"/>
          </ac:spMkLst>
        </pc:spChg>
        <pc:spChg chg="mod">
          <ac:chgData name="Soleil Yi" userId="c719b956-004a-4243-81dc-14be649b7814" providerId="ADAL" clId="{50DC4EE2-8FC0-47D5-B5D6-C6C1D4ED5A25}" dt="2022-09-13T07:07:58.030" v="253"/>
          <ac:spMkLst>
            <pc:docMk/>
            <pc:sldMk cId="3120695156" sldId="1864"/>
            <ac:spMk id="51" creationId="{C295DA7D-BDB8-44C4-ADFB-E56F777BB4EA}"/>
          </ac:spMkLst>
        </pc:spChg>
        <pc:spChg chg="mod">
          <ac:chgData name="Soleil Yi" userId="c719b956-004a-4243-81dc-14be649b7814" providerId="ADAL" clId="{50DC4EE2-8FC0-47D5-B5D6-C6C1D4ED5A25}" dt="2022-09-13T07:07:58.045" v="257"/>
          <ac:spMkLst>
            <pc:docMk/>
            <pc:sldMk cId="3120695156" sldId="1864"/>
            <ac:spMk id="52" creationId="{CD20D1CC-DB4F-49E6-9FD5-FD1DAA0ADF47}"/>
          </ac:spMkLst>
        </pc:spChg>
        <pc:spChg chg="mod">
          <ac:chgData name="Soleil Yi" userId="c719b956-004a-4243-81dc-14be649b7814" providerId="ADAL" clId="{50DC4EE2-8FC0-47D5-B5D6-C6C1D4ED5A25}" dt="2022-09-13T07:07:58.060" v="261"/>
          <ac:spMkLst>
            <pc:docMk/>
            <pc:sldMk cId="3120695156" sldId="1864"/>
            <ac:spMk id="53" creationId="{E35E4C04-3DC0-4930-AB54-551B55B4A32D}"/>
          </ac:spMkLst>
        </pc:spChg>
        <pc:spChg chg="mod">
          <ac:chgData name="Soleil Yi" userId="c719b956-004a-4243-81dc-14be649b7814" providerId="ADAL" clId="{50DC4EE2-8FC0-47D5-B5D6-C6C1D4ED5A25}" dt="2022-09-13T07:07:58.073" v="265"/>
          <ac:spMkLst>
            <pc:docMk/>
            <pc:sldMk cId="3120695156" sldId="1864"/>
            <ac:spMk id="54" creationId="{B2D8A48B-0B72-45F2-BAB7-E366C99854EB}"/>
          </ac:spMkLst>
        </pc:spChg>
        <pc:spChg chg="mod">
          <ac:chgData name="Soleil Yi" userId="c719b956-004a-4243-81dc-14be649b7814" providerId="ADAL" clId="{50DC4EE2-8FC0-47D5-B5D6-C6C1D4ED5A25}" dt="2022-09-13T07:07:58.087" v="269"/>
          <ac:spMkLst>
            <pc:docMk/>
            <pc:sldMk cId="3120695156" sldId="1864"/>
            <ac:spMk id="55" creationId="{1232D5BE-38A9-42B4-ABA3-4CC6DB83EB14}"/>
          </ac:spMkLst>
        </pc:spChg>
        <pc:spChg chg="mod">
          <ac:chgData name="Soleil Yi" userId="c719b956-004a-4243-81dc-14be649b7814" providerId="ADAL" clId="{50DC4EE2-8FC0-47D5-B5D6-C6C1D4ED5A25}" dt="2022-09-13T07:07:58.100" v="273"/>
          <ac:spMkLst>
            <pc:docMk/>
            <pc:sldMk cId="3120695156" sldId="1864"/>
            <ac:spMk id="56" creationId="{E5EE98A7-2039-4940-ADFE-E843775A7C23}"/>
          </ac:spMkLst>
        </pc:spChg>
        <pc:spChg chg="mod">
          <ac:chgData name="Soleil Yi" userId="c719b956-004a-4243-81dc-14be649b7814" providerId="ADAL" clId="{50DC4EE2-8FC0-47D5-B5D6-C6C1D4ED5A25}" dt="2022-09-13T07:07:58.114" v="277"/>
          <ac:spMkLst>
            <pc:docMk/>
            <pc:sldMk cId="3120695156" sldId="1864"/>
            <ac:spMk id="57" creationId="{766A3D9A-9121-4276-964F-F741ABA5326D}"/>
          </ac:spMkLst>
        </pc:spChg>
        <pc:spChg chg="mod">
          <ac:chgData name="Soleil Yi" userId="c719b956-004a-4243-81dc-14be649b7814" providerId="ADAL" clId="{50DC4EE2-8FC0-47D5-B5D6-C6C1D4ED5A25}" dt="2022-09-13T07:07:58.128" v="281"/>
          <ac:spMkLst>
            <pc:docMk/>
            <pc:sldMk cId="3120695156" sldId="1864"/>
            <ac:spMk id="58" creationId="{962078D2-C44D-4216-855D-F3D2BCB5F697}"/>
          </ac:spMkLst>
        </pc:spChg>
        <pc:spChg chg="mod">
          <ac:chgData name="Soleil Yi" userId="c719b956-004a-4243-81dc-14be649b7814" providerId="ADAL" clId="{50DC4EE2-8FC0-47D5-B5D6-C6C1D4ED5A25}" dt="2022-09-13T07:07:58.141" v="285"/>
          <ac:spMkLst>
            <pc:docMk/>
            <pc:sldMk cId="3120695156" sldId="1864"/>
            <ac:spMk id="59" creationId="{5A01EFEF-2447-4640-B818-7F710D4AE775}"/>
          </ac:spMkLst>
        </pc:spChg>
        <pc:spChg chg="mod">
          <ac:chgData name="Soleil Yi" userId="c719b956-004a-4243-81dc-14be649b7814" providerId="ADAL" clId="{50DC4EE2-8FC0-47D5-B5D6-C6C1D4ED5A25}" dt="2022-09-13T07:07:58.154" v="289"/>
          <ac:spMkLst>
            <pc:docMk/>
            <pc:sldMk cId="3120695156" sldId="1864"/>
            <ac:spMk id="60" creationId="{9F0E0470-0B7A-4489-AB40-7F6E4E3D6277}"/>
          </ac:spMkLst>
        </pc:spChg>
        <pc:spChg chg="mod">
          <ac:chgData name="Soleil Yi" userId="c719b956-004a-4243-81dc-14be649b7814" providerId="ADAL" clId="{50DC4EE2-8FC0-47D5-B5D6-C6C1D4ED5A25}" dt="2022-09-13T07:07:58.174" v="293"/>
          <ac:spMkLst>
            <pc:docMk/>
            <pc:sldMk cId="3120695156" sldId="1864"/>
            <ac:spMk id="61" creationId="{63A945BB-9B1D-4FD0-AC64-85A8D189D0E1}"/>
          </ac:spMkLst>
        </pc:spChg>
        <pc:spChg chg="mod">
          <ac:chgData name="Soleil Yi" userId="c719b956-004a-4243-81dc-14be649b7814" providerId="ADAL" clId="{50DC4EE2-8FC0-47D5-B5D6-C6C1D4ED5A25}" dt="2022-09-13T07:07:58.189" v="297"/>
          <ac:spMkLst>
            <pc:docMk/>
            <pc:sldMk cId="3120695156" sldId="1864"/>
            <ac:spMk id="62" creationId="{1C16626C-D677-4D9B-BDDC-4512A8A0A070}"/>
          </ac:spMkLst>
        </pc:spChg>
        <pc:spChg chg="mod">
          <ac:chgData name="Soleil Yi" userId="c719b956-004a-4243-81dc-14be649b7814" providerId="ADAL" clId="{50DC4EE2-8FC0-47D5-B5D6-C6C1D4ED5A25}" dt="2022-09-13T07:07:58.205" v="301"/>
          <ac:spMkLst>
            <pc:docMk/>
            <pc:sldMk cId="3120695156" sldId="1864"/>
            <ac:spMk id="63" creationId="{D99DC133-C682-49CF-BC30-7FA77FD41A60}"/>
          </ac:spMkLst>
        </pc:spChg>
        <pc:spChg chg="mod">
          <ac:chgData name="Soleil Yi" userId="c719b956-004a-4243-81dc-14be649b7814" providerId="ADAL" clId="{50DC4EE2-8FC0-47D5-B5D6-C6C1D4ED5A25}" dt="2022-09-13T07:07:58.218" v="305"/>
          <ac:spMkLst>
            <pc:docMk/>
            <pc:sldMk cId="3120695156" sldId="1864"/>
            <ac:spMk id="64" creationId="{D0BC36CF-B8FB-438D-9907-4248798263E2}"/>
          </ac:spMkLst>
        </pc:spChg>
        <pc:spChg chg="mod">
          <ac:chgData name="Soleil Yi" userId="c719b956-004a-4243-81dc-14be649b7814" providerId="ADAL" clId="{50DC4EE2-8FC0-47D5-B5D6-C6C1D4ED5A25}" dt="2022-09-13T07:07:58.232" v="309"/>
          <ac:spMkLst>
            <pc:docMk/>
            <pc:sldMk cId="3120695156" sldId="1864"/>
            <ac:spMk id="65" creationId="{E85CBBDE-57FC-4E18-8785-664C5A6C18E8}"/>
          </ac:spMkLst>
        </pc:spChg>
        <pc:spChg chg="mod">
          <ac:chgData name="Soleil Yi" userId="c719b956-004a-4243-81dc-14be649b7814" providerId="ADAL" clId="{50DC4EE2-8FC0-47D5-B5D6-C6C1D4ED5A25}" dt="2022-09-13T07:07:58.245" v="313"/>
          <ac:spMkLst>
            <pc:docMk/>
            <pc:sldMk cId="3120695156" sldId="1864"/>
            <ac:spMk id="66" creationId="{709E6D18-77E2-4D61-BE7D-5E65622E99AE}"/>
          </ac:spMkLst>
        </pc:spChg>
        <pc:spChg chg="mod">
          <ac:chgData name="Soleil Yi" userId="c719b956-004a-4243-81dc-14be649b7814" providerId="ADAL" clId="{50DC4EE2-8FC0-47D5-B5D6-C6C1D4ED5A25}" dt="2022-09-13T07:07:58.259" v="317"/>
          <ac:spMkLst>
            <pc:docMk/>
            <pc:sldMk cId="3120695156" sldId="1864"/>
            <ac:spMk id="67" creationId="{305A1AD3-AFEB-4081-B717-7A1472858E37}"/>
          </ac:spMkLst>
        </pc:spChg>
        <pc:spChg chg="mod">
          <ac:chgData name="Soleil Yi" userId="c719b956-004a-4243-81dc-14be649b7814" providerId="ADAL" clId="{50DC4EE2-8FC0-47D5-B5D6-C6C1D4ED5A25}" dt="2022-09-13T07:07:58.272" v="321"/>
          <ac:spMkLst>
            <pc:docMk/>
            <pc:sldMk cId="3120695156" sldId="1864"/>
            <ac:spMk id="68" creationId="{71E9FE85-D4B9-4480-A672-44D1EBA54EF9}"/>
          </ac:spMkLst>
        </pc:spChg>
        <pc:spChg chg="mod">
          <ac:chgData name="Soleil Yi" userId="c719b956-004a-4243-81dc-14be649b7814" providerId="ADAL" clId="{50DC4EE2-8FC0-47D5-B5D6-C6C1D4ED5A25}" dt="2022-09-13T07:07:58.284" v="325"/>
          <ac:spMkLst>
            <pc:docMk/>
            <pc:sldMk cId="3120695156" sldId="1864"/>
            <ac:spMk id="69" creationId="{F3F0E08F-9724-42A7-8D4F-5DC353A42C8B}"/>
          </ac:spMkLst>
        </pc:spChg>
        <pc:spChg chg="mod">
          <ac:chgData name="Soleil Yi" userId="c719b956-004a-4243-81dc-14be649b7814" providerId="ADAL" clId="{50DC4EE2-8FC0-47D5-B5D6-C6C1D4ED5A25}" dt="2022-09-13T07:07:58.300" v="329"/>
          <ac:spMkLst>
            <pc:docMk/>
            <pc:sldMk cId="3120695156" sldId="1864"/>
            <ac:spMk id="70" creationId="{EC573EAC-CDBC-4243-AB91-ADABCA51BB8E}"/>
          </ac:spMkLst>
        </pc:spChg>
        <pc:spChg chg="mod">
          <ac:chgData name="Soleil Yi" userId="c719b956-004a-4243-81dc-14be649b7814" providerId="ADAL" clId="{50DC4EE2-8FC0-47D5-B5D6-C6C1D4ED5A25}" dt="2022-09-13T07:07:58.314" v="333"/>
          <ac:spMkLst>
            <pc:docMk/>
            <pc:sldMk cId="3120695156" sldId="1864"/>
            <ac:spMk id="71" creationId="{4C3B9F18-EB6F-495F-BCDE-292150CD0A05}"/>
          </ac:spMkLst>
        </pc:spChg>
        <pc:spChg chg="mod">
          <ac:chgData name="Soleil Yi" userId="c719b956-004a-4243-81dc-14be649b7814" providerId="ADAL" clId="{50DC4EE2-8FC0-47D5-B5D6-C6C1D4ED5A25}" dt="2022-09-13T07:07:58.328" v="337"/>
          <ac:spMkLst>
            <pc:docMk/>
            <pc:sldMk cId="3120695156" sldId="1864"/>
            <ac:spMk id="72" creationId="{0232435D-5624-4C9B-814C-1FD9BBCDE717}"/>
          </ac:spMkLst>
        </pc:spChg>
        <pc:spChg chg="mod">
          <ac:chgData name="Soleil Yi" userId="c719b956-004a-4243-81dc-14be649b7814" providerId="ADAL" clId="{50DC4EE2-8FC0-47D5-B5D6-C6C1D4ED5A25}" dt="2022-09-13T07:07:58.341" v="341"/>
          <ac:spMkLst>
            <pc:docMk/>
            <pc:sldMk cId="3120695156" sldId="1864"/>
            <ac:spMk id="73" creationId="{DEAA9412-F1D2-46CE-8628-B5B2AF3B9339}"/>
          </ac:spMkLst>
        </pc:spChg>
        <pc:spChg chg="mod">
          <ac:chgData name="Soleil Yi" userId="c719b956-004a-4243-81dc-14be649b7814" providerId="ADAL" clId="{50DC4EE2-8FC0-47D5-B5D6-C6C1D4ED5A25}" dt="2022-09-13T07:07:58.355" v="345"/>
          <ac:spMkLst>
            <pc:docMk/>
            <pc:sldMk cId="3120695156" sldId="1864"/>
            <ac:spMk id="74" creationId="{06B12D40-0EA5-4D96-935F-47EC171E9DF6}"/>
          </ac:spMkLst>
        </pc:spChg>
        <pc:spChg chg="mod">
          <ac:chgData name="Soleil Yi" userId="c719b956-004a-4243-81dc-14be649b7814" providerId="ADAL" clId="{50DC4EE2-8FC0-47D5-B5D6-C6C1D4ED5A25}" dt="2022-09-13T07:07:58.367" v="349"/>
          <ac:spMkLst>
            <pc:docMk/>
            <pc:sldMk cId="3120695156" sldId="1864"/>
            <ac:spMk id="75" creationId="{039E99A7-2885-42B2-A4F0-541AADA8CF75}"/>
          </ac:spMkLst>
        </pc:spChg>
        <pc:spChg chg="mod">
          <ac:chgData name="Soleil Yi" userId="c719b956-004a-4243-81dc-14be649b7814" providerId="ADAL" clId="{50DC4EE2-8FC0-47D5-B5D6-C6C1D4ED5A25}" dt="2022-09-13T07:07:58.382" v="353"/>
          <ac:spMkLst>
            <pc:docMk/>
            <pc:sldMk cId="3120695156" sldId="1864"/>
            <ac:spMk id="76" creationId="{B97CBD3B-2E1E-4158-AD39-0FDBAF13FD48}"/>
          </ac:spMkLst>
        </pc:spChg>
        <pc:spChg chg="mod">
          <ac:chgData name="Soleil Yi" userId="c719b956-004a-4243-81dc-14be649b7814" providerId="ADAL" clId="{50DC4EE2-8FC0-47D5-B5D6-C6C1D4ED5A25}" dt="2022-09-13T07:07:58.396" v="357"/>
          <ac:spMkLst>
            <pc:docMk/>
            <pc:sldMk cId="3120695156" sldId="1864"/>
            <ac:spMk id="77" creationId="{48EBEB08-B324-443E-B1D4-FB972DEEB2BD}"/>
          </ac:spMkLst>
        </pc:spChg>
        <pc:spChg chg="mod">
          <ac:chgData name="Soleil Yi" userId="c719b956-004a-4243-81dc-14be649b7814" providerId="ADAL" clId="{50DC4EE2-8FC0-47D5-B5D6-C6C1D4ED5A25}" dt="2022-09-13T07:07:58.409" v="361"/>
          <ac:spMkLst>
            <pc:docMk/>
            <pc:sldMk cId="3120695156" sldId="1864"/>
            <ac:spMk id="78" creationId="{7912ED71-4955-41C3-ACE2-FAF6ABCD0C6A}"/>
          </ac:spMkLst>
        </pc:spChg>
        <pc:spChg chg="mod">
          <ac:chgData name="Soleil Yi" userId="c719b956-004a-4243-81dc-14be649b7814" providerId="ADAL" clId="{50DC4EE2-8FC0-47D5-B5D6-C6C1D4ED5A25}" dt="2022-09-13T07:07:58.421" v="365"/>
          <ac:spMkLst>
            <pc:docMk/>
            <pc:sldMk cId="3120695156" sldId="1864"/>
            <ac:spMk id="79" creationId="{8FF49761-F9AB-444D-978F-B7D25560FBE8}"/>
          </ac:spMkLst>
        </pc:spChg>
        <pc:spChg chg="mod">
          <ac:chgData name="Soleil Yi" userId="c719b956-004a-4243-81dc-14be649b7814" providerId="ADAL" clId="{50DC4EE2-8FC0-47D5-B5D6-C6C1D4ED5A25}" dt="2022-09-13T07:07:58.434" v="369"/>
          <ac:spMkLst>
            <pc:docMk/>
            <pc:sldMk cId="3120695156" sldId="1864"/>
            <ac:spMk id="80" creationId="{607E03FB-D166-4E3E-8B6A-39E31B27BD78}"/>
          </ac:spMkLst>
        </pc:spChg>
        <pc:spChg chg="mod">
          <ac:chgData name="Soleil Yi" userId="c719b956-004a-4243-81dc-14be649b7814" providerId="ADAL" clId="{50DC4EE2-8FC0-47D5-B5D6-C6C1D4ED5A25}" dt="2022-09-13T07:07:58.446" v="373"/>
          <ac:spMkLst>
            <pc:docMk/>
            <pc:sldMk cId="3120695156" sldId="1864"/>
            <ac:spMk id="81" creationId="{F697A4CC-5C31-4B2D-A769-82B04D63C2CB}"/>
          </ac:spMkLst>
        </pc:spChg>
        <pc:spChg chg="mod">
          <ac:chgData name="Soleil Yi" userId="c719b956-004a-4243-81dc-14be649b7814" providerId="ADAL" clId="{50DC4EE2-8FC0-47D5-B5D6-C6C1D4ED5A25}" dt="2022-09-13T07:07:58.459" v="377"/>
          <ac:spMkLst>
            <pc:docMk/>
            <pc:sldMk cId="3120695156" sldId="1864"/>
            <ac:spMk id="82" creationId="{514A6E86-AD66-4B64-A23E-E388ED6F7775}"/>
          </ac:spMkLst>
        </pc:spChg>
        <pc:spChg chg="mod">
          <ac:chgData name="Soleil Yi" userId="c719b956-004a-4243-81dc-14be649b7814" providerId="ADAL" clId="{50DC4EE2-8FC0-47D5-B5D6-C6C1D4ED5A25}" dt="2022-09-13T07:07:58.471" v="381"/>
          <ac:spMkLst>
            <pc:docMk/>
            <pc:sldMk cId="3120695156" sldId="1864"/>
            <ac:spMk id="83" creationId="{A87B1A0A-ACDA-47D1-9604-6B7361DBABB7}"/>
          </ac:spMkLst>
        </pc:spChg>
        <pc:spChg chg="mod">
          <ac:chgData name="Soleil Yi" userId="c719b956-004a-4243-81dc-14be649b7814" providerId="ADAL" clId="{50DC4EE2-8FC0-47D5-B5D6-C6C1D4ED5A25}" dt="2022-09-13T07:07:58.485" v="385"/>
          <ac:spMkLst>
            <pc:docMk/>
            <pc:sldMk cId="3120695156" sldId="1864"/>
            <ac:spMk id="84" creationId="{171A0365-0B14-4506-8B8A-7ECF8AECCE78}"/>
          </ac:spMkLst>
        </pc:spChg>
        <pc:spChg chg="mod">
          <ac:chgData name="Soleil Yi" userId="c719b956-004a-4243-81dc-14be649b7814" providerId="ADAL" clId="{50DC4EE2-8FC0-47D5-B5D6-C6C1D4ED5A25}" dt="2022-09-13T07:07:58.500" v="389"/>
          <ac:spMkLst>
            <pc:docMk/>
            <pc:sldMk cId="3120695156" sldId="1864"/>
            <ac:spMk id="85" creationId="{A5AC506C-7D67-45BF-A6A9-FC660A949994}"/>
          </ac:spMkLst>
        </pc:spChg>
        <pc:spChg chg="mod">
          <ac:chgData name="Soleil Yi" userId="c719b956-004a-4243-81dc-14be649b7814" providerId="ADAL" clId="{50DC4EE2-8FC0-47D5-B5D6-C6C1D4ED5A25}" dt="2022-09-13T07:07:58.512" v="393"/>
          <ac:spMkLst>
            <pc:docMk/>
            <pc:sldMk cId="3120695156" sldId="1864"/>
            <ac:spMk id="86" creationId="{AFF238F9-F1BB-4DFC-BECC-BD28663BBB46}"/>
          </ac:spMkLst>
        </pc:spChg>
        <pc:spChg chg="mod">
          <ac:chgData name="Soleil Yi" userId="c719b956-004a-4243-81dc-14be649b7814" providerId="ADAL" clId="{50DC4EE2-8FC0-47D5-B5D6-C6C1D4ED5A25}" dt="2022-09-13T07:07:58.524" v="397"/>
          <ac:spMkLst>
            <pc:docMk/>
            <pc:sldMk cId="3120695156" sldId="1864"/>
            <ac:spMk id="87" creationId="{2DE135B4-B1E0-40F8-9044-AF199C78D34B}"/>
          </ac:spMkLst>
        </pc:spChg>
        <pc:spChg chg="mod">
          <ac:chgData name="Soleil Yi" userId="c719b956-004a-4243-81dc-14be649b7814" providerId="ADAL" clId="{50DC4EE2-8FC0-47D5-B5D6-C6C1D4ED5A25}" dt="2022-09-13T07:07:58.537" v="401"/>
          <ac:spMkLst>
            <pc:docMk/>
            <pc:sldMk cId="3120695156" sldId="1864"/>
            <ac:spMk id="88" creationId="{C6D6ED1D-A74D-4101-84DB-C2F0063FFF27}"/>
          </ac:spMkLst>
        </pc:spChg>
        <pc:spChg chg="mod">
          <ac:chgData name="Soleil Yi" userId="c719b956-004a-4243-81dc-14be649b7814" providerId="ADAL" clId="{50DC4EE2-8FC0-47D5-B5D6-C6C1D4ED5A25}" dt="2022-09-13T07:07:58.551" v="405"/>
          <ac:spMkLst>
            <pc:docMk/>
            <pc:sldMk cId="3120695156" sldId="1864"/>
            <ac:spMk id="89" creationId="{909BF710-7658-43BD-B30D-67E597481863}"/>
          </ac:spMkLst>
        </pc:spChg>
        <pc:spChg chg="mod">
          <ac:chgData name="Soleil Yi" userId="c719b956-004a-4243-81dc-14be649b7814" providerId="ADAL" clId="{50DC4EE2-8FC0-47D5-B5D6-C6C1D4ED5A25}" dt="2022-09-13T07:07:58.563" v="409"/>
          <ac:spMkLst>
            <pc:docMk/>
            <pc:sldMk cId="3120695156" sldId="1864"/>
            <ac:spMk id="90" creationId="{7501089C-B127-485D-A3E7-39449FB94307}"/>
          </ac:spMkLst>
        </pc:spChg>
        <pc:spChg chg="mod">
          <ac:chgData name="Soleil Yi" userId="c719b956-004a-4243-81dc-14be649b7814" providerId="ADAL" clId="{50DC4EE2-8FC0-47D5-B5D6-C6C1D4ED5A25}" dt="2022-09-13T07:07:58.577" v="413"/>
          <ac:spMkLst>
            <pc:docMk/>
            <pc:sldMk cId="3120695156" sldId="1864"/>
            <ac:spMk id="91" creationId="{BEB95C1C-40DD-478F-8CF0-281C16A982F9}"/>
          </ac:spMkLst>
        </pc:spChg>
        <pc:spChg chg="mod">
          <ac:chgData name="Soleil Yi" userId="c719b956-004a-4243-81dc-14be649b7814" providerId="ADAL" clId="{50DC4EE2-8FC0-47D5-B5D6-C6C1D4ED5A25}" dt="2022-09-13T07:07:58.590" v="417"/>
          <ac:spMkLst>
            <pc:docMk/>
            <pc:sldMk cId="3120695156" sldId="1864"/>
            <ac:spMk id="92" creationId="{3E346CF9-6583-4296-8118-71D2FF24A6C8}"/>
          </ac:spMkLst>
        </pc:spChg>
        <pc:spChg chg="mod">
          <ac:chgData name="Soleil Yi" userId="c719b956-004a-4243-81dc-14be649b7814" providerId="ADAL" clId="{50DC4EE2-8FC0-47D5-B5D6-C6C1D4ED5A25}" dt="2022-09-13T07:07:58.603" v="421"/>
          <ac:spMkLst>
            <pc:docMk/>
            <pc:sldMk cId="3120695156" sldId="1864"/>
            <ac:spMk id="93" creationId="{C9B601BE-A559-497D-8DEA-7077815440B9}"/>
          </ac:spMkLst>
        </pc:spChg>
        <pc:spChg chg="mod">
          <ac:chgData name="Soleil Yi" userId="c719b956-004a-4243-81dc-14be649b7814" providerId="ADAL" clId="{50DC4EE2-8FC0-47D5-B5D6-C6C1D4ED5A25}" dt="2022-09-13T07:07:58.615" v="425"/>
          <ac:spMkLst>
            <pc:docMk/>
            <pc:sldMk cId="3120695156" sldId="1864"/>
            <ac:spMk id="94" creationId="{8105036E-C23C-41C9-B7D6-D02B9E9A1E18}"/>
          </ac:spMkLst>
        </pc:spChg>
        <pc:spChg chg="mod">
          <ac:chgData name="Soleil Yi" userId="c719b956-004a-4243-81dc-14be649b7814" providerId="ADAL" clId="{50DC4EE2-8FC0-47D5-B5D6-C6C1D4ED5A25}" dt="2022-09-13T07:07:58.628" v="429"/>
          <ac:spMkLst>
            <pc:docMk/>
            <pc:sldMk cId="3120695156" sldId="1864"/>
            <ac:spMk id="95" creationId="{F925183A-940B-4B6C-B704-006BE7704EB5}"/>
          </ac:spMkLst>
        </pc:spChg>
        <pc:spChg chg="mod">
          <ac:chgData name="Soleil Yi" userId="c719b956-004a-4243-81dc-14be649b7814" providerId="ADAL" clId="{50DC4EE2-8FC0-47D5-B5D6-C6C1D4ED5A25}" dt="2022-09-13T07:07:58.640" v="433"/>
          <ac:spMkLst>
            <pc:docMk/>
            <pc:sldMk cId="3120695156" sldId="1864"/>
            <ac:spMk id="96" creationId="{6A5ABF3A-32CD-4355-8B50-B2A65C237FAE}"/>
          </ac:spMkLst>
        </pc:spChg>
        <pc:spChg chg="mod">
          <ac:chgData name="Soleil Yi" userId="c719b956-004a-4243-81dc-14be649b7814" providerId="ADAL" clId="{50DC4EE2-8FC0-47D5-B5D6-C6C1D4ED5A25}" dt="2022-09-13T07:07:58.652" v="437"/>
          <ac:spMkLst>
            <pc:docMk/>
            <pc:sldMk cId="3120695156" sldId="1864"/>
            <ac:spMk id="97" creationId="{2C5A9CFD-9C75-465A-A085-77A6A4FAF150}"/>
          </ac:spMkLst>
        </pc:spChg>
        <pc:spChg chg="mod">
          <ac:chgData name="Soleil Yi" userId="c719b956-004a-4243-81dc-14be649b7814" providerId="ADAL" clId="{50DC4EE2-8FC0-47D5-B5D6-C6C1D4ED5A25}" dt="2022-09-13T07:07:58.664" v="441"/>
          <ac:spMkLst>
            <pc:docMk/>
            <pc:sldMk cId="3120695156" sldId="1864"/>
            <ac:spMk id="98" creationId="{54AFC3A9-B954-45CD-9B76-BEA7BCC88C03}"/>
          </ac:spMkLst>
        </pc:spChg>
        <pc:spChg chg="mod">
          <ac:chgData name="Soleil Yi" userId="c719b956-004a-4243-81dc-14be649b7814" providerId="ADAL" clId="{50DC4EE2-8FC0-47D5-B5D6-C6C1D4ED5A25}" dt="2022-09-13T07:07:58.676" v="445"/>
          <ac:spMkLst>
            <pc:docMk/>
            <pc:sldMk cId="3120695156" sldId="1864"/>
            <ac:spMk id="99" creationId="{D853C1B4-574A-4BCB-863E-237CFB23A797}"/>
          </ac:spMkLst>
        </pc:spChg>
        <pc:spChg chg="mod">
          <ac:chgData name="Soleil Yi" userId="c719b956-004a-4243-81dc-14be649b7814" providerId="ADAL" clId="{50DC4EE2-8FC0-47D5-B5D6-C6C1D4ED5A25}" dt="2022-09-13T07:07:58.688" v="449"/>
          <ac:spMkLst>
            <pc:docMk/>
            <pc:sldMk cId="3120695156" sldId="1864"/>
            <ac:spMk id="100" creationId="{3750DBE4-B65F-43F1-B62F-9A59FEE6FC9E}"/>
          </ac:spMkLst>
        </pc:spChg>
        <pc:spChg chg="mod">
          <ac:chgData name="Soleil Yi" userId="c719b956-004a-4243-81dc-14be649b7814" providerId="ADAL" clId="{50DC4EE2-8FC0-47D5-B5D6-C6C1D4ED5A25}" dt="2022-09-13T07:07:58.701" v="453"/>
          <ac:spMkLst>
            <pc:docMk/>
            <pc:sldMk cId="3120695156" sldId="1864"/>
            <ac:spMk id="101" creationId="{3774AA41-72DE-45F9-AC6C-C199DC7D5301}"/>
          </ac:spMkLst>
        </pc:spChg>
        <pc:spChg chg="mod">
          <ac:chgData name="Soleil Yi" userId="c719b956-004a-4243-81dc-14be649b7814" providerId="ADAL" clId="{50DC4EE2-8FC0-47D5-B5D6-C6C1D4ED5A25}" dt="2022-09-13T07:07:58.713" v="457"/>
          <ac:spMkLst>
            <pc:docMk/>
            <pc:sldMk cId="3120695156" sldId="1864"/>
            <ac:spMk id="102" creationId="{B69B5BDE-CCAD-456F-8F16-FF7723FE0538}"/>
          </ac:spMkLst>
        </pc:spChg>
        <pc:spChg chg="mod">
          <ac:chgData name="Soleil Yi" userId="c719b956-004a-4243-81dc-14be649b7814" providerId="ADAL" clId="{50DC4EE2-8FC0-47D5-B5D6-C6C1D4ED5A25}" dt="2022-09-13T07:07:58.726" v="461"/>
          <ac:spMkLst>
            <pc:docMk/>
            <pc:sldMk cId="3120695156" sldId="1864"/>
            <ac:spMk id="103" creationId="{C3454B08-2DB8-42BB-8EC5-A15C37B58DE8}"/>
          </ac:spMkLst>
        </pc:spChg>
        <pc:spChg chg="mod">
          <ac:chgData name="Soleil Yi" userId="c719b956-004a-4243-81dc-14be649b7814" providerId="ADAL" clId="{50DC4EE2-8FC0-47D5-B5D6-C6C1D4ED5A25}" dt="2022-09-13T07:07:58.738" v="465"/>
          <ac:spMkLst>
            <pc:docMk/>
            <pc:sldMk cId="3120695156" sldId="1864"/>
            <ac:spMk id="104" creationId="{C63DDC31-9B35-4C27-9AA8-83EC9F89BAF4}"/>
          </ac:spMkLst>
        </pc:spChg>
        <pc:spChg chg="mod">
          <ac:chgData name="Soleil Yi" userId="c719b956-004a-4243-81dc-14be649b7814" providerId="ADAL" clId="{50DC4EE2-8FC0-47D5-B5D6-C6C1D4ED5A25}" dt="2022-09-13T07:07:58.751" v="469"/>
          <ac:spMkLst>
            <pc:docMk/>
            <pc:sldMk cId="3120695156" sldId="1864"/>
            <ac:spMk id="105" creationId="{85E29175-B4C8-4F53-919C-9FE0112A212A}"/>
          </ac:spMkLst>
        </pc:spChg>
        <pc:spChg chg="mod">
          <ac:chgData name="Soleil Yi" userId="c719b956-004a-4243-81dc-14be649b7814" providerId="ADAL" clId="{50DC4EE2-8FC0-47D5-B5D6-C6C1D4ED5A25}" dt="2022-09-13T07:07:58.764" v="473"/>
          <ac:spMkLst>
            <pc:docMk/>
            <pc:sldMk cId="3120695156" sldId="1864"/>
            <ac:spMk id="106" creationId="{9659BAC0-9F04-4CEE-B197-A4B1ECD000C5}"/>
          </ac:spMkLst>
        </pc:spChg>
        <pc:spChg chg="mod">
          <ac:chgData name="Soleil Yi" userId="c719b956-004a-4243-81dc-14be649b7814" providerId="ADAL" clId="{50DC4EE2-8FC0-47D5-B5D6-C6C1D4ED5A25}" dt="2022-09-13T07:07:58.777" v="477"/>
          <ac:spMkLst>
            <pc:docMk/>
            <pc:sldMk cId="3120695156" sldId="1864"/>
            <ac:spMk id="107" creationId="{EAF8D5F7-4D5C-48CE-8434-43CEBF52CB77}"/>
          </ac:spMkLst>
        </pc:spChg>
        <pc:spChg chg="mod">
          <ac:chgData name="Soleil Yi" userId="c719b956-004a-4243-81dc-14be649b7814" providerId="ADAL" clId="{50DC4EE2-8FC0-47D5-B5D6-C6C1D4ED5A25}" dt="2022-09-13T07:07:58.791" v="481"/>
          <ac:spMkLst>
            <pc:docMk/>
            <pc:sldMk cId="3120695156" sldId="1864"/>
            <ac:spMk id="108" creationId="{0A783EB1-61AE-48B0-A021-976140BBE155}"/>
          </ac:spMkLst>
        </pc:spChg>
        <pc:spChg chg="mod">
          <ac:chgData name="Soleil Yi" userId="c719b956-004a-4243-81dc-14be649b7814" providerId="ADAL" clId="{50DC4EE2-8FC0-47D5-B5D6-C6C1D4ED5A25}" dt="2022-09-13T07:07:58.808" v="485"/>
          <ac:spMkLst>
            <pc:docMk/>
            <pc:sldMk cId="3120695156" sldId="1864"/>
            <ac:spMk id="109" creationId="{A71AE100-8FF5-4421-9298-CD20F8F0DD63}"/>
          </ac:spMkLst>
        </pc:spChg>
        <pc:spChg chg="mod">
          <ac:chgData name="Soleil Yi" userId="c719b956-004a-4243-81dc-14be649b7814" providerId="ADAL" clId="{50DC4EE2-8FC0-47D5-B5D6-C6C1D4ED5A25}" dt="2022-09-13T07:07:58.822" v="489"/>
          <ac:spMkLst>
            <pc:docMk/>
            <pc:sldMk cId="3120695156" sldId="1864"/>
            <ac:spMk id="110" creationId="{461450CF-8F8B-40F4-8A27-C85F0E9CDA50}"/>
          </ac:spMkLst>
        </pc:spChg>
        <pc:spChg chg="mod">
          <ac:chgData name="Soleil Yi" userId="c719b956-004a-4243-81dc-14be649b7814" providerId="ADAL" clId="{50DC4EE2-8FC0-47D5-B5D6-C6C1D4ED5A25}" dt="2022-09-13T07:07:58.835" v="493"/>
          <ac:spMkLst>
            <pc:docMk/>
            <pc:sldMk cId="3120695156" sldId="1864"/>
            <ac:spMk id="111" creationId="{C8C0EE6B-D98B-4783-8A86-89289E2F4488}"/>
          </ac:spMkLst>
        </pc:spChg>
        <pc:spChg chg="mod">
          <ac:chgData name="Soleil Yi" userId="c719b956-004a-4243-81dc-14be649b7814" providerId="ADAL" clId="{50DC4EE2-8FC0-47D5-B5D6-C6C1D4ED5A25}" dt="2022-09-13T07:07:58.847" v="497"/>
          <ac:spMkLst>
            <pc:docMk/>
            <pc:sldMk cId="3120695156" sldId="1864"/>
            <ac:spMk id="112" creationId="{6B81FB08-774B-44D9-A96E-638BB12A88BE}"/>
          </ac:spMkLst>
        </pc:spChg>
        <pc:spChg chg="mod">
          <ac:chgData name="Soleil Yi" userId="c719b956-004a-4243-81dc-14be649b7814" providerId="ADAL" clId="{50DC4EE2-8FC0-47D5-B5D6-C6C1D4ED5A25}" dt="2022-09-13T07:07:58.861" v="501"/>
          <ac:spMkLst>
            <pc:docMk/>
            <pc:sldMk cId="3120695156" sldId="1864"/>
            <ac:spMk id="113" creationId="{BD77D762-75C5-4527-A235-34AC470A77E7}"/>
          </ac:spMkLst>
        </pc:spChg>
        <pc:spChg chg="mod">
          <ac:chgData name="Soleil Yi" userId="c719b956-004a-4243-81dc-14be649b7814" providerId="ADAL" clId="{50DC4EE2-8FC0-47D5-B5D6-C6C1D4ED5A25}" dt="2022-09-13T07:07:58.873" v="505"/>
          <ac:spMkLst>
            <pc:docMk/>
            <pc:sldMk cId="3120695156" sldId="1864"/>
            <ac:spMk id="114" creationId="{C3EDC678-1169-4475-A16D-BCFFB7B17B0A}"/>
          </ac:spMkLst>
        </pc:spChg>
        <pc:spChg chg="mod">
          <ac:chgData name="Soleil Yi" userId="c719b956-004a-4243-81dc-14be649b7814" providerId="ADAL" clId="{50DC4EE2-8FC0-47D5-B5D6-C6C1D4ED5A25}" dt="2022-09-13T07:07:58.885" v="509"/>
          <ac:spMkLst>
            <pc:docMk/>
            <pc:sldMk cId="3120695156" sldId="1864"/>
            <ac:spMk id="115" creationId="{124DC6C0-B59F-48EC-B164-6728137F5599}"/>
          </ac:spMkLst>
        </pc:spChg>
        <pc:spChg chg="mod">
          <ac:chgData name="Soleil Yi" userId="c719b956-004a-4243-81dc-14be649b7814" providerId="ADAL" clId="{50DC4EE2-8FC0-47D5-B5D6-C6C1D4ED5A25}" dt="2022-09-13T07:07:58.898" v="513"/>
          <ac:spMkLst>
            <pc:docMk/>
            <pc:sldMk cId="3120695156" sldId="1864"/>
            <ac:spMk id="116" creationId="{750302A0-83DE-4E03-A61B-E7A203A1CB85}"/>
          </ac:spMkLst>
        </pc:spChg>
        <pc:spChg chg="mod">
          <ac:chgData name="Soleil Yi" userId="c719b956-004a-4243-81dc-14be649b7814" providerId="ADAL" clId="{50DC4EE2-8FC0-47D5-B5D6-C6C1D4ED5A25}" dt="2022-09-13T07:07:58.913" v="517"/>
          <ac:spMkLst>
            <pc:docMk/>
            <pc:sldMk cId="3120695156" sldId="1864"/>
            <ac:spMk id="117" creationId="{DF35C90C-5D28-4FAE-9214-3941E35856FD}"/>
          </ac:spMkLst>
        </pc:spChg>
        <pc:spChg chg="mod">
          <ac:chgData name="Soleil Yi" userId="c719b956-004a-4243-81dc-14be649b7814" providerId="ADAL" clId="{50DC4EE2-8FC0-47D5-B5D6-C6C1D4ED5A25}" dt="2022-09-13T07:07:58.927" v="521"/>
          <ac:spMkLst>
            <pc:docMk/>
            <pc:sldMk cId="3120695156" sldId="1864"/>
            <ac:spMk id="118" creationId="{374C1A11-015F-4261-9499-88C026F235EF}"/>
          </ac:spMkLst>
        </pc:spChg>
        <pc:spChg chg="mod">
          <ac:chgData name="Soleil Yi" userId="c719b956-004a-4243-81dc-14be649b7814" providerId="ADAL" clId="{50DC4EE2-8FC0-47D5-B5D6-C6C1D4ED5A25}" dt="2022-09-13T07:07:58.939" v="525"/>
          <ac:spMkLst>
            <pc:docMk/>
            <pc:sldMk cId="3120695156" sldId="1864"/>
            <ac:spMk id="119" creationId="{161EE3CA-C61E-4F9A-84A9-1E5E3D258EA6}"/>
          </ac:spMkLst>
        </pc:spChg>
        <pc:spChg chg="mod">
          <ac:chgData name="Soleil Yi" userId="c719b956-004a-4243-81dc-14be649b7814" providerId="ADAL" clId="{50DC4EE2-8FC0-47D5-B5D6-C6C1D4ED5A25}" dt="2022-09-13T07:07:58.953" v="529"/>
          <ac:spMkLst>
            <pc:docMk/>
            <pc:sldMk cId="3120695156" sldId="1864"/>
            <ac:spMk id="120" creationId="{C94F2EA1-F19A-4766-B1CD-3E7E603ED776}"/>
          </ac:spMkLst>
        </pc:spChg>
        <pc:spChg chg="mod">
          <ac:chgData name="Soleil Yi" userId="c719b956-004a-4243-81dc-14be649b7814" providerId="ADAL" clId="{50DC4EE2-8FC0-47D5-B5D6-C6C1D4ED5A25}" dt="2022-09-13T07:07:58.966" v="533"/>
          <ac:spMkLst>
            <pc:docMk/>
            <pc:sldMk cId="3120695156" sldId="1864"/>
            <ac:spMk id="121" creationId="{D8F7A111-09BD-4357-9DFE-8B08A21DFC23}"/>
          </ac:spMkLst>
        </pc:spChg>
        <pc:spChg chg="mod">
          <ac:chgData name="Soleil Yi" userId="c719b956-004a-4243-81dc-14be649b7814" providerId="ADAL" clId="{50DC4EE2-8FC0-47D5-B5D6-C6C1D4ED5A25}" dt="2022-09-13T07:07:58.983" v="537"/>
          <ac:spMkLst>
            <pc:docMk/>
            <pc:sldMk cId="3120695156" sldId="1864"/>
            <ac:spMk id="122" creationId="{F6918E08-8C35-4BF8-B0B4-633275C2FC91}"/>
          </ac:spMkLst>
        </pc:spChg>
        <pc:spChg chg="mod">
          <ac:chgData name="Soleil Yi" userId="c719b956-004a-4243-81dc-14be649b7814" providerId="ADAL" clId="{50DC4EE2-8FC0-47D5-B5D6-C6C1D4ED5A25}" dt="2022-09-13T07:07:58.996" v="541"/>
          <ac:spMkLst>
            <pc:docMk/>
            <pc:sldMk cId="3120695156" sldId="1864"/>
            <ac:spMk id="123" creationId="{6DBE5D4D-0225-4976-A724-5807AC97797A}"/>
          </ac:spMkLst>
        </pc:spChg>
        <pc:spChg chg="mod">
          <ac:chgData name="Soleil Yi" userId="c719b956-004a-4243-81dc-14be649b7814" providerId="ADAL" clId="{50DC4EE2-8FC0-47D5-B5D6-C6C1D4ED5A25}" dt="2022-09-13T07:07:59.013" v="545"/>
          <ac:spMkLst>
            <pc:docMk/>
            <pc:sldMk cId="3120695156" sldId="1864"/>
            <ac:spMk id="124" creationId="{AC4476EF-8087-420E-8F24-B963352B72F4}"/>
          </ac:spMkLst>
        </pc:spChg>
        <pc:spChg chg="mod">
          <ac:chgData name="Soleil Yi" userId="c719b956-004a-4243-81dc-14be649b7814" providerId="ADAL" clId="{50DC4EE2-8FC0-47D5-B5D6-C6C1D4ED5A25}" dt="2022-09-13T07:07:59.026" v="549"/>
          <ac:spMkLst>
            <pc:docMk/>
            <pc:sldMk cId="3120695156" sldId="1864"/>
            <ac:spMk id="125" creationId="{246D4FD6-264F-4D55-9BB8-1FBE119C0B2F}"/>
          </ac:spMkLst>
        </pc:spChg>
        <pc:spChg chg="mod">
          <ac:chgData name="Soleil Yi" userId="c719b956-004a-4243-81dc-14be649b7814" providerId="ADAL" clId="{50DC4EE2-8FC0-47D5-B5D6-C6C1D4ED5A25}" dt="2022-09-13T07:07:59.039" v="553"/>
          <ac:spMkLst>
            <pc:docMk/>
            <pc:sldMk cId="3120695156" sldId="1864"/>
            <ac:spMk id="126" creationId="{1BA04699-60E4-46E5-BC0A-873040400D9A}"/>
          </ac:spMkLst>
        </pc:spChg>
        <pc:spChg chg="mod">
          <ac:chgData name="Soleil Yi" userId="c719b956-004a-4243-81dc-14be649b7814" providerId="ADAL" clId="{50DC4EE2-8FC0-47D5-B5D6-C6C1D4ED5A25}" dt="2022-09-13T07:07:59.051" v="557"/>
          <ac:spMkLst>
            <pc:docMk/>
            <pc:sldMk cId="3120695156" sldId="1864"/>
            <ac:spMk id="127" creationId="{94DB31B2-05CC-4E56-8E51-4B5EDA60D33E}"/>
          </ac:spMkLst>
        </pc:spChg>
        <pc:spChg chg="mod">
          <ac:chgData name="Soleil Yi" userId="c719b956-004a-4243-81dc-14be649b7814" providerId="ADAL" clId="{50DC4EE2-8FC0-47D5-B5D6-C6C1D4ED5A25}" dt="2022-09-13T07:07:59.064" v="561"/>
          <ac:spMkLst>
            <pc:docMk/>
            <pc:sldMk cId="3120695156" sldId="1864"/>
            <ac:spMk id="128" creationId="{64F565B6-CE06-48D3-BEBF-EC1A2AF441C1}"/>
          </ac:spMkLst>
        </pc:spChg>
        <pc:spChg chg="mod">
          <ac:chgData name="Soleil Yi" userId="c719b956-004a-4243-81dc-14be649b7814" providerId="ADAL" clId="{50DC4EE2-8FC0-47D5-B5D6-C6C1D4ED5A25}" dt="2022-09-13T07:07:59.076" v="565"/>
          <ac:spMkLst>
            <pc:docMk/>
            <pc:sldMk cId="3120695156" sldId="1864"/>
            <ac:spMk id="129" creationId="{F4E37AA8-1B23-44F4-BA50-F93D4BB469A9}"/>
          </ac:spMkLst>
        </pc:spChg>
        <pc:spChg chg="mod">
          <ac:chgData name="Soleil Yi" userId="c719b956-004a-4243-81dc-14be649b7814" providerId="ADAL" clId="{50DC4EE2-8FC0-47D5-B5D6-C6C1D4ED5A25}" dt="2022-09-13T07:07:59.089" v="569"/>
          <ac:spMkLst>
            <pc:docMk/>
            <pc:sldMk cId="3120695156" sldId="1864"/>
            <ac:spMk id="130" creationId="{9E56F5F1-493B-4DDF-8993-E6B21E6202B4}"/>
          </ac:spMkLst>
        </pc:spChg>
        <pc:spChg chg="mod">
          <ac:chgData name="Soleil Yi" userId="c719b956-004a-4243-81dc-14be649b7814" providerId="ADAL" clId="{50DC4EE2-8FC0-47D5-B5D6-C6C1D4ED5A25}" dt="2022-09-13T07:07:59.102" v="573"/>
          <ac:spMkLst>
            <pc:docMk/>
            <pc:sldMk cId="3120695156" sldId="1864"/>
            <ac:spMk id="131" creationId="{AC617EF1-1AA1-48B4-AFD0-55867CE0C3A5}"/>
          </ac:spMkLst>
        </pc:spChg>
        <pc:spChg chg="mod">
          <ac:chgData name="Soleil Yi" userId="c719b956-004a-4243-81dc-14be649b7814" providerId="ADAL" clId="{50DC4EE2-8FC0-47D5-B5D6-C6C1D4ED5A25}" dt="2022-09-13T07:07:59.115" v="577"/>
          <ac:spMkLst>
            <pc:docMk/>
            <pc:sldMk cId="3120695156" sldId="1864"/>
            <ac:spMk id="132" creationId="{CD98BF86-B0C3-48F2-9BC7-05EA1A7449BD}"/>
          </ac:spMkLst>
        </pc:spChg>
        <pc:spChg chg="mod">
          <ac:chgData name="Soleil Yi" userId="c719b956-004a-4243-81dc-14be649b7814" providerId="ADAL" clId="{50DC4EE2-8FC0-47D5-B5D6-C6C1D4ED5A25}" dt="2022-09-13T07:07:59.127" v="581"/>
          <ac:spMkLst>
            <pc:docMk/>
            <pc:sldMk cId="3120695156" sldId="1864"/>
            <ac:spMk id="133" creationId="{8C8F0687-C4B4-4073-92B3-7C36B24D8DD5}"/>
          </ac:spMkLst>
        </pc:spChg>
        <pc:spChg chg="mod">
          <ac:chgData name="Soleil Yi" userId="c719b956-004a-4243-81dc-14be649b7814" providerId="ADAL" clId="{50DC4EE2-8FC0-47D5-B5D6-C6C1D4ED5A25}" dt="2022-09-13T07:07:59.140" v="585"/>
          <ac:spMkLst>
            <pc:docMk/>
            <pc:sldMk cId="3120695156" sldId="1864"/>
            <ac:spMk id="134" creationId="{C96E24A0-889C-4021-AC50-A989B191C429}"/>
          </ac:spMkLst>
        </pc:spChg>
        <pc:spChg chg="mod">
          <ac:chgData name="Soleil Yi" userId="c719b956-004a-4243-81dc-14be649b7814" providerId="ADAL" clId="{50DC4EE2-8FC0-47D5-B5D6-C6C1D4ED5A25}" dt="2022-09-13T07:07:59.152" v="589"/>
          <ac:spMkLst>
            <pc:docMk/>
            <pc:sldMk cId="3120695156" sldId="1864"/>
            <ac:spMk id="135" creationId="{0FFF1CEB-CA59-4095-8802-E0ED3D220CBF}"/>
          </ac:spMkLst>
        </pc:spChg>
        <pc:spChg chg="mod">
          <ac:chgData name="Soleil Yi" userId="c719b956-004a-4243-81dc-14be649b7814" providerId="ADAL" clId="{50DC4EE2-8FC0-47D5-B5D6-C6C1D4ED5A25}" dt="2022-09-13T07:07:59.164" v="593"/>
          <ac:spMkLst>
            <pc:docMk/>
            <pc:sldMk cId="3120695156" sldId="1864"/>
            <ac:spMk id="136" creationId="{3503BE06-EA40-4CFE-9FEC-C49F85DEBD58}"/>
          </ac:spMkLst>
        </pc:spChg>
        <pc:spChg chg="mod">
          <ac:chgData name="Soleil Yi" userId="c719b956-004a-4243-81dc-14be649b7814" providerId="ADAL" clId="{50DC4EE2-8FC0-47D5-B5D6-C6C1D4ED5A25}" dt="2022-09-13T07:07:59.176" v="597"/>
          <ac:spMkLst>
            <pc:docMk/>
            <pc:sldMk cId="3120695156" sldId="1864"/>
            <ac:spMk id="137" creationId="{90390084-4F08-4EFB-B641-C4D6FE3F3006}"/>
          </ac:spMkLst>
        </pc:spChg>
        <pc:spChg chg="mod">
          <ac:chgData name="Soleil Yi" userId="c719b956-004a-4243-81dc-14be649b7814" providerId="ADAL" clId="{50DC4EE2-8FC0-47D5-B5D6-C6C1D4ED5A25}" dt="2022-09-13T07:07:59.190" v="601"/>
          <ac:spMkLst>
            <pc:docMk/>
            <pc:sldMk cId="3120695156" sldId="1864"/>
            <ac:spMk id="138" creationId="{D0BE770A-2EBC-4661-9805-2E187F787088}"/>
          </ac:spMkLst>
        </pc:spChg>
        <pc:spChg chg="mod">
          <ac:chgData name="Soleil Yi" userId="c719b956-004a-4243-81dc-14be649b7814" providerId="ADAL" clId="{50DC4EE2-8FC0-47D5-B5D6-C6C1D4ED5A25}" dt="2022-09-13T07:07:59.203" v="605"/>
          <ac:spMkLst>
            <pc:docMk/>
            <pc:sldMk cId="3120695156" sldId="1864"/>
            <ac:spMk id="139" creationId="{A09989E7-1336-4113-916F-D7B83438A913}"/>
          </ac:spMkLst>
        </pc:spChg>
        <pc:spChg chg="mod">
          <ac:chgData name="Soleil Yi" userId="c719b956-004a-4243-81dc-14be649b7814" providerId="ADAL" clId="{50DC4EE2-8FC0-47D5-B5D6-C6C1D4ED5A25}" dt="2022-09-13T07:07:59.218" v="609"/>
          <ac:spMkLst>
            <pc:docMk/>
            <pc:sldMk cId="3120695156" sldId="1864"/>
            <ac:spMk id="140" creationId="{B64ECD5B-9D89-42CE-8DC9-F07B986D300F}"/>
          </ac:spMkLst>
        </pc:spChg>
        <pc:spChg chg="mod">
          <ac:chgData name="Soleil Yi" userId="c719b956-004a-4243-81dc-14be649b7814" providerId="ADAL" clId="{50DC4EE2-8FC0-47D5-B5D6-C6C1D4ED5A25}" dt="2022-09-13T07:07:59.232" v="613"/>
          <ac:spMkLst>
            <pc:docMk/>
            <pc:sldMk cId="3120695156" sldId="1864"/>
            <ac:spMk id="141" creationId="{0A5869B2-B461-4178-BFD0-DF33F233B98D}"/>
          </ac:spMkLst>
        </pc:spChg>
        <pc:spChg chg="mod">
          <ac:chgData name="Soleil Yi" userId="c719b956-004a-4243-81dc-14be649b7814" providerId="ADAL" clId="{50DC4EE2-8FC0-47D5-B5D6-C6C1D4ED5A25}" dt="2022-09-13T07:07:59.245" v="617"/>
          <ac:spMkLst>
            <pc:docMk/>
            <pc:sldMk cId="3120695156" sldId="1864"/>
            <ac:spMk id="142" creationId="{BC395F1D-1F0C-438B-BD22-DAC0B4A88EEF}"/>
          </ac:spMkLst>
        </pc:spChg>
        <pc:spChg chg="mod">
          <ac:chgData name="Soleil Yi" userId="c719b956-004a-4243-81dc-14be649b7814" providerId="ADAL" clId="{50DC4EE2-8FC0-47D5-B5D6-C6C1D4ED5A25}" dt="2022-09-13T07:07:59.258" v="621"/>
          <ac:spMkLst>
            <pc:docMk/>
            <pc:sldMk cId="3120695156" sldId="1864"/>
            <ac:spMk id="143" creationId="{25DA47A1-55CF-4670-A57D-B7C5B303F3BA}"/>
          </ac:spMkLst>
        </pc:spChg>
        <pc:spChg chg="mod">
          <ac:chgData name="Soleil Yi" userId="c719b956-004a-4243-81dc-14be649b7814" providerId="ADAL" clId="{50DC4EE2-8FC0-47D5-B5D6-C6C1D4ED5A25}" dt="2022-09-13T07:07:59.271" v="625"/>
          <ac:spMkLst>
            <pc:docMk/>
            <pc:sldMk cId="3120695156" sldId="1864"/>
            <ac:spMk id="144" creationId="{33F977C9-9C45-42C1-A0A5-5310CADE1002}"/>
          </ac:spMkLst>
        </pc:spChg>
        <pc:spChg chg="mod">
          <ac:chgData name="Soleil Yi" userId="c719b956-004a-4243-81dc-14be649b7814" providerId="ADAL" clId="{50DC4EE2-8FC0-47D5-B5D6-C6C1D4ED5A25}" dt="2022-09-13T07:07:59.284" v="629"/>
          <ac:spMkLst>
            <pc:docMk/>
            <pc:sldMk cId="3120695156" sldId="1864"/>
            <ac:spMk id="145" creationId="{C516C251-03FB-4F98-A926-F0B96F41A66B}"/>
          </ac:spMkLst>
        </pc:spChg>
        <pc:spChg chg="mod">
          <ac:chgData name="Soleil Yi" userId="c719b956-004a-4243-81dc-14be649b7814" providerId="ADAL" clId="{50DC4EE2-8FC0-47D5-B5D6-C6C1D4ED5A25}" dt="2022-09-13T07:07:59.298" v="633"/>
          <ac:spMkLst>
            <pc:docMk/>
            <pc:sldMk cId="3120695156" sldId="1864"/>
            <ac:spMk id="146" creationId="{55A8945C-9E07-4BFE-8D37-29BDDC70154E}"/>
          </ac:spMkLst>
        </pc:spChg>
        <pc:spChg chg="mod">
          <ac:chgData name="Soleil Yi" userId="c719b956-004a-4243-81dc-14be649b7814" providerId="ADAL" clId="{50DC4EE2-8FC0-47D5-B5D6-C6C1D4ED5A25}" dt="2022-09-13T07:07:59.312" v="637"/>
          <ac:spMkLst>
            <pc:docMk/>
            <pc:sldMk cId="3120695156" sldId="1864"/>
            <ac:spMk id="147" creationId="{EA2C3F21-A6E0-4624-BCBC-7CCC3A66FD69}"/>
          </ac:spMkLst>
        </pc:spChg>
        <pc:spChg chg="mod">
          <ac:chgData name="Soleil Yi" userId="c719b956-004a-4243-81dc-14be649b7814" providerId="ADAL" clId="{50DC4EE2-8FC0-47D5-B5D6-C6C1D4ED5A25}" dt="2022-09-13T07:07:59.329" v="641"/>
          <ac:spMkLst>
            <pc:docMk/>
            <pc:sldMk cId="3120695156" sldId="1864"/>
            <ac:spMk id="148" creationId="{5AFA9CB9-1B37-4372-B730-757820B6939B}"/>
          </ac:spMkLst>
        </pc:spChg>
        <pc:spChg chg="mod">
          <ac:chgData name="Soleil Yi" userId="c719b956-004a-4243-81dc-14be649b7814" providerId="ADAL" clId="{50DC4EE2-8FC0-47D5-B5D6-C6C1D4ED5A25}" dt="2022-09-13T07:07:59.342" v="645"/>
          <ac:spMkLst>
            <pc:docMk/>
            <pc:sldMk cId="3120695156" sldId="1864"/>
            <ac:spMk id="149" creationId="{C49A48FA-CEE1-4C80-A43F-383E8AF8FE94}"/>
          </ac:spMkLst>
        </pc:spChg>
        <pc:spChg chg="mod">
          <ac:chgData name="Soleil Yi" userId="c719b956-004a-4243-81dc-14be649b7814" providerId="ADAL" clId="{50DC4EE2-8FC0-47D5-B5D6-C6C1D4ED5A25}" dt="2022-09-13T07:07:59.355" v="649"/>
          <ac:spMkLst>
            <pc:docMk/>
            <pc:sldMk cId="3120695156" sldId="1864"/>
            <ac:spMk id="150" creationId="{84EA3417-3144-439B-930A-69C4CD1D6177}"/>
          </ac:spMkLst>
        </pc:spChg>
        <pc:spChg chg="mod">
          <ac:chgData name="Soleil Yi" userId="c719b956-004a-4243-81dc-14be649b7814" providerId="ADAL" clId="{50DC4EE2-8FC0-47D5-B5D6-C6C1D4ED5A25}" dt="2022-09-13T07:07:59.380" v="653"/>
          <ac:spMkLst>
            <pc:docMk/>
            <pc:sldMk cId="3120695156" sldId="1864"/>
            <ac:spMk id="151" creationId="{D54B2954-24A6-4B8A-8F9F-9400DAB3CF81}"/>
          </ac:spMkLst>
        </pc:spChg>
        <pc:spChg chg="mod">
          <ac:chgData name="Soleil Yi" userId="c719b956-004a-4243-81dc-14be649b7814" providerId="ADAL" clId="{50DC4EE2-8FC0-47D5-B5D6-C6C1D4ED5A25}" dt="2022-09-13T07:07:59.395" v="657"/>
          <ac:spMkLst>
            <pc:docMk/>
            <pc:sldMk cId="3120695156" sldId="1864"/>
            <ac:spMk id="152" creationId="{B45B51E9-757B-4293-8AD1-65DC7804FF88}"/>
          </ac:spMkLst>
        </pc:spChg>
        <pc:spChg chg="mod">
          <ac:chgData name="Soleil Yi" userId="c719b956-004a-4243-81dc-14be649b7814" providerId="ADAL" clId="{50DC4EE2-8FC0-47D5-B5D6-C6C1D4ED5A25}" dt="2022-09-13T07:07:59.410" v="661"/>
          <ac:spMkLst>
            <pc:docMk/>
            <pc:sldMk cId="3120695156" sldId="1864"/>
            <ac:spMk id="153" creationId="{83C37C02-2A65-4574-9731-1CCE9A5BA710}"/>
          </ac:spMkLst>
        </pc:spChg>
        <pc:spChg chg="mod">
          <ac:chgData name="Soleil Yi" userId="c719b956-004a-4243-81dc-14be649b7814" providerId="ADAL" clId="{50DC4EE2-8FC0-47D5-B5D6-C6C1D4ED5A25}" dt="2022-09-13T07:07:59.424" v="665"/>
          <ac:spMkLst>
            <pc:docMk/>
            <pc:sldMk cId="3120695156" sldId="1864"/>
            <ac:spMk id="154" creationId="{EA3D2B27-E219-4963-875E-017DF6B28C0F}"/>
          </ac:spMkLst>
        </pc:spChg>
        <pc:spChg chg="mod">
          <ac:chgData name="Soleil Yi" userId="c719b956-004a-4243-81dc-14be649b7814" providerId="ADAL" clId="{50DC4EE2-8FC0-47D5-B5D6-C6C1D4ED5A25}" dt="2022-09-13T07:07:59.438" v="669"/>
          <ac:spMkLst>
            <pc:docMk/>
            <pc:sldMk cId="3120695156" sldId="1864"/>
            <ac:spMk id="155" creationId="{1B8CC8CB-D86C-48EE-BA38-79E1A8089D4F}"/>
          </ac:spMkLst>
        </pc:spChg>
        <pc:spChg chg="mod">
          <ac:chgData name="Soleil Yi" userId="c719b956-004a-4243-81dc-14be649b7814" providerId="ADAL" clId="{50DC4EE2-8FC0-47D5-B5D6-C6C1D4ED5A25}" dt="2022-09-13T07:07:59.454" v="673"/>
          <ac:spMkLst>
            <pc:docMk/>
            <pc:sldMk cId="3120695156" sldId="1864"/>
            <ac:spMk id="156" creationId="{0EEA322C-200D-4F7F-A8BD-213A012EB940}"/>
          </ac:spMkLst>
        </pc:spChg>
        <pc:spChg chg="mod">
          <ac:chgData name="Soleil Yi" userId="c719b956-004a-4243-81dc-14be649b7814" providerId="ADAL" clId="{50DC4EE2-8FC0-47D5-B5D6-C6C1D4ED5A25}" dt="2022-09-13T07:07:59.467" v="677"/>
          <ac:spMkLst>
            <pc:docMk/>
            <pc:sldMk cId="3120695156" sldId="1864"/>
            <ac:spMk id="157" creationId="{519F4823-5F93-40AD-9644-BB02ECEBABDC}"/>
          </ac:spMkLst>
        </pc:spChg>
        <pc:spChg chg="mod">
          <ac:chgData name="Soleil Yi" userId="c719b956-004a-4243-81dc-14be649b7814" providerId="ADAL" clId="{50DC4EE2-8FC0-47D5-B5D6-C6C1D4ED5A25}" dt="2022-09-13T07:07:59.480" v="681"/>
          <ac:spMkLst>
            <pc:docMk/>
            <pc:sldMk cId="3120695156" sldId="1864"/>
            <ac:spMk id="158" creationId="{B4CED8B5-B4FE-40B8-95D6-4933ECA5B67E}"/>
          </ac:spMkLst>
        </pc:spChg>
        <pc:spChg chg="mod">
          <ac:chgData name="Soleil Yi" userId="c719b956-004a-4243-81dc-14be649b7814" providerId="ADAL" clId="{50DC4EE2-8FC0-47D5-B5D6-C6C1D4ED5A25}" dt="2022-09-13T07:07:59.493" v="685"/>
          <ac:spMkLst>
            <pc:docMk/>
            <pc:sldMk cId="3120695156" sldId="1864"/>
            <ac:spMk id="159" creationId="{164FF7A0-7269-43BD-B50F-DF68EA87874F}"/>
          </ac:spMkLst>
        </pc:spChg>
        <pc:spChg chg="mod">
          <ac:chgData name="Soleil Yi" userId="c719b956-004a-4243-81dc-14be649b7814" providerId="ADAL" clId="{50DC4EE2-8FC0-47D5-B5D6-C6C1D4ED5A25}" dt="2022-09-13T07:07:59.506" v="689"/>
          <ac:spMkLst>
            <pc:docMk/>
            <pc:sldMk cId="3120695156" sldId="1864"/>
            <ac:spMk id="160" creationId="{B8CD0AB8-8B57-47A1-B0BE-D3985D1235A7}"/>
          </ac:spMkLst>
        </pc:spChg>
        <pc:spChg chg="mod">
          <ac:chgData name="Soleil Yi" userId="c719b956-004a-4243-81dc-14be649b7814" providerId="ADAL" clId="{50DC4EE2-8FC0-47D5-B5D6-C6C1D4ED5A25}" dt="2022-09-13T07:07:59.519" v="693"/>
          <ac:spMkLst>
            <pc:docMk/>
            <pc:sldMk cId="3120695156" sldId="1864"/>
            <ac:spMk id="161" creationId="{6448D238-9C5A-41BE-AE7E-9AF8495404CC}"/>
          </ac:spMkLst>
        </pc:spChg>
        <pc:spChg chg="mod">
          <ac:chgData name="Soleil Yi" userId="c719b956-004a-4243-81dc-14be649b7814" providerId="ADAL" clId="{50DC4EE2-8FC0-47D5-B5D6-C6C1D4ED5A25}" dt="2022-09-13T07:07:59.531" v="697"/>
          <ac:spMkLst>
            <pc:docMk/>
            <pc:sldMk cId="3120695156" sldId="1864"/>
            <ac:spMk id="162" creationId="{CBC38E8A-371C-46AB-8DFE-458A2A96CDE8}"/>
          </ac:spMkLst>
        </pc:spChg>
        <pc:spChg chg="mod">
          <ac:chgData name="Soleil Yi" userId="c719b956-004a-4243-81dc-14be649b7814" providerId="ADAL" clId="{50DC4EE2-8FC0-47D5-B5D6-C6C1D4ED5A25}" dt="2022-09-13T07:07:59.544" v="701"/>
          <ac:spMkLst>
            <pc:docMk/>
            <pc:sldMk cId="3120695156" sldId="1864"/>
            <ac:spMk id="163" creationId="{B4AAD213-8E65-426D-9E99-2824F9B1FAB9}"/>
          </ac:spMkLst>
        </pc:spChg>
        <pc:spChg chg="mod">
          <ac:chgData name="Soleil Yi" userId="c719b956-004a-4243-81dc-14be649b7814" providerId="ADAL" clId="{50DC4EE2-8FC0-47D5-B5D6-C6C1D4ED5A25}" dt="2022-09-13T07:07:59.556" v="705"/>
          <ac:spMkLst>
            <pc:docMk/>
            <pc:sldMk cId="3120695156" sldId="1864"/>
            <ac:spMk id="164" creationId="{E2557409-DE24-45FC-B2A1-41F655491CAE}"/>
          </ac:spMkLst>
        </pc:spChg>
        <pc:spChg chg="mod">
          <ac:chgData name="Soleil Yi" userId="c719b956-004a-4243-81dc-14be649b7814" providerId="ADAL" clId="{50DC4EE2-8FC0-47D5-B5D6-C6C1D4ED5A25}" dt="2022-09-13T07:07:59.569" v="709"/>
          <ac:spMkLst>
            <pc:docMk/>
            <pc:sldMk cId="3120695156" sldId="1864"/>
            <ac:spMk id="165" creationId="{19771147-D13D-4E30-9955-9496641960FC}"/>
          </ac:spMkLst>
        </pc:spChg>
        <pc:spChg chg="mod">
          <ac:chgData name="Soleil Yi" userId="c719b956-004a-4243-81dc-14be649b7814" providerId="ADAL" clId="{50DC4EE2-8FC0-47D5-B5D6-C6C1D4ED5A25}" dt="2022-09-13T07:07:59.586" v="713"/>
          <ac:spMkLst>
            <pc:docMk/>
            <pc:sldMk cId="3120695156" sldId="1864"/>
            <ac:spMk id="166" creationId="{7202F85B-E6EB-4964-9A84-E27425A76AC5}"/>
          </ac:spMkLst>
        </pc:spChg>
        <pc:spChg chg="mod">
          <ac:chgData name="Soleil Yi" userId="c719b956-004a-4243-81dc-14be649b7814" providerId="ADAL" clId="{50DC4EE2-8FC0-47D5-B5D6-C6C1D4ED5A25}" dt="2022-09-13T07:07:59.599" v="717"/>
          <ac:spMkLst>
            <pc:docMk/>
            <pc:sldMk cId="3120695156" sldId="1864"/>
            <ac:spMk id="167" creationId="{D7953AC2-7476-4B15-B53F-15E6ACA18669}"/>
          </ac:spMkLst>
        </pc:spChg>
        <pc:spChg chg="mod">
          <ac:chgData name="Soleil Yi" userId="c719b956-004a-4243-81dc-14be649b7814" providerId="ADAL" clId="{50DC4EE2-8FC0-47D5-B5D6-C6C1D4ED5A25}" dt="2022-09-13T07:07:59.612" v="721"/>
          <ac:spMkLst>
            <pc:docMk/>
            <pc:sldMk cId="3120695156" sldId="1864"/>
            <ac:spMk id="168" creationId="{3ED5DFE7-38D7-43D2-BA0D-F6BB3FE13820}"/>
          </ac:spMkLst>
        </pc:spChg>
        <pc:spChg chg="mod">
          <ac:chgData name="Soleil Yi" userId="c719b956-004a-4243-81dc-14be649b7814" providerId="ADAL" clId="{50DC4EE2-8FC0-47D5-B5D6-C6C1D4ED5A25}" dt="2022-09-13T07:07:59.625" v="725"/>
          <ac:spMkLst>
            <pc:docMk/>
            <pc:sldMk cId="3120695156" sldId="1864"/>
            <ac:spMk id="169" creationId="{8CD6F8D5-A9CA-4D3E-AF90-8AFF8818B85C}"/>
          </ac:spMkLst>
        </pc:spChg>
        <pc:spChg chg="mod">
          <ac:chgData name="Soleil Yi" userId="c719b956-004a-4243-81dc-14be649b7814" providerId="ADAL" clId="{50DC4EE2-8FC0-47D5-B5D6-C6C1D4ED5A25}" dt="2022-09-13T07:07:59.637" v="729"/>
          <ac:spMkLst>
            <pc:docMk/>
            <pc:sldMk cId="3120695156" sldId="1864"/>
            <ac:spMk id="170" creationId="{46634991-C5B2-4000-95C8-F30D855F72EA}"/>
          </ac:spMkLst>
        </pc:spChg>
        <pc:spChg chg="mod">
          <ac:chgData name="Soleil Yi" userId="c719b956-004a-4243-81dc-14be649b7814" providerId="ADAL" clId="{50DC4EE2-8FC0-47D5-B5D6-C6C1D4ED5A25}" dt="2022-09-13T07:07:59.649" v="733"/>
          <ac:spMkLst>
            <pc:docMk/>
            <pc:sldMk cId="3120695156" sldId="1864"/>
            <ac:spMk id="171" creationId="{3A036FB0-CAA8-4344-BE24-D001FF303BE3}"/>
          </ac:spMkLst>
        </pc:spChg>
        <pc:spChg chg="mod">
          <ac:chgData name="Soleil Yi" userId="c719b956-004a-4243-81dc-14be649b7814" providerId="ADAL" clId="{50DC4EE2-8FC0-47D5-B5D6-C6C1D4ED5A25}" dt="2022-09-13T07:07:59.661" v="737"/>
          <ac:spMkLst>
            <pc:docMk/>
            <pc:sldMk cId="3120695156" sldId="1864"/>
            <ac:spMk id="172" creationId="{B327C4EF-92E3-491C-990F-1F82AB6C0FB7}"/>
          </ac:spMkLst>
        </pc:spChg>
        <pc:spChg chg="mod">
          <ac:chgData name="Soleil Yi" userId="c719b956-004a-4243-81dc-14be649b7814" providerId="ADAL" clId="{50DC4EE2-8FC0-47D5-B5D6-C6C1D4ED5A25}" dt="2022-09-13T07:07:59.673" v="741"/>
          <ac:spMkLst>
            <pc:docMk/>
            <pc:sldMk cId="3120695156" sldId="1864"/>
            <ac:spMk id="173" creationId="{71A5B5C0-292C-44A5-822A-EDB1A5ED58EE}"/>
          </ac:spMkLst>
        </pc:spChg>
        <pc:spChg chg="mod">
          <ac:chgData name="Soleil Yi" userId="c719b956-004a-4243-81dc-14be649b7814" providerId="ADAL" clId="{50DC4EE2-8FC0-47D5-B5D6-C6C1D4ED5A25}" dt="2022-09-13T07:07:59.686" v="745"/>
          <ac:spMkLst>
            <pc:docMk/>
            <pc:sldMk cId="3120695156" sldId="1864"/>
            <ac:spMk id="174" creationId="{D231D25A-ADF4-45AB-AD6D-64FE00F06F9E}"/>
          </ac:spMkLst>
        </pc:spChg>
        <pc:spChg chg="mod">
          <ac:chgData name="Soleil Yi" userId="c719b956-004a-4243-81dc-14be649b7814" providerId="ADAL" clId="{50DC4EE2-8FC0-47D5-B5D6-C6C1D4ED5A25}" dt="2022-09-13T07:07:59.699" v="749"/>
          <ac:spMkLst>
            <pc:docMk/>
            <pc:sldMk cId="3120695156" sldId="1864"/>
            <ac:spMk id="175" creationId="{995FF9FF-60D5-4417-A06C-48F54FB69CDD}"/>
          </ac:spMkLst>
        </pc:spChg>
        <pc:spChg chg="mod">
          <ac:chgData name="Soleil Yi" userId="c719b956-004a-4243-81dc-14be649b7814" providerId="ADAL" clId="{50DC4EE2-8FC0-47D5-B5D6-C6C1D4ED5A25}" dt="2022-09-13T07:07:59.711" v="753"/>
          <ac:spMkLst>
            <pc:docMk/>
            <pc:sldMk cId="3120695156" sldId="1864"/>
            <ac:spMk id="176" creationId="{AFC89AA7-B0F6-4197-9949-F2C5F469F350}"/>
          </ac:spMkLst>
        </pc:spChg>
        <pc:spChg chg="mod">
          <ac:chgData name="Soleil Yi" userId="c719b956-004a-4243-81dc-14be649b7814" providerId="ADAL" clId="{50DC4EE2-8FC0-47D5-B5D6-C6C1D4ED5A25}" dt="2022-09-13T07:07:59.723" v="757"/>
          <ac:spMkLst>
            <pc:docMk/>
            <pc:sldMk cId="3120695156" sldId="1864"/>
            <ac:spMk id="177" creationId="{9183BA89-7ABA-4B4D-986D-9F4915E78C3A}"/>
          </ac:spMkLst>
        </pc:spChg>
        <pc:spChg chg="mod">
          <ac:chgData name="Soleil Yi" userId="c719b956-004a-4243-81dc-14be649b7814" providerId="ADAL" clId="{50DC4EE2-8FC0-47D5-B5D6-C6C1D4ED5A25}" dt="2022-09-13T07:07:59.738" v="761"/>
          <ac:spMkLst>
            <pc:docMk/>
            <pc:sldMk cId="3120695156" sldId="1864"/>
            <ac:spMk id="178" creationId="{542713BD-4DFA-4DE7-926A-67E043FEE5C3}"/>
          </ac:spMkLst>
        </pc:spChg>
        <pc:spChg chg="mod">
          <ac:chgData name="Soleil Yi" userId="c719b956-004a-4243-81dc-14be649b7814" providerId="ADAL" clId="{50DC4EE2-8FC0-47D5-B5D6-C6C1D4ED5A25}" dt="2022-09-13T07:07:59.750" v="765"/>
          <ac:spMkLst>
            <pc:docMk/>
            <pc:sldMk cId="3120695156" sldId="1864"/>
            <ac:spMk id="179" creationId="{36F75CEB-4601-4665-A974-9A6C0D1E2B77}"/>
          </ac:spMkLst>
        </pc:spChg>
        <pc:spChg chg="mod">
          <ac:chgData name="Soleil Yi" userId="c719b956-004a-4243-81dc-14be649b7814" providerId="ADAL" clId="{50DC4EE2-8FC0-47D5-B5D6-C6C1D4ED5A25}" dt="2022-09-13T07:07:59.763" v="769"/>
          <ac:spMkLst>
            <pc:docMk/>
            <pc:sldMk cId="3120695156" sldId="1864"/>
            <ac:spMk id="180" creationId="{81F2DA37-4A8B-4075-9A25-8318C7D538E4}"/>
          </ac:spMkLst>
        </pc:spChg>
        <pc:spChg chg="mod">
          <ac:chgData name="Soleil Yi" userId="c719b956-004a-4243-81dc-14be649b7814" providerId="ADAL" clId="{50DC4EE2-8FC0-47D5-B5D6-C6C1D4ED5A25}" dt="2022-09-13T07:07:59.776" v="773"/>
          <ac:spMkLst>
            <pc:docMk/>
            <pc:sldMk cId="3120695156" sldId="1864"/>
            <ac:spMk id="181" creationId="{148DC8EA-80D2-4838-A628-E4DBB2A360AB}"/>
          </ac:spMkLst>
        </pc:spChg>
        <pc:spChg chg="mod">
          <ac:chgData name="Soleil Yi" userId="c719b956-004a-4243-81dc-14be649b7814" providerId="ADAL" clId="{50DC4EE2-8FC0-47D5-B5D6-C6C1D4ED5A25}" dt="2022-09-13T07:07:59.792" v="777"/>
          <ac:spMkLst>
            <pc:docMk/>
            <pc:sldMk cId="3120695156" sldId="1864"/>
            <ac:spMk id="182" creationId="{FE937583-F0E7-4748-B7DE-ACE6ACE2F50C}"/>
          </ac:spMkLst>
        </pc:spChg>
        <pc:spChg chg="mod">
          <ac:chgData name="Soleil Yi" userId="c719b956-004a-4243-81dc-14be649b7814" providerId="ADAL" clId="{50DC4EE2-8FC0-47D5-B5D6-C6C1D4ED5A25}" dt="2022-09-13T07:07:59.804" v="781"/>
          <ac:spMkLst>
            <pc:docMk/>
            <pc:sldMk cId="3120695156" sldId="1864"/>
            <ac:spMk id="183" creationId="{64AA00FA-FEDD-4B8D-8101-8711190A342D}"/>
          </ac:spMkLst>
        </pc:spChg>
        <pc:spChg chg="mod">
          <ac:chgData name="Soleil Yi" userId="c719b956-004a-4243-81dc-14be649b7814" providerId="ADAL" clId="{50DC4EE2-8FC0-47D5-B5D6-C6C1D4ED5A25}" dt="2022-09-13T07:07:59.816" v="785"/>
          <ac:spMkLst>
            <pc:docMk/>
            <pc:sldMk cId="3120695156" sldId="1864"/>
            <ac:spMk id="184" creationId="{150AB3A1-1ED2-44CF-9086-349080F79CA7}"/>
          </ac:spMkLst>
        </pc:spChg>
        <pc:spChg chg="mod">
          <ac:chgData name="Soleil Yi" userId="c719b956-004a-4243-81dc-14be649b7814" providerId="ADAL" clId="{50DC4EE2-8FC0-47D5-B5D6-C6C1D4ED5A25}" dt="2022-09-13T07:07:59.829" v="789"/>
          <ac:spMkLst>
            <pc:docMk/>
            <pc:sldMk cId="3120695156" sldId="1864"/>
            <ac:spMk id="185" creationId="{AA444CFB-035B-4AEA-9DFC-D3B4E684A10D}"/>
          </ac:spMkLst>
        </pc:spChg>
        <pc:spChg chg="mod">
          <ac:chgData name="Soleil Yi" userId="c719b956-004a-4243-81dc-14be649b7814" providerId="ADAL" clId="{50DC4EE2-8FC0-47D5-B5D6-C6C1D4ED5A25}" dt="2022-09-13T07:07:59.842" v="793"/>
          <ac:spMkLst>
            <pc:docMk/>
            <pc:sldMk cId="3120695156" sldId="1864"/>
            <ac:spMk id="186" creationId="{3067989C-8CC8-4B05-A1C4-BC5770168FC7}"/>
          </ac:spMkLst>
        </pc:spChg>
        <pc:spChg chg="mod">
          <ac:chgData name="Soleil Yi" userId="c719b956-004a-4243-81dc-14be649b7814" providerId="ADAL" clId="{50DC4EE2-8FC0-47D5-B5D6-C6C1D4ED5A25}" dt="2022-09-13T07:07:59.855" v="797"/>
          <ac:spMkLst>
            <pc:docMk/>
            <pc:sldMk cId="3120695156" sldId="1864"/>
            <ac:spMk id="187" creationId="{0F0DFC18-07A9-4D60-A725-B175A36161D4}"/>
          </ac:spMkLst>
        </pc:spChg>
        <pc:spChg chg="mod">
          <ac:chgData name="Soleil Yi" userId="c719b956-004a-4243-81dc-14be649b7814" providerId="ADAL" clId="{50DC4EE2-8FC0-47D5-B5D6-C6C1D4ED5A25}" dt="2022-09-13T07:07:59.867" v="801"/>
          <ac:spMkLst>
            <pc:docMk/>
            <pc:sldMk cId="3120695156" sldId="1864"/>
            <ac:spMk id="188" creationId="{C34DC137-C915-4A8D-9ED7-E48C24ABA679}"/>
          </ac:spMkLst>
        </pc:spChg>
        <pc:spChg chg="mod">
          <ac:chgData name="Soleil Yi" userId="c719b956-004a-4243-81dc-14be649b7814" providerId="ADAL" clId="{50DC4EE2-8FC0-47D5-B5D6-C6C1D4ED5A25}" dt="2022-09-13T07:07:59.879" v="805"/>
          <ac:spMkLst>
            <pc:docMk/>
            <pc:sldMk cId="3120695156" sldId="1864"/>
            <ac:spMk id="189" creationId="{D199C4C7-3BD3-4BF5-974D-9BE1CB4FDA50}"/>
          </ac:spMkLst>
        </pc:spChg>
        <pc:spChg chg="mod">
          <ac:chgData name="Soleil Yi" userId="c719b956-004a-4243-81dc-14be649b7814" providerId="ADAL" clId="{50DC4EE2-8FC0-47D5-B5D6-C6C1D4ED5A25}" dt="2022-09-13T07:07:59.894" v="809"/>
          <ac:spMkLst>
            <pc:docMk/>
            <pc:sldMk cId="3120695156" sldId="1864"/>
            <ac:spMk id="190" creationId="{12AA5868-C6AD-438F-B5BC-D3EA07ADC5F3}"/>
          </ac:spMkLst>
        </pc:spChg>
        <pc:spChg chg="mod">
          <ac:chgData name="Soleil Yi" userId="c719b956-004a-4243-81dc-14be649b7814" providerId="ADAL" clId="{50DC4EE2-8FC0-47D5-B5D6-C6C1D4ED5A25}" dt="2022-09-13T07:07:59.907" v="813"/>
          <ac:spMkLst>
            <pc:docMk/>
            <pc:sldMk cId="3120695156" sldId="1864"/>
            <ac:spMk id="191" creationId="{6A3AC6CB-CA71-4E8E-ADFB-8A437788D0D0}"/>
          </ac:spMkLst>
        </pc:spChg>
        <pc:spChg chg="mod">
          <ac:chgData name="Soleil Yi" userId="c719b956-004a-4243-81dc-14be649b7814" providerId="ADAL" clId="{50DC4EE2-8FC0-47D5-B5D6-C6C1D4ED5A25}" dt="2022-09-13T07:07:59.920" v="817"/>
          <ac:spMkLst>
            <pc:docMk/>
            <pc:sldMk cId="3120695156" sldId="1864"/>
            <ac:spMk id="192" creationId="{F3A129CE-F68D-4D52-B289-38F66FDE7DFB}"/>
          </ac:spMkLst>
        </pc:spChg>
        <pc:spChg chg="mod">
          <ac:chgData name="Soleil Yi" userId="c719b956-004a-4243-81dc-14be649b7814" providerId="ADAL" clId="{50DC4EE2-8FC0-47D5-B5D6-C6C1D4ED5A25}" dt="2022-09-13T07:07:59.935" v="821"/>
          <ac:spMkLst>
            <pc:docMk/>
            <pc:sldMk cId="3120695156" sldId="1864"/>
            <ac:spMk id="193" creationId="{E62A46B0-3674-45EC-BD39-D38D707A85AD}"/>
          </ac:spMkLst>
        </pc:spChg>
        <pc:spChg chg="mod">
          <ac:chgData name="Soleil Yi" userId="c719b956-004a-4243-81dc-14be649b7814" providerId="ADAL" clId="{50DC4EE2-8FC0-47D5-B5D6-C6C1D4ED5A25}" dt="2022-09-13T07:07:59.949" v="825"/>
          <ac:spMkLst>
            <pc:docMk/>
            <pc:sldMk cId="3120695156" sldId="1864"/>
            <ac:spMk id="194" creationId="{B4482AFF-E79A-4F31-B21F-101446FBFE0A}"/>
          </ac:spMkLst>
        </pc:spChg>
        <pc:spChg chg="mod">
          <ac:chgData name="Soleil Yi" userId="c719b956-004a-4243-81dc-14be649b7814" providerId="ADAL" clId="{50DC4EE2-8FC0-47D5-B5D6-C6C1D4ED5A25}" dt="2022-09-13T07:07:59.962" v="829"/>
          <ac:spMkLst>
            <pc:docMk/>
            <pc:sldMk cId="3120695156" sldId="1864"/>
            <ac:spMk id="195" creationId="{B069E6CF-AC2A-4160-AE1E-9E9E28E1EE69}"/>
          </ac:spMkLst>
        </pc:spChg>
        <pc:spChg chg="mod">
          <ac:chgData name="Soleil Yi" userId="c719b956-004a-4243-81dc-14be649b7814" providerId="ADAL" clId="{50DC4EE2-8FC0-47D5-B5D6-C6C1D4ED5A25}" dt="2022-09-13T07:07:59.979" v="833"/>
          <ac:spMkLst>
            <pc:docMk/>
            <pc:sldMk cId="3120695156" sldId="1864"/>
            <ac:spMk id="196" creationId="{5CFAB161-F3E8-479C-BF5A-5F3911DD6C54}"/>
          </ac:spMkLst>
        </pc:spChg>
        <pc:spChg chg="mod">
          <ac:chgData name="Soleil Yi" userId="c719b956-004a-4243-81dc-14be649b7814" providerId="ADAL" clId="{50DC4EE2-8FC0-47D5-B5D6-C6C1D4ED5A25}" dt="2022-09-13T07:07:59.992" v="837"/>
          <ac:spMkLst>
            <pc:docMk/>
            <pc:sldMk cId="3120695156" sldId="1864"/>
            <ac:spMk id="197" creationId="{01D54530-CBD0-45D8-8103-42D6DD48561E}"/>
          </ac:spMkLst>
        </pc:spChg>
        <pc:spChg chg="mod">
          <ac:chgData name="Soleil Yi" userId="c719b956-004a-4243-81dc-14be649b7814" providerId="ADAL" clId="{50DC4EE2-8FC0-47D5-B5D6-C6C1D4ED5A25}" dt="2022-09-13T07:08:00.007" v="841"/>
          <ac:spMkLst>
            <pc:docMk/>
            <pc:sldMk cId="3120695156" sldId="1864"/>
            <ac:spMk id="198" creationId="{55727151-ABFB-4A81-9230-EE36B90E192E}"/>
          </ac:spMkLst>
        </pc:spChg>
        <pc:spChg chg="mod">
          <ac:chgData name="Soleil Yi" userId="c719b956-004a-4243-81dc-14be649b7814" providerId="ADAL" clId="{50DC4EE2-8FC0-47D5-B5D6-C6C1D4ED5A25}" dt="2022-09-13T07:08:00.025" v="845"/>
          <ac:spMkLst>
            <pc:docMk/>
            <pc:sldMk cId="3120695156" sldId="1864"/>
            <ac:spMk id="199" creationId="{62C2F958-047E-4E3A-BF4B-977FE311A868}"/>
          </ac:spMkLst>
        </pc:spChg>
        <pc:spChg chg="mod">
          <ac:chgData name="Soleil Yi" userId="c719b956-004a-4243-81dc-14be649b7814" providerId="ADAL" clId="{50DC4EE2-8FC0-47D5-B5D6-C6C1D4ED5A25}" dt="2022-09-13T07:08:00.044" v="849"/>
          <ac:spMkLst>
            <pc:docMk/>
            <pc:sldMk cId="3120695156" sldId="1864"/>
            <ac:spMk id="200" creationId="{41DF56FF-7E01-4287-A4B3-2034B1E95F8C}"/>
          </ac:spMkLst>
        </pc:spChg>
        <pc:spChg chg="mod">
          <ac:chgData name="Soleil Yi" userId="c719b956-004a-4243-81dc-14be649b7814" providerId="ADAL" clId="{50DC4EE2-8FC0-47D5-B5D6-C6C1D4ED5A25}" dt="2022-09-13T07:08:00.059" v="853"/>
          <ac:spMkLst>
            <pc:docMk/>
            <pc:sldMk cId="3120695156" sldId="1864"/>
            <ac:spMk id="201" creationId="{0877380E-F12C-4C13-AA31-775BE4EB68D0}"/>
          </ac:spMkLst>
        </pc:spChg>
        <pc:spChg chg="mod">
          <ac:chgData name="Soleil Yi" userId="c719b956-004a-4243-81dc-14be649b7814" providerId="ADAL" clId="{50DC4EE2-8FC0-47D5-B5D6-C6C1D4ED5A25}" dt="2022-09-13T07:08:00.072" v="857"/>
          <ac:spMkLst>
            <pc:docMk/>
            <pc:sldMk cId="3120695156" sldId="1864"/>
            <ac:spMk id="202" creationId="{24BAA935-4F54-4EB8-A2F0-9BB1931A74ED}"/>
          </ac:spMkLst>
        </pc:spChg>
        <pc:spChg chg="mod">
          <ac:chgData name="Soleil Yi" userId="c719b956-004a-4243-81dc-14be649b7814" providerId="ADAL" clId="{50DC4EE2-8FC0-47D5-B5D6-C6C1D4ED5A25}" dt="2022-09-13T07:08:00.085" v="861"/>
          <ac:spMkLst>
            <pc:docMk/>
            <pc:sldMk cId="3120695156" sldId="1864"/>
            <ac:spMk id="203" creationId="{5460ABBA-68C4-4FF4-906D-455EA9267AED}"/>
          </ac:spMkLst>
        </pc:spChg>
        <pc:spChg chg="mod">
          <ac:chgData name="Soleil Yi" userId="c719b956-004a-4243-81dc-14be649b7814" providerId="ADAL" clId="{50DC4EE2-8FC0-47D5-B5D6-C6C1D4ED5A25}" dt="2022-09-13T07:08:00.098" v="865"/>
          <ac:spMkLst>
            <pc:docMk/>
            <pc:sldMk cId="3120695156" sldId="1864"/>
            <ac:spMk id="204" creationId="{6571930C-9D1E-4ABC-B821-15DD72A09942}"/>
          </ac:spMkLst>
        </pc:spChg>
        <pc:spChg chg="mod">
          <ac:chgData name="Soleil Yi" userId="c719b956-004a-4243-81dc-14be649b7814" providerId="ADAL" clId="{50DC4EE2-8FC0-47D5-B5D6-C6C1D4ED5A25}" dt="2022-09-13T07:08:00.113" v="869"/>
          <ac:spMkLst>
            <pc:docMk/>
            <pc:sldMk cId="3120695156" sldId="1864"/>
            <ac:spMk id="205" creationId="{BC441A32-DE05-4590-8556-0AD9A864887F}"/>
          </ac:spMkLst>
        </pc:spChg>
        <pc:spChg chg="mod">
          <ac:chgData name="Soleil Yi" userId="c719b956-004a-4243-81dc-14be649b7814" providerId="ADAL" clId="{50DC4EE2-8FC0-47D5-B5D6-C6C1D4ED5A25}" dt="2022-09-13T07:08:00.126" v="873"/>
          <ac:spMkLst>
            <pc:docMk/>
            <pc:sldMk cId="3120695156" sldId="1864"/>
            <ac:spMk id="206" creationId="{021988F9-EF80-4381-819B-BED50B21F290}"/>
          </ac:spMkLst>
        </pc:spChg>
        <pc:spChg chg="mod">
          <ac:chgData name="Soleil Yi" userId="c719b956-004a-4243-81dc-14be649b7814" providerId="ADAL" clId="{50DC4EE2-8FC0-47D5-B5D6-C6C1D4ED5A25}" dt="2022-09-13T07:08:00.140" v="877"/>
          <ac:spMkLst>
            <pc:docMk/>
            <pc:sldMk cId="3120695156" sldId="1864"/>
            <ac:spMk id="207" creationId="{A471C59E-4240-4E90-8311-ABB0630CC6B2}"/>
          </ac:spMkLst>
        </pc:spChg>
        <pc:spChg chg="mod">
          <ac:chgData name="Soleil Yi" userId="c719b956-004a-4243-81dc-14be649b7814" providerId="ADAL" clId="{50DC4EE2-8FC0-47D5-B5D6-C6C1D4ED5A25}" dt="2022-09-13T07:08:00.154" v="881"/>
          <ac:spMkLst>
            <pc:docMk/>
            <pc:sldMk cId="3120695156" sldId="1864"/>
            <ac:spMk id="208" creationId="{EE525C39-13E9-4D83-BA97-3853449CCA7E}"/>
          </ac:spMkLst>
        </pc:spChg>
        <pc:spChg chg="mod">
          <ac:chgData name="Soleil Yi" userId="c719b956-004a-4243-81dc-14be649b7814" providerId="ADAL" clId="{50DC4EE2-8FC0-47D5-B5D6-C6C1D4ED5A25}" dt="2022-09-13T07:08:00.166" v="885"/>
          <ac:spMkLst>
            <pc:docMk/>
            <pc:sldMk cId="3120695156" sldId="1864"/>
            <ac:spMk id="209" creationId="{2357645F-F46D-42F4-9366-D9B2A89C1F44}"/>
          </ac:spMkLst>
        </pc:spChg>
        <pc:spChg chg="mod">
          <ac:chgData name="Soleil Yi" userId="c719b956-004a-4243-81dc-14be649b7814" providerId="ADAL" clId="{50DC4EE2-8FC0-47D5-B5D6-C6C1D4ED5A25}" dt="2022-09-13T07:08:00.179" v="889"/>
          <ac:spMkLst>
            <pc:docMk/>
            <pc:sldMk cId="3120695156" sldId="1864"/>
            <ac:spMk id="210" creationId="{760A6E76-3003-4528-B5A4-C2246ED62ED7}"/>
          </ac:spMkLst>
        </pc:spChg>
        <pc:spChg chg="mod">
          <ac:chgData name="Soleil Yi" userId="c719b956-004a-4243-81dc-14be649b7814" providerId="ADAL" clId="{50DC4EE2-8FC0-47D5-B5D6-C6C1D4ED5A25}" dt="2022-09-13T07:08:00.192" v="893"/>
          <ac:spMkLst>
            <pc:docMk/>
            <pc:sldMk cId="3120695156" sldId="1864"/>
            <ac:spMk id="211" creationId="{315DDB48-AA74-41CA-8FA7-0018898E859E}"/>
          </ac:spMkLst>
        </pc:spChg>
        <pc:spChg chg="mod">
          <ac:chgData name="Soleil Yi" userId="c719b956-004a-4243-81dc-14be649b7814" providerId="ADAL" clId="{50DC4EE2-8FC0-47D5-B5D6-C6C1D4ED5A25}" dt="2022-09-13T07:08:00.209" v="897"/>
          <ac:spMkLst>
            <pc:docMk/>
            <pc:sldMk cId="3120695156" sldId="1864"/>
            <ac:spMk id="212" creationId="{5F2065B5-8F16-4753-AA57-7639F3A3BCFF}"/>
          </ac:spMkLst>
        </pc:spChg>
        <pc:spChg chg="mod">
          <ac:chgData name="Soleil Yi" userId="c719b956-004a-4243-81dc-14be649b7814" providerId="ADAL" clId="{50DC4EE2-8FC0-47D5-B5D6-C6C1D4ED5A25}" dt="2022-09-13T07:08:00.223" v="901"/>
          <ac:spMkLst>
            <pc:docMk/>
            <pc:sldMk cId="3120695156" sldId="1864"/>
            <ac:spMk id="213" creationId="{342D2CB6-4116-4129-A9DC-3E33BFE89A43}"/>
          </ac:spMkLst>
        </pc:spChg>
        <pc:spChg chg="mod">
          <ac:chgData name="Soleil Yi" userId="c719b956-004a-4243-81dc-14be649b7814" providerId="ADAL" clId="{50DC4EE2-8FC0-47D5-B5D6-C6C1D4ED5A25}" dt="2022-09-13T07:08:00.235" v="905"/>
          <ac:spMkLst>
            <pc:docMk/>
            <pc:sldMk cId="3120695156" sldId="1864"/>
            <ac:spMk id="214" creationId="{B17D119D-723C-451E-9B99-E3490674958A}"/>
          </ac:spMkLst>
        </pc:spChg>
        <pc:spChg chg="mod">
          <ac:chgData name="Soleil Yi" userId="c719b956-004a-4243-81dc-14be649b7814" providerId="ADAL" clId="{50DC4EE2-8FC0-47D5-B5D6-C6C1D4ED5A25}" dt="2022-09-13T07:08:00.248" v="909"/>
          <ac:spMkLst>
            <pc:docMk/>
            <pc:sldMk cId="3120695156" sldId="1864"/>
            <ac:spMk id="215" creationId="{8B96D450-6DE4-4911-9F98-2512C78F5BD2}"/>
          </ac:spMkLst>
        </pc:spChg>
        <pc:spChg chg="mod">
          <ac:chgData name="Soleil Yi" userId="c719b956-004a-4243-81dc-14be649b7814" providerId="ADAL" clId="{50DC4EE2-8FC0-47D5-B5D6-C6C1D4ED5A25}" dt="2022-09-13T07:08:00.261" v="913"/>
          <ac:spMkLst>
            <pc:docMk/>
            <pc:sldMk cId="3120695156" sldId="1864"/>
            <ac:spMk id="216" creationId="{605D988F-C897-4A5A-93C7-5380B3634D41}"/>
          </ac:spMkLst>
        </pc:spChg>
        <pc:spChg chg="mod">
          <ac:chgData name="Soleil Yi" userId="c719b956-004a-4243-81dc-14be649b7814" providerId="ADAL" clId="{50DC4EE2-8FC0-47D5-B5D6-C6C1D4ED5A25}" dt="2022-09-13T07:08:00.273" v="917"/>
          <ac:spMkLst>
            <pc:docMk/>
            <pc:sldMk cId="3120695156" sldId="1864"/>
            <ac:spMk id="217" creationId="{85BA8E05-7766-47D3-AE40-9B9EA194381C}"/>
          </ac:spMkLst>
        </pc:spChg>
        <pc:spChg chg="mod">
          <ac:chgData name="Soleil Yi" userId="c719b956-004a-4243-81dc-14be649b7814" providerId="ADAL" clId="{50DC4EE2-8FC0-47D5-B5D6-C6C1D4ED5A25}" dt="2022-09-13T07:08:00.286" v="921"/>
          <ac:spMkLst>
            <pc:docMk/>
            <pc:sldMk cId="3120695156" sldId="1864"/>
            <ac:spMk id="218" creationId="{1399FAB8-F7B4-4353-8913-434C021E386B}"/>
          </ac:spMkLst>
        </pc:spChg>
        <pc:spChg chg="mod">
          <ac:chgData name="Soleil Yi" userId="c719b956-004a-4243-81dc-14be649b7814" providerId="ADAL" clId="{50DC4EE2-8FC0-47D5-B5D6-C6C1D4ED5A25}" dt="2022-09-13T07:08:00.302" v="925"/>
          <ac:spMkLst>
            <pc:docMk/>
            <pc:sldMk cId="3120695156" sldId="1864"/>
            <ac:spMk id="219" creationId="{2DCD273F-AA17-4747-BB5E-17C623AA286F}"/>
          </ac:spMkLst>
        </pc:spChg>
        <pc:spChg chg="mod">
          <ac:chgData name="Soleil Yi" userId="c719b956-004a-4243-81dc-14be649b7814" providerId="ADAL" clId="{50DC4EE2-8FC0-47D5-B5D6-C6C1D4ED5A25}" dt="2022-09-13T07:08:00.317" v="929"/>
          <ac:spMkLst>
            <pc:docMk/>
            <pc:sldMk cId="3120695156" sldId="1864"/>
            <ac:spMk id="220" creationId="{A0D3DE79-CD32-4115-B231-1CC0C63F5834}"/>
          </ac:spMkLst>
        </pc:spChg>
        <pc:spChg chg="mod">
          <ac:chgData name="Soleil Yi" userId="c719b956-004a-4243-81dc-14be649b7814" providerId="ADAL" clId="{50DC4EE2-8FC0-47D5-B5D6-C6C1D4ED5A25}" dt="2022-09-13T07:08:00.331" v="933"/>
          <ac:spMkLst>
            <pc:docMk/>
            <pc:sldMk cId="3120695156" sldId="1864"/>
            <ac:spMk id="221" creationId="{67BBD8FD-2937-4C4A-A6E9-663EF2E697EC}"/>
          </ac:spMkLst>
        </pc:spChg>
        <pc:spChg chg="mod">
          <ac:chgData name="Soleil Yi" userId="c719b956-004a-4243-81dc-14be649b7814" providerId="ADAL" clId="{50DC4EE2-8FC0-47D5-B5D6-C6C1D4ED5A25}" dt="2022-09-13T07:08:00.344" v="937"/>
          <ac:spMkLst>
            <pc:docMk/>
            <pc:sldMk cId="3120695156" sldId="1864"/>
            <ac:spMk id="222" creationId="{8AC462DC-EAEC-46C6-9F2B-8313467EC4B5}"/>
          </ac:spMkLst>
        </pc:spChg>
        <pc:spChg chg="mod">
          <ac:chgData name="Soleil Yi" userId="c719b956-004a-4243-81dc-14be649b7814" providerId="ADAL" clId="{50DC4EE2-8FC0-47D5-B5D6-C6C1D4ED5A25}" dt="2022-09-13T07:08:00.357" v="941"/>
          <ac:spMkLst>
            <pc:docMk/>
            <pc:sldMk cId="3120695156" sldId="1864"/>
            <ac:spMk id="223" creationId="{9FB6ABDB-F3C6-41D3-9B72-045A3707F26C}"/>
          </ac:spMkLst>
        </pc:spChg>
        <pc:spChg chg="mod">
          <ac:chgData name="Soleil Yi" userId="c719b956-004a-4243-81dc-14be649b7814" providerId="ADAL" clId="{50DC4EE2-8FC0-47D5-B5D6-C6C1D4ED5A25}" dt="2022-09-13T07:08:00.369" v="945"/>
          <ac:spMkLst>
            <pc:docMk/>
            <pc:sldMk cId="3120695156" sldId="1864"/>
            <ac:spMk id="224" creationId="{488B1B0A-C0A1-4243-8CBC-F4E44041BCAA}"/>
          </ac:spMkLst>
        </pc:spChg>
        <pc:spChg chg="mod">
          <ac:chgData name="Soleil Yi" userId="c719b956-004a-4243-81dc-14be649b7814" providerId="ADAL" clId="{50DC4EE2-8FC0-47D5-B5D6-C6C1D4ED5A25}" dt="2022-09-13T07:08:00.382" v="949"/>
          <ac:spMkLst>
            <pc:docMk/>
            <pc:sldMk cId="3120695156" sldId="1864"/>
            <ac:spMk id="225" creationId="{239AE0DB-42B6-41B2-A69D-4D1F7658D5BB}"/>
          </ac:spMkLst>
        </pc:spChg>
        <pc:spChg chg="mod">
          <ac:chgData name="Soleil Yi" userId="c719b956-004a-4243-81dc-14be649b7814" providerId="ADAL" clId="{50DC4EE2-8FC0-47D5-B5D6-C6C1D4ED5A25}" dt="2022-09-13T07:08:00.396" v="953"/>
          <ac:spMkLst>
            <pc:docMk/>
            <pc:sldMk cId="3120695156" sldId="1864"/>
            <ac:spMk id="226" creationId="{2F69368F-FDC4-4646-999A-2A6CE7C1D007}"/>
          </ac:spMkLst>
        </pc:spChg>
        <pc:spChg chg="mod">
          <ac:chgData name="Soleil Yi" userId="c719b956-004a-4243-81dc-14be649b7814" providerId="ADAL" clId="{50DC4EE2-8FC0-47D5-B5D6-C6C1D4ED5A25}" dt="2022-09-13T07:08:00.409" v="957"/>
          <ac:spMkLst>
            <pc:docMk/>
            <pc:sldMk cId="3120695156" sldId="1864"/>
            <ac:spMk id="227" creationId="{3B59F3A3-EF8E-4C40-8F29-F1BBA1ECE880}"/>
          </ac:spMkLst>
        </pc:spChg>
        <pc:spChg chg="mod">
          <ac:chgData name="Soleil Yi" userId="c719b956-004a-4243-81dc-14be649b7814" providerId="ADAL" clId="{50DC4EE2-8FC0-47D5-B5D6-C6C1D4ED5A25}" dt="2022-09-13T07:08:00.423" v="961"/>
          <ac:spMkLst>
            <pc:docMk/>
            <pc:sldMk cId="3120695156" sldId="1864"/>
            <ac:spMk id="228" creationId="{7D35B2F8-C422-428C-8734-2632F1513665}"/>
          </ac:spMkLst>
        </pc:spChg>
        <pc:spChg chg="mod">
          <ac:chgData name="Soleil Yi" userId="c719b956-004a-4243-81dc-14be649b7814" providerId="ADAL" clId="{50DC4EE2-8FC0-47D5-B5D6-C6C1D4ED5A25}" dt="2022-09-13T07:08:00.436" v="965"/>
          <ac:spMkLst>
            <pc:docMk/>
            <pc:sldMk cId="3120695156" sldId="1864"/>
            <ac:spMk id="229" creationId="{86E690FE-202E-4405-A493-5587F6C46358}"/>
          </ac:spMkLst>
        </pc:spChg>
        <pc:spChg chg="mod">
          <ac:chgData name="Soleil Yi" userId="c719b956-004a-4243-81dc-14be649b7814" providerId="ADAL" clId="{50DC4EE2-8FC0-47D5-B5D6-C6C1D4ED5A25}" dt="2022-09-13T07:08:00.449" v="969"/>
          <ac:spMkLst>
            <pc:docMk/>
            <pc:sldMk cId="3120695156" sldId="1864"/>
            <ac:spMk id="230" creationId="{9967091A-6FD0-4C31-98F9-6FAA022D1E3B}"/>
          </ac:spMkLst>
        </pc:spChg>
        <pc:spChg chg="mod">
          <ac:chgData name="Soleil Yi" userId="c719b956-004a-4243-81dc-14be649b7814" providerId="ADAL" clId="{50DC4EE2-8FC0-47D5-B5D6-C6C1D4ED5A25}" dt="2022-09-13T07:08:00.463" v="973"/>
          <ac:spMkLst>
            <pc:docMk/>
            <pc:sldMk cId="3120695156" sldId="1864"/>
            <ac:spMk id="231" creationId="{D07A43F2-5FC4-4E44-9BC1-9F847BC1EC36}"/>
          </ac:spMkLst>
        </pc:spChg>
        <pc:spChg chg="mod">
          <ac:chgData name="Soleil Yi" userId="c719b956-004a-4243-81dc-14be649b7814" providerId="ADAL" clId="{50DC4EE2-8FC0-47D5-B5D6-C6C1D4ED5A25}" dt="2022-09-13T07:08:00.477" v="977"/>
          <ac:spMkLst>
            <pc:docMk/>
            <pc:sldMk cId="3120695156" sldId="1864"/>
            <ac:spMk id="232" creationId="{6E3E1D21-23A3-4E12-A0CE-FA170AFAC383}"/>
          </ac:spMkLst>
        </pc:spChg>
        <pc:spChg chg="mod">
          <ac:chgData name="Soleil Yi" userId="c719b956-004a-4243-81dc-14be649b7814" providerId="ADAL" clId="{50DC4EE2-8FC0-47D5-B5D6-C6C1D4ED5A25}" dt="2022-09-13T07:08:00.490" v="981"/>
          <ac:spMkLst>
            <pc:docMk/>
            <pc:sldMk cId="3120695156" sldId="1864"/>
            <ac:spMk id="233" creationId="{4EA23AEC-725F-4D5B-B16A-20E196DF4C0E}"/>
          </ac:spMkLst>
        </pc:spChg>
        <pc:spChg chg="mod">
          <ac:chgData name="Soleil Yi" userId="c719b956-004a-4243-81dc-14be649b7814" providerId="ADAL" clId="{50DC4EE2-8FC0-47D5-B5D6-C6C1D4ED5A25}" dt="2022-09-13T07:08:00.502" v="985"/>
          <ac:spMkLst>
            <pc:docMk/>
            <pc:sldMk cId="3120695156" sldId="1864"/>
            <ac:spMk id="234" creationId="{556689FC-31C9-4B93-8917-6183E52F2863}"/>
          </ac:spMkLst>
        </pc:spChg>
        <pc:spChg chg="mod">
          <ac:chgData name="Soleil Yi" userId="c719b956-004a-4243-81dc-14be649b7814" providerId="ADAL" clId="{50DC4EE2-8FC0-47D5-B5D6-C6C1D4ED5A25}" dt="2022-09-13T07:08:00.515" v="989"/>
          <ac:spMkLst>
            <pc:docMk/>
            <pc:sldMk cId="3120695156" sldId="1864"/>
            <ac:spMk id="235" creationId="{1FC6ADA2-D1F4-4A1D-8FEF-870DE0B6C9C3}"/>
          </ac:spMkLst>
        </pc:spChg>
        <pc:spChg chg="mod">
          <ac:chgData name="Soleil Yi" userId="c719b956-004a-4243-81dc-14be649b7814" providerId="ADAL" clId="{50DC4EE2-8FC0-47D5-B5D6-C6C1D4ED5A25}" dt="2022-09-13T07:08:00.528" v="993"/>
          <ac:spMkLst>
            <pc:docMk/>
            <pc:sldMk cId="3120695156" sldId="1864"/>
            <ac:spMk id="236" creationId="{39B9DFF2-407B-48BB-87A1-5F3C346D80F4}"/>
          </ac:spMkLst>
        </pc:spChg>
        <pc:spChg chg="mod">
          <ac:chgData name="Soleil Yi" userId="c719b956-004a-4243-81dc-14be649b7814" providerId="ADAL" clId="{50DC4EE2-8FC0-47D5-B5D6-C6C1D4ED5A25}" dt="2022-09-13T07:08:00.540" v="997"/>
          <ac:spMkLst>
            <pc:docMk/>
            <pc:sldMk cId="3120695156" sldId="1864"/>
            <ac:spMk id="237" creationId="{8FBD387D-D355-43F4-957E-11CCE9472030}"/>
          </ac:spMkLst>
        </pc:spChg>
        <pc:spChg chg="mod">
          <ac:chgData name="Soleil Yi" userId="c719b956-004a-4243-81dc-14be649b7814" providerId="ADAL" clId="{50DC4EE2-8FC0-47D5-B5D6-C6C1D4ED5A25}" dt="2022-09-13T07:08:00.553" v="1001"/>
          <ac:spMkLst>
            <pc:docMk/>
            <pc:sldMk cId="3120695156" sldId="1864"/>
            <ac:spMk id="238" creationId="{16093B63-9412-4150-B495-97C792710C5D}"/>
          </ac:spMkLst>
        </pc:spChg>
        <pc:spChg chg="mod">
          <ac:chgData name="Soleil Yi" userId="c719b956-004a-4243-81dc-14be649b7814" providerId="ADAL" clId="{50DC4EE2-8FC0-47D5-B5D6-C6C1D4ED5A25}" dt="2022-09-13T07:08:00.568" v="1005"/>
          <ac:spMkLst>
            <pc:docMk/>
            <pc:sldMk cId="3120695156" sldId="1864"/>
            <ac:spMk id="239" creationId="{79248CF4-58F1-42EE-9B0F-6972056AD1DF}"/>
          </ac:spMkLst>
        </pc:spChg>
        <pc:spChg chg="mod">
          <ac:chgData name="Soleil Yi" userId="c719b956-004a-4243-81dc-14be649b7814" providerId="ADAL" clId="{50DC4EE2-8FC0-47D5-B5D6-C6C1D4ED5A25}" dt="2022-09-13T07:08:00.588" v="1009"/>
          <ac:spMkLst>
            <pc:docMk/>
            <pc:sldMk cId="3120695156" sldId="1864"/>
            <ac:spMk id="240" creationId="{07B14A7D-8516-463B-95A5-C2A7038976D3}"/>
          </ac:spMkLst>
        </pc:spChg>
        <pc:spChg chg="mod">
          <ac:chgData name="Soleil Yi" userId="c719b956-004a-4243-81dc-14be649b7814" providerId="ADAL" clId="{50DC4EE2-8FC0-47D5-B5D6-C6C1D4ED5A25}" dt="2022-09-13T07:08:00.603" v="1013"/>
          <ac:spMkLst>
            <pc:docMk/>
            <pc:sldMk cId="3120695156" sldId="1864"/>
            <ac:spMk id="241" creationId="{7F9B9A27-99F8-4449-9CB9-741155A14A6D}"/>
          </ac:spMkLst>
        </pc:spChg>
        <pc:spChg chg="mod">
          <ac:chgData name="Soleil Yi" userId="c719b956-004a-4243-81dc-14be649b7814" providerId="ADAL" clId="{50DC4EE2-8FC0-47D5-B5D6-C6C1D4ED5A25}" dt="2022-09-13T07:08:00.618" v="1017"/>
          <ac:spMkLst>
            <pc:docMk/>
            <pc:sldMk cId="3120695156" sldId="1864"/>
            <ac:spMk id="242" creationId="{8667CA03-625D-4E22-873A-F67FD0B635DC}"/>
          </ac:spMkLst>
        </pc:spChg>
        <pc:spChg chg="mod">
          <ac:chgData name="Soleil Yi" userId="c719b956-004a-4243-81dc-14be649b7814" providerId="ADAL" clId="{50DC4EE2-8FC0-47D5-B5D6-C6C1D4ED5A25}" dt="2022-09-13T07:08:00.633" v="1021"/>
          <ac:spMkLst>
            <pc:docMk/>
            <pc:sldMk cId="3120695156" sldId="1864"/>
            <ac:spMk id="243" creationId="{6287FD99-478A-44C5-B650-272DC8BCBB30}"/>
          </ac:spMkLst>
        </pc:spChg>
        <pc:spChg chg="mod">
          <ac:chgData name="Soleil Yi" userId="c719b956-004a-4243-81dc-14be649b7814" providerId="ADAL" clId="{50DC4EE2-8FC0-47D5-B5D6-C6C1D4ED5A25}" dt="2022-09-13T07:08:00.647" v="1025"/>
          <ac:spMkLst>
            <pc:docMk/>
            <pc:sldMk cId="3120695156" sldId="1864"/>
            <ac:spMk id="244" creationId="{DB499E29-83D0-404A-AF49-711EC15E9CDD}"/>
          </ac:spMkLst>
        </pc:spChg>
        <pc:spChg chg="mod">
          <ac:chgData name="Soleil Yi" userId="c719b956-004a-4243-81dc-14be649b7814" providerId="ADAL" clId="{50DC4EE2-8FC0-47D5-B5D6-C6C1D4ED5A25}" dt="2022-09-13T07:08:00.661" v="1029"/>
          <ac:spMkLst>
            <pc:docMk/>
            <pc:sldMk cId="3120695156" sldId="1864"/>
            <ac:spMk id="245" creationId="{29A9F2DB-A5A2-4875-ACF6-F0794CD0FF07}"/>
          </ac:spMkLst>
        </pc:spChg>
        <pc:spChg chg="mod">
          <ac:chgData name="Soleil Yi" userId="c719b956-004a-4243-81dc-14be649b7814" providerId="ADAL" clId="{50DC4EE2-8FC0-47D5-B5D6-C6C1D4ED5A25}" dt="2022-09-13T07:08:00.676" v="1033"/>
          <ac:spMkLst>
            <pc:docMk/>
            <pc:sldMk cId="3120695156" sldId="1864"/>
            <ac:spMk id="246" creationId="{0558DB41-31EF-4C62-A976-F8FE0924609A}"/>
          </ac:spMkLst>
        </pc:spChg>
        <pc:spChg chg="mod">
          <ac:chgData name="Soleil Yi" userId="c719b956-004a-4243-81dc-14be649b7814" providerId="ADAL" clId="{50DC4EE2-8FC0-47D5-B5D6-C6C1D4ED5A25}" dt="2022-09-13T07:08:00.691" v="1037"/>
          <ac:spMkLst>
            <pc:docMk/>
            <pc:sldMk cId="3120695156" sldId="1864"/>
            <ac:spMk id="247" creationId="{844DB447-E685-4D9C-B2D0-1E8AD03BC28C}"/>
          </ac:spMkLst>
        </pc:spChg>
        <pc:spChg chg="mod">
          <ac:chgData name="Soleil Yi" userId="c719b956-004a-4243-81dc-14be649b7814" providerId="ADAL" clId="{50DC4EE2-8FC0-47D5-B5D6-C6C1D4ED5A25}" dt="2022-09-13T07:08:00.706" v="1041"/>
          <ac:spMkLst>
            <pc:docMk/>
            <pc:sldMk cId="3120695156" sldId="1864"/>
            <ac:spMk id="248" creationId="{39679A77-2D02-42AB-A994-51602809356A}"/>
          </ac:spMkLst>
        </pc:spChg>
        <pc:spChg chg="mod">
          <ac:chgData name="Soleil Yi" userId="c719b956-004a-4243-81dc-14be649b7814" providerId="ADAL" clId="{50DC4EE2-8FC0-47D5-B5D6-C6C1D4ED5A25}" dt="2022-09-13T07:08:00.720" v="1045"/>
          <ac:spMkLst>
            <pc:docMk/>
            <pc:sldMk cId="3120695156" sldId="1864"/>
            <ac:spMk id="249" creationId="{20AC21BA-B749-491B-BE85-96B1F542A631}"/>
          </ac:spMkLst>
        </pc:spChg>
        <pc:spChg chg="mod">
          <ac:chgData name="Soleil Yi" userId="c719b956-004a-4243-81dc-14be649b7814" providerId="ADAL" clId="{50DC4EE2-8FC0-47D5-B5D6-C6C1D4ED5A25}" dt="2022-09-13T07:08:00.735" v="1049"/>
          <ac:spMkLst>
            <pc:docMk/>
            <pc:sldMk cId="3120695156" sldId="1864"/>
            <ac:spMk id="250" creationId="{22F20203-C2C1-4E87-B24A-1EF76A37F0FE}"/>
          </ac:spMkLst>
        </pc:spChg>
        <pc:spChg chg="mod">
          <ac:chgData name="Soleil Yi" userId="c719b956-004a-4243-81dc-14be649b7814" providerId="ADAL" clId="{50DC4EE2-8FC0-47D5-B5D6-C6C1D4ED5A25}" dt="2022-09-13T07:08:00.749" v="1053"/>
          <ac:spMkLst>
            <pc:docMk/>
            <pc:sldMk cId="3120695156" sldId="1864"/>
            <ac:spMk id="251" creationId="{083B4263-ED40-43D1-BB71-C319A5BC2170}"/>
          </ac:spMkLst>
        </pc:spChg>
        <pc:spChg chg="mod">
          <ac:chgData name="Soleil Yi" userId="c719b956-004a-4243-81dc-14be649b7814" providerId="ADAL" clId="{50DC4EE2-8FC0-47D5-B5D6-C6C1D4ED5A25}" dt="2022-09-13T07:08:00.763" v="1057"/>
          <ac:spMkLst>
            <pc:docMk/>
            <pc:sldMk cId="3120695156" sldId="1864"/>
            <ac:spMk id="252" creationId="{DE2E973D-0843-4605-B98B-3DD392C92737}"/>
          </ac:spMkLst>
        </pc:spChg>
        <pc:spChg chg="mod">
          <ac:chgData name="Soleil Yi" userId="c719b956-004a-4243-81dc-14be649b7814" providerId="ADAL" clId="{50DC4EE2-8FC0-47D5-B5D6-C6C1D4ED5A25}" dt="2022-09-13T07:08:00.777" v="1061"/>
          <ac:spMkLst>
            <pc:docMk/>
            <pc:sldMk cId="3120695156" sldId="1864"/>
            <ac:spMk id="253" creationId="{7ED32A89-D0AA-4CDA-A8EB-EF1EE86202A3}"/>
          </ac:spMkLst>
        </pc:spChg>
        <pc:spChg chg="mod">
          <ac:chgData name="Soleil Yi" userId="c719b956-004a-4243-81dc-14be649b7814" providerId="ADAL" clId="{50DC4EE2-8FC0-47D5-B5D6-C6C1D4ED5A25}" dt="2022-09-13T07:08:00.792" v="1065"/>
          <ac:spMkLst>
            <pc:docMk/>
            <pc:sldMk cId="3120695156" sldId="1864"/>
            <ac:spMk id="254" creationId="{A38D361A-A0A3-4688-8B4E-38D36BDC3667}"/>
          </ac:spMkLst>
        </pc:spChg>
        <pc:spChg chg="mod">
          <ac:chgData name="Soleil Yi" userId="c719b956-004a-4243-81dc-14be649b7814" providerId="ADAL" clId="{50DC4EE2-8FC0-47D5-B5D6-C6C1D4ED5A25}" dt="2022-09-13T07:08:00.807" v="1069"/>
          <ac:spMkLst>
            <pc:docMk/>
            <pc:sldMk cId="3120695156" sldId="1864"/>
            <ac:spMk id="255" creationId="{6061814D-313C-4C26-A4D7-7068D6219C3B}"/>
          </ac:spMkLst>
        </pc:spChg>
        <pc:spChg chg="mod">
          <ac:chgData name="Soleil Yi" userId="c719b956-004a-4243-81dc-14be649b7814" providerId="ADAL" clId="{50DC4EE2-8FC0-47D5-B5D6-C6C1D4ED5A25}" dt="2022-09-13T07:08:00.820" v="1073"/>
          <ac:spMkLst>
            <pc:docMk/>
            <pc:sldMk cId="3120695156" sldId="1864"/>
            <ac:spMk id="256" creationId="{C4C01B0D-3C4A-4CCB-B23F-FA7C2A050621}"/>
          </ac:spMkLst>
        </pc:spChg>
        <pc:spChg chg="mod">
          <ac:chgData name="Soleil Yi" userId="c719b956-004a-4243-81dc-14be649b7814" providerId="ADAL" clId="{50DC4EE2-8FC0-47D5-B5D6-C6C1D4ED5A25}" dt="2022-09-13T07:08:00.834" v="1077"/>
          <ac:spMkLst>
            <pc:docMk/>
            <pc:sldMk cId="3120695156" sldId="1864"/>
            <ac:spMk id="257" creationId="{8B198E36-0185-4A2F-8EFD-92288156E09D}"/>
          </ac:spMkLst>
        </pc:spChg>
        <pc:spChg chg="mod">
          <ac:chgData name="Soleil Yi" userId="c719b956-004a-4243-81dc-14be649b7814" providerId="ADAL" clId="{50DC4EE2-8FC0-47D5-B5D6-C6C1D4ED5A25}" dt="2022-09-13T07:08:00.847" v="1081"/>
          <ac:spMkLst>
            <pc:docMk/>
            <pc:sldMk cId="3120695156" sldId="1864"/>
            <ac:spMk id="258" creationId="{7EF4EE8A-1AB9-43EE-ADAC-C2DF0FA4E9D7}"/>
          </ac:spMkLst>
        </pc:spChg>
        <pc:spChg chg="mod">
          <ac:chgData name="Soleil Yi" userId="c719b956-004a-4243-81dc-14be649b7814" providerId="ADAL" clId="{50DC4EE2-8FC0-47D5-B5D6-C6C1D4ED5A25}" dt="2022-09-13T07:08:00.860" v="1085"/>
          <ac:spMkLst>
            <pc:docMk/>
            <pc:sldMk cId="3120695156" sldId="1864"/>
            <ac:spMk id="259" creationId="{128B4147-2BC8-4A8C-AC04-6FDF7DC077F4}"/>
          </ac:spMkLst>
        </pc:spChg>
        <pc:spChg chg="mod">
          <ac:chgData name="Soleil Yi" userId="c719b956-004a-4243-81dc-14be649b7814" providerId="ADAL" clId="{50DC4EE2-8FC0-47D5-B5D6-C6C1D4ED5A25}" dt="2022-09-13T07:08:00.876" v="1089"/>
          <ac:spMkLst>
            <pc:docMk/>
            <pc:sldMk cId="3120695156" sldId="1864"/>
            <ac:spMk id="260" creationId="{2F6DD95E-90EB-414F-A5A2-5056CE9292F5}"/>
          </ac:spMkLst>
        </pc:spChg>
        <pc:spChg chg="mod">
          <ac:chgData name="Soleil Yi" userId="c719b956-004a-4243-81dc-14be649b7814" providerId="ADAL" clId="{50DC4EE2-8FC0-47D5-B5D6-C6C1D4ED5A25}" dt="2022-09-13T07:08:00.890" v="1093"/>
          <ac:spMkLst>
            <pc:docMk/>
            <pc:sldMk cId="3120695156" sldId="1864"/>
            <ac:spMk id="261" creationId="{5BCA6473-A40C-446F-BE7F-DE1A86854E0A}"/>
          </ac:spMkLst>
        </pc:spChg>
        <pc:spChg chg="mod">
          <ac:chgData name="Soleil Yi" userId="c719b956-004a-4243-81dc-14be649b7814" providerId="ADAL" clId="{50DC4EE2-8FC0-47D5-B5D6-C6C1D4ED5A25}" dt="2022-09-13T07:08:00.905" v="1097"/>
          <ac:spMkLst>
            <pc:docMk/>
            <pc:sldMk cId="3120695156" sldId="1864"/>
            <ac:spMk id="262" creationId="{EF06D34F-60B7-41ED-B2E8-BC83912E9F01}"/>
          </ac:spMkLst>
        </pc:spChg>
        <pc:spChg chg="mod">
          <ac:chgData name="Soleil Yi" userId="c719b956-004a-4243-81dc-14be649b7814" providerId="ADAL" clId="{50DC4EE2-8FC0-47D5-B5D6-C6C1D4ED5A25}" dt="2022-09-13T07:08:00.918" v="1101"/>
          <ac:spMkLst>
            <pc:docMk/>
            <pc:sldMk cId="3120695156" sldId="1864"/>
            <ac:spMk id="263" creationId="{2946FBF8-F802-4416-ABB7-4FAE6AF2B99E}"/>
          </ac:spMkLst>
        </pc:spChg>
        <pc:spChg chg="mod">
          <ac:chgData name="Soleil Yi" userId="c719b956-004a-4243-81dc-14be649b7814" providerId="ADAL" clId="{50DC4EE2-8FC0-47D5-B5D6-C6C1D4ED5A25}" dt="2022-09-13T07:08:00.930" v="1105"/>
          <ac:spMkLst>
            <pc:docMk/>
            <pc:sldMk cId="3120695156" sldId="1864"/>
            <ac:spMk id="264" creationId="{2E1DBB5A-DA0E-4365-A567-F14B4D21750A}"/>
          </ac:spMkLst>
        </pc:spChg>
        <pc:spChg chg="mod">
          <ac:chgData name="Soleil Yi" userId="c719b956-004a-4243-81dc-14be649b7814" providerId="ADAL" clId="{50DC4EE2-8FC0-47D5-B5D6-C6C1D4ED5A25}" dt="2022-09-13T07:08:00.946" v="1109"/>
          <ac:spMkLst>
            <pc:docMk/>
            <pc:sldMk cId="3120695156" sldId="1864"/>
            <ac:spMk id="265" creationId="{B5963AAD-4CB1-44A8-B958-3F487D329639}"/>
          </ac:spMkLst>
        </pc:spChg>
        <pc:spChg chg="mod">
          <ac:chgData name="Soleil Yi" userId="c719b956-004a-4243-81dc-14be649b7814" providerId="ADAL" clId="{50DC4EE2-8FC0-47D5-B5D6-C6C1D4ED5A25}" dt="2022-09-13T07:08:00.959" v="1113"/>
          <ac:spMkLst>
            <pc:docMk/>
            <pc:sldMk cId="3120695156" sldId="1864"/>
            <ac:spMk id="266" creationId="{0DF80E17-64E4-4E2C-8E44-AE042D5DE868}"/>
          </ac:spMkLst>
        </pc:spChg>
        <pc:spChg chg="mod">
          <ac:chgData name="Soleil Yi" userId="c719b956-004a-4243-81dc-14be649b7814" providerId="ADAL" clId="{50DC4EE2-8FC0-47D5-B5D6-C6C1D4ED5A25}" dt="2022-09-13T07:08:00.973" v="1117"/>
          <ac:spMkLst>
            <pc:docMk/>
            <pc:sldMk cId="3120695156" sldId="1864"/>
            <ac:spMk id="267" creationId="{1C6AB371-1271-4023-874C-7DF4088742DC}"/>
          </ac:spMkLst>
        </pc:spChg>
        <pc:spChg chg="mod">
          <ac:chgData name="Soleil Yi" userId="c719b956-004a-4243-81dc-14be649b7814" providerId="ADAL" clId="{50DC4EE2-8FC0-47D5-B5D6-C6C1D4ED5A25}" dt="2022-09-13T07:08:00.990" v="1121"/>
          <ac:spMkLst>
            <pc:docMk/>
            <pc:sldMk cId="3120695156" sldId="1864"/>
            <ac:spMk id="268" creationId="{19342310-3A5B-44DA-AF44-21AA74401990}"/>
          </ac:spMkLst>
        </pc:spChg>
        <pc:spChg chg="mod">
          <ac:chgData name="Soleil Yi" userId="c719b956-004a-4243-81dc-14be649b7814" providerId="ADAL" clId="{50DC4EE2-8FC0-47D5-B5D6-C6C1D4ED5A25}" dt="2022-09-13T07:08:01.006" v="1125"/>
          <ac:spMkLst>
            <pc:docMk/>
            <pc:sldMk cId="3120695156" sldId="1864"/>
            <ac:spMk id="269" creationId="{6350720B-86CB-46CD-A1FE-E8C3FB8797B8}"/>
          </ac:spMkLst>
        </pc:spChg>
        <pc:spChg chg="mod">
          <ac:chgData name="Soleil Yi" userId="c719b956-004a-4243-81dc-14be649b7814" providerId="ADAL" clId="{50DC4EE2-8FC0-47D5-B5D6-C6C1D4ED5A25}" dt="2022-09-13T07:08:01.023" v="1129"/>
          <ac:spMkLst>
            <pc:docMk/>
            <pc:sldMk cId="3120695156" sldId="1864"/>
            <ac:spMk id="270" creationId="{D1732C28-B21F-4925-B50D-C387692146C8}"/>
          </ac:spMkLst>
        </pc:spChg>
        <pc:spChg chg="mod">
          <ac:chgData name="Soleil Yi" userId="c719b956-004a-4243-81dc-14be649b7814" providerId="ADAL" clId="{50DC4EE2-8FC0-47D5-B5D6-C6C1D4ED5A25}" dt="2022-09-13T07:08:01.036" v="1133"/>
          <ac:spMkLst>
            <pc:docMk/>
            <pc:sldMk cId="3120695156" sldId="1864"/>
            <ac:spMk id="271" creationId="{FF016A43-EC8C-4A9A-ADCA-E84FF515F5F9}"/>
          </ac:spMkLst>
        </pc:spChg>
        <pc:spChg chg="mod">
          <ac:chgData name="Soleil Yi" userId="c719b956-004a-4243-81dc-14be649b7814" providerId="ADAL" clId="{50DC4EE2-8FC0-47D5-B5D6-C6C1D4ED5A25}" dt="2022-09-13T07:08:01.052" v="1137"/>
          <ac:spMkLst>
            <pc:docMk/>
            <pc:sldMk cId="3120695156" sldId="1864"/>
            <ac:spMk id="272" creationId="{7D5C4D57-F8EA-4412-A1AB-0A7FFA252B2E}"/>
          </ac:spMkLst>
        </pc:spChg>
        <pc:spChg chg="mod">
          <ac:chgData name="Soleil Yi" userId="c719b956-004a-4243-81dc-14be649b7814" providerId="ADAL" clId="{50DC4EE2-8FC0-47D5-B5D6-C6C1D4ED5A25}" dt="2022-09-13T07:08:01.066" v="1141"/>
          <ac:spMkLst>
            <pc:docMk/>
            <pc:sldMk cId="3120695156" sldId="1864"/>
            <ac:spMk id="273" creationId="{14212086-DB22-4CE1-8DA6-2DE7D16D0348}"/>
          </ac:spMkLst>
        </pc:spChg>
        <pc:spChg chg="mod">
          <ac:chgData name="Soleil Yi" userId="c719b956-004a-4243-81dc-14be649b7814" providerId="ADAL" clId="{50DC4EE2-8FC0-47D5-B5D6-C6C1D4ED5A25}" dt="2022-09-13T07:08:01.078" v="1145"/>
          <ac:spMkLst>
            <pc:docMk/>
            <pc:sldMk cId="3120695156" sldId="1864"/>
            <ac:spMk id="274" creationId="{D4ABAD46-5604-40BD-959F-5B6ED7AB611F}"/>
          </ac:spMkLst>
        </pc:spChg>
        <pc:spChg chg="mod">
          <ac:chgData name="Soleil Yi" userId="c719b956-004a-4243-81dc-14be649b7814" providerId="ADAL" clId="{50DC4EE2-8FC0-47D5-B5D6-C6C1D4ED5A25}" dt="2022-09-13T07:08:01.091" v="1149"/>
          <ac:spMkLst>
            <pc:docMk/>
            <pc:sldMk cId="3120695156" sldId="1864"/>
            <ac:spMk id="275" creationId="{85610023-BC2F-4C2B-9D4F-9B9FE167C880}"/>
          </ac:spMkLst>
        </pc:spChg>
        <pc:spChg chg="mod">
          <ac:chgData name="Soleil Yi" userId="c719b956-004a-4243-81dc-14be649b7814" providerId="ADAL" clId="{50DC4EE2-8FC0-47D5-B5D6-C6C1D4ED5A25}" dt="2022-09-13T07:08:01.103" v="1153"/>
          <ac:spMkLst>
            <pc:docMk/>
            <pc:sldMk cId="3120695156" sldId="1864"/>
            <ac:spMk id="276" creationId="{54BD6E45-358F-48DD-9D59-C2DFAC2E1B42}"/>
          </ac:spMkLst>
        </pc:spChg>
        <pc:spChg chg="mod">
          <ac:chgData name="Soleil Yi" userId="c719b956-004a-4243-81dc-14be649b7814" providerId="ADAL" clId="{50DC4EE2-8FC0-47D5-B5D6-C6C1D4ED5A25}" dt="2022-09-13T07:08:01.121" v="1157"/>
          <ac:spMkLst>
            <pc:docMk/>
            <pc:sldMk cId="3120695156" sldId="1864"/>
            <ac:spMk id="277" creationId="{388637AA-E150-430D-9D87-1C0C175903CF}"/>
          </ac:spMkLst>
        </pc:spChg>
        <pc:spChg chg="mod">
          <ac:chgData name="Soleil Yi" userId="c719b956-004a-4243-81dc-14be649b7814" providerId="ADAL" clId="{50DC4EE2-8FC0-47D5-B5D6-C6C1D4ED5A25}" dt="2022-09-13T07:08:01.134" v="1161"/>
          <ac:spMkLst>
            <pc:docMk/>
            <pc:sldMk cId="3120695156" sldId="1864"/>
            <ac:spMk id="278" creationId="{6254B827-9785-488E-A8DF-5C6C0BC68B5E}"/>
          </ac:spMkLst>
        </pc:spChg>
        <pc:spChg chg="mod">
          <ac:chgData name="Soleil Yi" userId="c719b956-004a-4243-81dc-14be649b7814" providerId="ADAL" clId="{50DC4EE2-8FC0-47D5-B5D6-C6C1D4ED5A25}" dt="2022-09-13T07:08:01.148" v="1165"/>
          <ac:spMkLst>
            <pc:docMk/>
            <pc:sldMk cId="3120695156" sldId="1864"/>
            <ac:spMk id="279" creationId="{0C1A11FF-C15E-484E-92F6-A7991A22BF6C}"/>
          </ac:spMkLst>
        </pc:spChg>
        <pc:spChg chg="mod">
          <ac:chgData name="Soleil Yi" userId="c719b956-004a-4243-81dc-14be649b7814" providerId="ADAL" clId="{50DC4EE2-8FC0-47D5-B5D6-C6C1D4ED5A25}" dt="2022-09-13T07:08:01.161" v="1169"/>
          <ac:spMkLst>
            <pc:docMk/>
            <pc:sldMk cId="3120695156" sldId="1864"/>
            <ac:spMk id="280" creationId="{B06CE2B2-59B5-4D41-B5AE-700D742990B0}"/>
          </ac:spMkLst>
        </pc:spChg>
        <pc:spChg chg="mod">
          <ac:chgData name="Soleil Yi" userId="c719b956-004a-4243-81dc-14be649b7814" providerId="ADAL" clId="{50DC4EE2-8FC0-47D5-B5D6-C6C1D4ED5A25}" dt="2022-09-13T07:08:01.173" v="1173"/>
          <ac:spMkLst>
            <pc:docMk/>
            <pc:sldMk cId="3120695156" sldId="1864"/>
            <ac:spMk id="281" creationId="{35987547-16B4-4089-A03A-DE65F249C06E}"/>
          </ac:spMkLst>
        </pc:spChg>
        <pc:spChg chg="mod">
          <ac:chgData name="Soleil Yi" userId="c719b956-004a-4243-81dc-14be649b7814" providerId="ADAL" clId="{50DC4EE2-8FC0-47D5-B5D6-C6C1D4ED5A25}" dt="2022-09-13T07:08:01.191" v="1177"/>
          <ac:spMkLst>
            <pc:docMk/>
            <pc:sldMk cId="3120695156" sldId="1864"/>
            <ac:spMk id="282" creationId="{38390FA6-C8B2-496A-8CFA-35107A0AB42E}"/>
          </ac:spMkLst>
        </pc:spChg>
        <pc:spChg chg="mod">
          <ac:chgData name="Soleil Yi" userId="c719b956-004a-4243-81dc-14be649b7814" providerId="ADAL" clId="{50DC4EE2-8FC0-47D5-B5D6-C6C1D4ED5A25}" dt="2022-09-13T07:08:01.205" v="1181"/>
          <ac:spMkLst>
            <pc:docMk/>
            <pc:sldMk cId="3120695156" sldId="1864"/>
            <ac:spMk id="283" creationId="{C31C61D4-CE1C-4ACC-AC61-64E88E34DAC6}"/>
          </ac:spMkLst>
        </pc:spChg>
        <pc:spChg chg="mod">
          <ac:chgData name="Soleil Yi" userId="c719b956-004a-4243-81dc-14be649b7814" providerId="ADAL" clId="{50DC4EE2-8FC0-47D5-B5D6-C6C1D4ED5A25}" dt="2022-09-13T07:08:01.220" v="1185"/>
          <ac:spMkLst>
            <pc:docMk/>
            <pc:sldMk cId="3120695156" sldId="1864"/>
            <ac:spMk id="284" creationId="{96639A39-861C-4AD9-AB2B-FFE935CE1120}"/>
          </ac:spMkLst>
        </pc:spChg>
        <pc:spChg chg="mod">
          <ac:chgData name="Soleil Yi" userId="c719b956-004a-4243-81dc-14be649b7814" providerId="ADAL" clId="{50DC4EE2-8FC0-47D5-B5D6-C6C1D4ED5A25}" dt="2022-09-13T07:08:01.235" v="1189"/>
          <ac:spMkLst>
            <pc:docMk/>
            <pc:sldMk cId="3120695156" sldId="1864"/>
            <ac:spMk id="285" creationId="{5F946582-7ED7-48DC-AE96-C7EF22BA7832}"/>
          </ac:spMkLst>
        </pc:spChg>
        <pc:spChg chg="mod">
          <ac:chgData name="Soleil Yi" userId="c719b956-004a-4243-81dc-14be649b7814" providerId="ADAL" clId="{50DC4EE2-8FC0-47D5-B5D6-C6C1D4ED5A25}" dt="2022-09-13T07:08:01.248" v="1193"/>
          <ac:spMkLst>
            <pc:docMk/>
            <pc:sldMk cId="3120695156" sldId="1864"/>
            <ac:spMk id="286" creationId="{217FC04A-FFE2-4679-A7EA-93EC4BE8D2C3}"/>
          </ac:spMkLst>
        </pc:spChg>
        <pc:spChg chg="mod">
          <ac:chgData name="Soleil Yi" userId="c719b956-004a-4243-81dc-14be649b7814" providerId="ADAL" clId="{50DC4EE2-8FC0-47D5-B5D6-C6C1D4ED5A25}" dt="2022-09-13T07:08:01.260" v="1197"/>
          <ac:spMkLst>
            <pc:docMk/>
            <pc:sldMk cId="3120695156" sldId="1864"/>
            <ac:spMk id="287" creationId="{20257E9E-30FA-4213-B587-700EC0E64018}"/>
          </ac:spMkLst>
        </pc:spChg>
        <pc:spChg chg="mod">
          <ac:chgData name="Soleil Yi" userId="c719b956-004a-4243-81dc-14be649b7814" providerId="ADAL" clId="{50DC4EE2-8FC0-47D5-B5D6-C6C1D4ED5A25}" dt="2022-09-13T07:08:01.273" v="1201"/>
          <ac:spMkLst>
            <pc:docMk/>
            <pc:sldMk cId="3120695156" sldId="1864"/>
            <ac:spMk id="288" creationId="{1A97D367-4B94-4A85-B9EE-1CC0CDE9F339}"/>
          </ac:spMkLst>
        </pc:spChg>
        <pc:spChg chg="mod">
          <ac:chgData name="Soleil Yi" userId="c719b956-004a-4243-81dc-14be649b7814" providerId="ADAL" clId="{50DC4EE2-8FC0-47D5-B5D6-C6C1D4ED5A25}" dt="2022-09-13T07:08:01.286" v="1205"/>
          <ac:spMkLst>
            <pc:docMk/>
            <pc:sldMk cId="3120695156" sldId="1864"/>
            <ac:spMk id="289" creationId="{34184D54-FEE3-4C77-A3A0-24EA89896E55}"/>
          </ac:spMkLst>
        </pc:spChg>
        <pc:spChg chg="mod">
          <ac:chgData name="Soleil Yi" userId="c719b956-004a-4243-81dc-14be649b7814" providerId="ADAL" clId="{50DC4EE2-8FC0-47D5-B5D6-C6C1D4ED5A25}" dt="2022-09-13T07:08:01.299" v="1209"/>
          <ac:spMkLst>
            <pc:docMk/>
            <pc:sldMk cId="3120695156" sldId="1864"/>
            <ac:spMk id="290" creationId="{3F82DB03-26DD-47F6-AA24-BA544253D74F}"/>
          </ac:spMkLst>
        </pc:spChg>
        <pc:spChg chg="mod">
          <ac:chgData name="Soleil Yi" userId="c719b956-004a-4243-81dc-14be649b7814" providerId="ADAL" clId="{50DC4EE2-8FC0-47D5-B5D6-C6C1D4ED5A25}" dt="2022-09-13T07:08:01.313" v="1213"/>
          <ac:spMkLst>
            <pc:docMk/>
            <pc:sldMk cId="3120695156" sldId="1864"/>
            <ac:spMk id="291" creationId="{32D8D39F-8D04-4080-8342-9F9B7E185B3A}"/>
          </ac:spMkLst>
        </pc:spChg>
        <pc:spChg chg="mod">
          <ac:chgData name="Soleil Yi" userId="c719b956-004a-4243-81dc-14be649b7814" providerId="ADAL" clId="{50DC4EE2-8FC0-47D5-B5D6-C6C1D4ED5A25}" dt="2022-09-13T07:08:01.332" v="1217"/>
          <ac:spMkLst>
            <pc:docMk/>
            <pc:sldMk cId="3120695156" sldId="1864"/>
            <ac:spMk id="292" creationId="{C22473D0-7CDC-46D6-B2F4-628EC6337B24}"/>
          </ac:spMkLst>
        </pc:spChg>
        <pc:spChg chg="mod">
          <ac:chgData name="Soleil Yi" userId="c719b956-004a-4243-81dc-14be649b7814" providerId="ADAL" clId="{50DC4EE2-8FC0-47D5-B5D6-C6C1D4ED5A25}" dt="2022-09-13T07:08:01.346" v="1221"/>
          <ac:spMkLst>
            <pc:docMk/>
            <pc:sldMk cId="3120695156" sldId="1864"/>
            <ac:spMk id="293" creationId="{14ECAF4C-819D-40F6-A839-4FCF81508969}"/>
          </ac:spMkLst>
        </pc:spChg>
        <pc:spChg chg="mod">
          <ac:chgData name="Soleil Yi" userId="c719b956-004a-4243-81dc-14be649b7814" providerId="ADAL" clId="{50DC4EE2-8FC0-47D5-B5D6-C6C1D4ED5A25}" dt="2022-09-13T07:08:01.359" v="1225"/>
          <ac:spMkLst>
            <pc:docMk/>
            <pc:sldMk cId="3120695156" sldId="1864"/>
            <ac:spMk id="294" creationId="{0E9019A5-E598-4B58-B844-95AFD412434C}"/>
          </ac:spMkLst>
        </pc:spChg>
        <pc:spChg chg="mod">
          <ac:chgData name="Soleil Yi" userId="c719b956-004a-4243-81dc-14be649b7814" providerId="ADAL" clId="{50DC4EE2-8FC0-47D5-B5D6-C6C1D4ED5A25}" dt="2022-09-13T07:08:01.373" v="1229"/>
          <ac:spMkLst>
            <pc:docMk/>
            <pc:sldMk cId="3120695156" sldId="1864"/>
            <ac:spMk id="295" creationId="{03450913-0316-4019-A051-A6420939A9E5}"/>
          </ac:spMkLst>
        </pc:spChg>
        <pc:spChg chg="mod">
          <ac:chgData name="Soleil Yi" userId="c719b956-004a-4243-81dc-14be649b7814" providerId="ADAL" clId="{50DC4EE2-8FC0-47D5-B5D6-C6C1D4ED5A25}" dt="2022-09-13T07:08:01.387" v="1233"/>
          <ac:spMkLst>
            <pc:docMk/>
            <pc:sldMk cId="3120695156" sldId="1864"/>
            <ac:spMk id="296" creationId="{C996F6F8-91BA-4203-8EC4-F1A2B72DEB29}"/>
          </ac:spMkLst>
        </pc:spChg>
        <pc:spChg chg="mod">
          <ac:chgData name="Soleil Yi" userId="c719b956-004a-4243-81dc-14be649b7814" providerId="ADAL" clId="{50DC4EE2-8FC0-47D5-B5D6-C6C1D4ED5A25}" dt="2022-09-13T07:08:01.402" v="1237"/>
          <ac:spMkLst>
            <pc:docMk/>
            <pc:sldMk cId="3120695156" sldId="1864"/>
            <ac:spMk id="297" creationId="{C61DE6D2-DB61-4C0F-947C-109C197A7836}"/>
          </ac:spMkLst>
        </pc:spChg>
        <pc:spChg chg="mod">
          <ac:chgData name="Soleil Yi" userId="c719b956-004a-4243-81dc-14be649b7814" providerId="ADAL" clId="{50DC4EE2-8FC0-47D5-B5D6-C6C1D4ED5A25}" dt="2022-09-13T07:08:01.420" v="1241"/>
          <ac:spMkLst>
            <pc:docMk/>
            <pc:sldMk cId="3120695156" sldId="1864"/>
            <ac:spMk id="298" creationId="{8CF403CF-6D21-44DA-8E2D-8CEB6D0CA88B}"/>
          </ac:spMkLst>
        </pc:spChg>
        <pc:spChg chg="mod">
          <ac:chgData name="Soleil Yi" userId="c719b956-004a-4243-81dc-14be649b7814" providerId="ADAL" clId="{50DC4EE2-8FC0-47D5-B5D6-C6C1D4ED5A25}" dt="2022-09-13T07:08:01.436" v="1245"/>
          <ac:spMkLst>
            <pc:docMk/>
            <pc:sldMk cId="3120695156" sldId="1864"/>
            <ac:spMk id="299" creationId="{4D1D3F5B-B96B-4397-AF16-896DDF9C9D17}"/>
          </ac:spMkLst>
        </pc:spChg>
        <pc:spChg chg="mod">
          <ac:chgData name="Soleil Yi" userId="c719b956-004a-4243-81dc-14be649b7814" providerId="ADAL" clId="{50DC4EE2-8FC0-47D5-B5D6-C6C1D4ED5A25}" dt="2022-09-13T07:08:01.449" v="1249"/>
          <ac:spMkLst>
            <pc:docMk/>
            <pc:sldMk cId="3120695156" sldId="1864"/>
            <ac:spMk id="300" creationId="{DF7CAD1D-5215-43DC-8BA9-1610ED0DEE40}"/>
          </ac:spMkLst>
        </pc:spChg>
        <pc:spChg chg="mod">
          <ac:chgData name="Soleil Yi" userId="c719b956-004a-4243-81dc-14be649b7814" providerId="ADAL" clId="{50DC4EE2-8FC0-47D5-B5D6-C6C1D4ED5A25}" dt="2022-09-13T07:08:01.463" v="1253"/>
          <ac:spMkLst>
            <pc:docMk/>
            <pc:sldMk cId="3120695156" sldId="1864"/>
            <ac:spMk id="301" creationId="{4ADA2072-2ACE-400E-B770-1B84E5318742}"/>
          </ac:spMkLst>
        </pc:spChg>
        <pc:spChg chg="mod">
          <ac:chgData name="Soleil Yi" userId="c719b956-004a-4243-81dc-14be649b7814" providerId="ADAL" clId="{50DC4EE2-8FC0-47D5-B5D6-C6C1D4ED5A25}" dt="2022-09-13T07:08:01.476" v="1257"/>
          <ac:spMkLst>
            <pc:docMk/>
            <pc:sldMk cId="3120695156" sldId="1864"/>
            <ac:spMk id="302" creationId="{480AB644-28CE-42CC-A5AD-AFC89BDC692B}"/>
          </ac:spMkLst>
        </pc:spChg>
        <pc:spChg chg="mod">
          <ac:chgData name="Soleil Yi" userId="c719b956-004a-4243-81dc-14be649b7814" providerId="ADAL" clId="{50DC4EE2-8FC0-47D5-B5D6-C6C1D4ED5A25}" dt="2022-09-13T07:08:01.492" v="1261"/>
          <ac:spMkLst>
            <pc:docMk/>
            <pc:sldMk cId="3120695156" sldId="1864"/>
            <ac:spMk id="303" creationId="{A7435AB6-8A83-4028-9C59-2BDE4B68B1EF}"/>
          </ac:spMkLst>
        </pc:spChg>
        <pc:spChg chg="mod">
          <ac:chgData name="Soleil Yi" userId="c719b956-004a-4243-81dc-14be649b7814" providerId="ADAL" clId="{50DC4EE2-8FC0-47D5-B5D6-C6C1D4ED5A25}" dt="2022-09-13T07:08:01.506" v="1265"/>
          <ac:spMkLst>
            <pc:docMk/>
            <pc:sldMk cId="3120695156" sldId="1864"/>
            <ac:spMk id="304" creationId="{CD5201D1-4A4B-44EE-B98F-2965B0605D8F}"/>
          </ac:spMkLst>
        </pc:spChg>
        <pc:spChg chg="mod">
          <ac:chgData name="Soleil Yi" userId="c719b956-004a-4243-81dc-14be649b7814" providerId="ADAL" clId="{50DC4EE2-8FC0-47D5-B5D6-C6C1D4ED5A25}" dt="2022-09-13T07:08:01.519" v="1269"/>
          <ac:spMkLst>
            <pc:docMk/>
            <pc:sldMk cId="3120695156" sldId="1864"/>
            <ac:spMk id="305" creationId="{1BCA00DE-2983-4B47-BA2B-F2818B4F44AA}"/>
          </ac:spMkLst>
        </pc:spChg>
        <pc:spChg chg="mod">
          <ac:chgData name="Soleil Yi" userId="c719b956-004a-4243-81dc-14be649b7814" providerId="ADAL" clId="{50DC4EE2-8FC0-47D5-B5D6-C6C1D4ED5A25}" dt="2022-09-13T07:08:01.534" v="1273"/>
          <ac:spMkLst>
            <pc:docMk/>
            <pc:sldMk cId="3120695156" sldId="1864"/>
            <ac:spMk id="306" creationId="{25B62A1B-4EA6-41FB-8522-BD9E9F4BCB97}"/>
          </ac:spMkLst>
        </pc:spChg>
        <pc:spChg chg="mod">
          <ac:chgData name="Soleil Yi" userId="c719b956-004a-4243-81dc-14be649b7814" providerId="ADAL" clId="{50DC4EE2-8FC0-47D5-B5D6-C6C1D4ED5A25}" dt="2022-09-13T07:08:01.552" v="1277"/>
          <ac:spMkLst>
            <pc:docMk/>
            <pc:sldMk cId="3120695156" sldId="1864"/>
            <ac:spMk id="307" creationId="{EC25ADA4-74C5-401A-A5D0-E9BCC49D833D}"/>
          </ac:spMkLst>
        </pc:spChg>
        <pc:spChg chg="mod">
          <ac:chgData name="Soleil Yi" userId="c719b956-004a-4243-81dc-14be649b7814" providerId="ADAL" clId="{50DC4EE2-8FC0-47D5-B5D6-C6C1D4ED5A25}" dt="2022-09-13T07:08:01.567" v="1281"/>
          <ac:spMkLst>
            <pc:docMk/>
            <pc:sldMk cId="3120695156" sldId="1864"/>
            <ac:spMk id="308" creationId="{C2812D4C-BC2E-4CD5-B95C-779B34202D42}"/>
          </ac:spMkLst>
        </pc:spChg>
        <pc:spChg chg="mod">
          <ac:chgData name="Soleil Yi" userId="c719b956-004a-4243-81dc-14be649b7814" providerId="ADAL" clId="{50DC4EE2-8FC0-47D5-B5D6-C6C1D4ED5A25}" dt="2022-09-13T07:08:01.581" v="1285"/>
          <ac:spMkLst>
            <pc:docMk/>
            <pc:sldMk cId="3120695156" sldId="1864"/>
            <ac:spMk id="309" creationId="{731196EF-668A-4B6A-A8E7-DBD65FAE0AC5}"/>
          </ac:spMkLst>
        </pc:spChg>
        <pc:spChg chg="mod">
          <ac:chgData name="Soleil Yi" userId="c719b956-004a-4243-81dc-14be649b7814" providerId="ADAL" clId="{50DC4EE2-8FC0-47D5-B5D6-C6C1D4ED5A25}" dt="2022-09-13T07:08:01.596" v="1289"/>
          <ac:spMkLst>
            <pc:docMk/>
            <pc:sldMk cId="3120695156" sldId="1864"/>
            <ac:spMk id="310" creationId="{FB227A58-7008-4C69-9D2B-569685B7308B}"/>
          </ac:spMkLst>
        </pc:spChg>
        <pc:spChg chg="mod">
          <ac:chgData name="Soleil Yi" userId="c719b956-004a-4243-81dc-14be649b7814" providerId="ADAL" clId="{50DC4EE2-8FC0-47D5-B5D6-C6C1D4ED5A25}" dt="2022-09-13T07:08:01.615" v="1293"/>
          <ac:spMkLst>
            <pc:docMk/>
            <pc:sldMk cId="3120695156" sldId="1864"/>
            <ac:spMk id="311" creationId="{39EA92B3-6B41-4BDD-9947-D04FF1FEB673}"/>
          </ac:spMkLst>
        </pc:spChg>
        <pc:spChg chg="mod">
          <ac:chgData name="Soleil Yi" userId="c719b956-004a-4243-81dc-14be649b7814" providerId="ADAL" clId="{50DC4EE2-8FC0-47D5-B5D6-C6C1D4ED5A25}" dt="2022-09-13T07:08:01.628" v="1297"/>
          <ac:spMkLst>
            <pc:docMk/>
            <pc:sldMk cId="3120695156" sldId="1864"/>
            <ac:spMk id="312" creationId="{1A47AEB4-7EE6-46DD-B4D8-54A593391F53}"/>
          </ac:spMkLst>
        </pc:spChg>
        <pc:spChg chg="mod">
          <ac:chgData name="Soleil Yi" userId="c719b956-004a-4243-81dc-14be649b7814" providerId="ADAL" clId="{50DC4EE2-8FC0-47D5-B5D6-C6C1D4ED5A25}" dt="2022-09-13T07:08:01.642" v="1301"/>
          <ac:spMkLst>
            <pc:docMk/>
            <pc:sldMk cId="3120695156" sldId="1864"/>
            <ac:spMk id="313" creationId="{0D7190A3-4690-4CFA-B77B-11FB829E7BB2}"/>
          </ac:spMkLst>
        </pc:spChg>
        <pc:spChg chg="mod">
          <ac:chgData name="Soleil Yi" userId="c719b956-004a-4243-81dc-14be649b7814" providerId="ADAL" clId="{50DC4EE2-8FC0-47D5-B5D6-C6C1D4ED5A25}" dt="2022-09-13T07:08:01.655" v="1305"/>
          <ac:spMkLst>
            <pc:docMk/>
            <pc:sldMk cId="3120695156" sldId="1864"/>
            <ac:spMk id="314" creationId="{3DA124BE-D4AB-4403-BE28-1CAF096D98F0}"/>
          </ac:spMkLst>
        </pc:spChg>
        <pc:spChg chg="mod">
          <ac:chgData name="Soleil Yi" userId="c719b956-004a-4243-81dc-14be649b7814" providerId="ADAL" clId="{50DC4EE2-8FC0-47D5-B5D6-C6C1D4ED5A25}" dt="2022-09-13T07:08:01.671" v="1309"/>
          <ac:spMkLst>
            <pc:docMk/>
            <pc:sldMk cId="3120695156" sldId="1864"/>
            <ac:spMk id="315" creationId="{5C88CF4E-8CAF-4D32-A977-2C12FAF7099E}"/>
          </ac:spMkLst>
        </pc:spChg>
        <pc:spChg chg="mod">
          <ac:chgData name="Soleil Yi" userId="c719b956-004a-4243-81dc-14be649b7814" providerId="ADAL" clId="{50DC4EE2-8FC0-47D5-B5D6-C6C1D4ED5A25}" dt="2022-09-13T07:08:01.685" v="1313"/>
          <ac:spMkLst>
            <pc:docMk/>
            <pc:sldMk cId="3120695156" sldId="1864"/>
            <ac:spMk id="316" creationId="{F0154322-C113-4481-AC42-69AD93E267AF}"/>
          </ac:spMkLst>
        </pc:spChg>
        <pc:spChg chg="mod">
          <ac:chgData name="Soleil Yi" userId="c719b956-004a-4243-81dc-14be649b7814" providerId="ADAL" clId="{50DC4EE2-8FC0-47D5-B5D6-C6C1D4ED5A25}" dt="2022-09-13T07:08:01.698" v="1317"/>
          <ac:spMkLst>
            <pc:docMk/>
            <pc:sldMk cId="3120695156" sldId="1864"/>
            <ac:spMk id="317" creationId="{146701C0-BECF-4F36-8990-35A069B1C106}"/>
          </ac:spMkLst>
        </pc:spChg>
        <pc:spChg chg="mod">
          <ac:chgData name="Soleil Yi" userId="c719b956-004a-4243-81dc-14be649b7814" providerId="ADAL" clId="{50DC4EE2-8FC0-47D5-B5D6-C6C1D4ED5A25}" dt="2022-09-13T07:08:01.711" v="1321"/>
          <ac:spMkLst>
            <pc:docMk/>
            <pc:sldMk cId="3120695156" sldId="1864"/>
            <ac:spMk id="318" creationId="{739966DB-ECBE-4C93-BA0D-2A079B2CFF83}"/>
          </ac:spMkLst>
        </pc:spChg>
        <pc:spChg chg="mod">
          <ac:chgData name="Soleil Yi" userId="c719b956-004a-4243-81dc-14be649b7814" providerId="ADAL" clId="{50DC4EE2-8FC0-47D5-B5D6-C6C1D4ED5A25}" dt="2022-09-13T07:08:01.729" v="1325"/>
          <ac:spMkLst>
            <pc:docMk/>
            <pc:sldMk cId="3120695156" sldId="1864"/>
            <ac:spMk id="319" creationId="{A3A75D5C-B76A-4630-AEC6-E3F9E7E96AB6}"/>
          </ac:spMkLst>
        </pc:spChg>
        <pc:spChg chg="mod">
          <ac:chgData name="Soleil Yi" userId="c719b956-004a-4243-81dc-14be649b7814" providerId="ADAL" clId="{50DC4EE2-8FC0-47D5-B5D6-C6C1D4ED5A25}" dt="2022-09-13T07:08:01.743" v="1329"/>
          <ac:spMkLst>
            <pc:docMk/>
            <pc:sldMk cId="3120695156" sldId="1864"/>
            <ac:spMk id="320" creationId="{E7D8ECB0-F370-4C4E-BDA2-0847F615C8CC}"/>
          </ac:spMkLst>
        </pc:spChg>
        <pc:spChg chg="mod">
          <ac:chgData name="Soleil Yi" userId="c719b956-004a-4243-81dc-14be649b7814" providerId="ADAL" clId="{50DC4EE2-8FC0-47D5-B5D6-C6C1D4ED5A25}" dt="2022-09-13T07:08:01.759" v="1333"/>
          <ac:spMkLst>
            <pc:docMk/>
            <pc:sldMk cId="3120695156" sldId="1864"/>
            <ac:spMk id="321" creationId="{224DF413-0702-4650-9266-86FD9ED2078C}"/>
          </ac:spMkLst>
        </pc:spChg>
        <pc:spChg chg="mod">
          <ac:chgData name="Soleil Yi" userId="c719b956-004a-4243-81dc-14be649b7814" providerId="ADAL" clId="{50DC4EE2-8FC0-47D5-B5D6-C6C1D4ED5A25}" dt="2022-09-13T07:08:01.773" v="1337"/>
          <ac:spMkLst>
            <pc:docMk/>
            <pc:sldMk cId="3120695156" sldId="1864"/>
            <ac:spMk id="322" creationId="{9062CFE0-BA28-475E-8938-826A01DF227B}"/>
          </ac:spMkLst>
        </pc:spChg>
        <pc:spChg chg="mod">
          <ac:chgData name="Soleil Yi" userId="c719b956-004a-4243-81dc-14be649b7814" providerId="ADAL" clId="{50DC4EE2-8FC0-47D5-B5D6-C6C1D4ED5A25}" dt="2022-09-13T07:08:01.793" v="1341"/>
          <ac:spMkLst>
            <pc:docMk/>
            <pc:sldMk cId="3120695156" sldId="1864"/>
            <ac:spMk id="323" creationId="{1CB5F6D6-05F4-4F2C-9B8B-B910692C4C65}"/>
          </ac:spMkLst>
        </pc:spChg>
        <pc:spChg chg="mod">
          <ac:chgData name="Soleil Yi" userId="c719b956-004a-4243-81dc-14be649b7814" providerId="ADAL" clId="{50DC4EE2-8FC0-47D5-B5D6-C6C1D4ED5A25}" dt="2022-09-13T07:08:01.808" v="1345"/>
          <ac:spMkLst>
            <pc:docMk/>
            <pc:sldMk cId="3120695156" sldId="1864"/>
            <ac:spMk id="324" creationId="{67E2FDF1-2B3C-4C63-9477-D49FFD294DD9}"/>
          </ac:spMkLst>
        </pc:spChg>
        <pc:spChg chg="mod">
          <ac:chgData name="Soleil Yi" userId="c719b956-004a-4243-81dc-14be649b7814" providerId="ADAL" clId="{50DC4EE2-8FC0-47D5-B5D6-C6C1D4ED5A25}" dt="2022-09-13T07:08:01.822" v="1349"/>
          <ac:spMkLst>
            <pc:docMk/>
            <pc:sldMk cId="3120695156" sldId="1864"/>
            <ac:spMk id="325" creationId="{F2CC839C-3F6D-4D32-9ADF-95D2538403E2}"/>
          </ac:spMkLst>
        </pc:spChg>
        <pc:spChg chg="mod">
          <ac:chgData name="Soleil Yi" userId="c719b956-004a-4243-81dc-14be649b7814" providerId="ADAL" clId="{50DC4EE2-8FC0-47D5-B5D6-C6C1D4ED5A25}" dt="2022-09-13T07:08:01.837" v="1353"/>
          <ac:spMkLst>
            <pc:docMk/>
            <pc:sldMk cId="3120695156" sldId="1864"/>
            <ac:spMk id="326" creationId="{163548E7-9B4C-46B1-AAD9-9BF0F5138BA4}"/>
          </ac:spMkLst>
        </pc:spChg>
        <pc:spChg chg="mod">
          <ac:chgData name="Soleil Yi" userId="c719b956-004a-4243-81dc-14be649b7814" providerId="ADAL" clId="{50DC4EE2-8FC0-47D5-B5D6-C6C1D4ED5A25}" dt="2022-09-13T07:08:01.856" v="1357"/>
          <ac:spMkLst>
            <pc:docMk/>
            <pc:sldMk cId="3120695156" sldId="1864"/>
            <ac:spMk id="327" creationId="{5C5F7D92-4360-4ADD-9B12-4390479A0A05}"/>
          </ac:spMkLst>
        </pc:spChg>
        <pc:spChg chg="mod">
          <ac:chgData name="Soleil Yi" userId="c719b956-004a-4243-81dc-14be649b7814" providerId="ADAL" clId="{50DC4EE2-8FC0-47D5-B5D6-C6C1D4ED5A25}" dt="2022-09-13T07:08:01.871" v="1361"/>
          <ac:spMkLst>
            <pc:docMk/>
            <pc:sldMk cId="3120695156" sldId="1864"/>
            <ac:spMk id="328" creationId="{BFD3645B-10F8-4F1C-9299-D9A2102491E7}"/>
          </ac:spMkLst>
        </pc:spChg>
        <pc:spChg chg="mod">
          <ac:chgData name="Soleil Yi" userId="c719b956-004a-4243-81dc-14be649b7814" providerId="ADAL" clId="{50DC4EE2-8FC0-47D5-B5D6-C6C1D4ED5A25}" dt="2022-09-13T07:08:01.886" v="1365"/>
          <ac:spMkLst>
            <pc:docMk/>
            <pc:sldMk cId="3120695156" sldId="1864"/>
            <ac:spMk id="329" creationId="{EAAA3E87-1916-4E5E-AE6D-6E3D075F64BE}"/>
          </ac:spMkLst>
        </pc:spChg>
        <pc:spChg chg="mod">
          <ac:chgData name="Soleil Yi" userId="c719b956-004a-4243-81dc-14be649b7814" providerId="ADAL" clId="{50DC4EE2-8FC0-47D5-B5D6-C6C1D4ED5A25}" dt="2022-09-13T07:08:01.907" v="1369"/>
          <ac:spMkLst>
            <pc:docMk/>
            <pc:sldMk cId="3120695156" sldId="1864"/>
            <ac:spMk id="330" creationId="{9A8F3FA8-6E79-4773-92D8-5B568B3133B0}"/>
          </ac:spMkLst>
        </pc:spChg>
        <pc:spChg chg="mod">
          <ac:chgData name="Soleil Yi" userId="c719b956-004a-4243-81dc-14be649b7814" providerId="ADAL" clId="{50DC4EE2-8FC0-47D5-B5D6-C6C1D4ED5A25}" dt="2022-09-13T07:08:01.923" v="1373"/>
          <ac:spMkLst>
            <pc:docMk/>
            <pc:sldMk cId="3120695156" sldId="1864"/>
            <ac:spMk id="331" creationId="{3F73220D-A2CF-49CC-9A5A-F385838D2B13}"/>
          </ac:spMkLst>
        </pc:spChg>
        <pc:spChg chg="mod">
          <ac:chgData name="Soleil Yi" userId="c719b956-004a-4243-81dc-14be649b7814" providerId="ADAL" clId="{50DC4EE2-8FC0-47D5-B5D6-C6C1D4ED5A25}" dt="2022-09-13T07:08:01.939" v="1377"/>
          <ac:spMkLst>
            <pc:docMk/>
            <pc:sldMk cId="3120695156" sldId="1864"/>
            <ac:spMk id="332" creationId="{1B79294B-D92B-4C37-8E78-2C7136EBE9D9}"/>
          </ac:spMkLst>
        </pc:spChg>
        <pc:spChg chg="mod">
          <ac:chgData name="Soleil Yi" userId="c719b956-004a-4243-81dc-14be649b7814" providerId="ADAL" clId="{50DC4EE2-8FC0-47D5-B5D6-C6C1D4ED5A25}" dt="2022-09-13T07:08:01.954" v="1381"/>
          <ac:spMkLst>
            <pc:docMk/>
            <pc:sldMk cId="3120695156" sldId="1864"/>
            <ac:spMk id="333" creationId="{2C29359A-ADE5-43A7-96BF-BADA2D3D873E}"/>
          </ac:spMkLst>
        </pc:spChg>
        <pc:spChg chg="mod">
          <ac:chgData name="Soleil Yi" userId="c719b956-004a-4243-81dc-14be649b7814" providerId="ADAL" clId="{50DC4EE2-8FC0-47D5-B5D6-C6C1D4ED5A25}" dt="2022-09-13T07:08:01.969" v="1385"/>
          <ac:spMkLst>
            <pc:docMk/>
            <pc:sldMk cId="3120695156" sldId="1864"/>
            <ac:spMk id="334" creationId="{F782FFC4-C3BC-4115-B267-AF89AB16B60E}"/>
          </ac:spMkLst>
        </pc:spChg>
        <pc:spChg chg="mod">
          <ac:chgData name="Soleil Yi" userId="c719b956-004a-4243-81dc-14be649b7814" providerId="ADAL" clId="{50DC4EE2-8FC0-47D5-B5D6-C6C1D4ED5A25}" dt="2022-09-13T07:08:01.983" v="1389"/>
          <ac:spMkLst>
            <pc:docMk/>
            <pc:sldMk cId="3120695156" sldId="1864"/>
            <ac:spMk id="335" creationId="{600CC220-1AB2-457E-9311-BB14B0B0D736}"/>
          </ac:spMkLst>
        </pc:spChg>
        <pc:spChg chg="mod">
          <ac:chgData name="Soleil Yi" userId="c719b956-004a-4243-81dc-14be649b7814" providerId="ADAL" clId="{50DC4EE2-8FC0-47D5-B5D6-C6C1D4ED5A25}" dt="2022-09-13T07:08:01.998" v="1393"/>
          <ac:spMkLst>
            <pc:docMk/>
            <pc:sldMk cId="3120695156" sldId="1864"/>
            <ac:spMk id="336" creationId="{3A0E8EC8-B25C-40A3-8DFF-2BE42A431004}"/>
          </ac:spMkLst>
        </pc:spChg>
        <pc:spChg chg="mod">
          <ac:chgData name="Soleil Yi" userId="c719b956-004a-4243-81dc-14be649b7814" providerId="ADAL" clId="{50DC4EE2-8FC0-47D5-B5D6-C6C1D4ED5A25}" dt="2022-09-13T07:08:02.014" v="1397"/>
          <ac:spMkLst>
            <pc:docMk/>
            <pc:sldMk cId="3120695156" sldId="1864"/>
            <ac:spMk id="337" creationId="{D21C695A-9431-4FBE-BE9B-F6EAF93D0C29}"/>
          </ac:spMkLst>
        </pc:spChg>
        <pc:spChg chg="mod">
          <ac:chgData name="Soleil Yi" userId="c719b956-004a-4243-81dc-14be649b7814" providerId="ADAL" clId="{50DC4EE2-8FC0-47D5-B5D6-C6C1D4ED5A25}" dt="2022-09-13T07:08:02.028" v="1401"/>
          <ac:spMkLst>
            <pc:docMk/>
            <pc:sldMk cId="3120695156" sldId="1864"/>
            <ac:spMk id="338" creationId="{C05021AF-B208-43CD-A482-CD6D12605361}"/>
          </ac:spMkLst>
        </pc:spChg>
        <pc:spChg chg="mod">
          <ac:chgData name="Soleil Yi" userId="c719b956-004a-4243-81dc-14be649b7814" providerId="ADAL" clId="{50DC4EE2-8FC0-47D5-B5D6-C6C1D4ED5A25}" dt="2022-09-13T07:08:02.043" v="1405"/>
          <ac:spMkLst>
            <pc:docMk/>
            <pc:sldMk cId="3120695156" sldId="1864"/>
            <ac:spMk id="339" creationId="{183AD9C6-21F3-4957-8F39-5C28670B0085}"/>
          </ac:spMkLst>
        </pc:spChg>
        <pc:spChg chg="mod">
          <ac:chgData name="Soleil Yi" userId="c719b956-004a-4243-81dc-14be649b7814" providerId="ADAL" clId="{50DC4EE2-8FC0-47D5-B5D6-C6C1D4ED5A25}" dt="2022-09-13T07:08:02.057" v="1409"/>
          <ac:spMkLst>
            <pc:docMk/>
            <pc:sldMk cId="3120695156" sldId="1864"/>
            <ac:spMk id="340" creationId="{4E26B568-58CA-4FC5-9B92-6AAEFD075EFC}"/>
          </ac:spMkLst>
        </pc:spChg>
        <pc:spChg chg="mod">
          <ac:chgData name="Soleil Yi" userId="c719b956-004a-4243-81dc-14be649b7814" providerId="ADAL" clId="{50DC4EE2-8FC0-47D5-B5D6-C6C1D4ED5A25}" dt="2022-09-13T07:08:02.071" v="1413"/>
          <ac:spMkLst>
            <pc:docMk/>
            <pc:sldMk cId="3120695156" sldId="1864"/>
            <ac:spMk id="341" creationId="{0DD3A554-9362-4047-A799-B1891444CBDE}"/>
          </ac:spMkLst>
        </pc:spChg>
        <pc:spChg chg="mod">
          <ac:chgData name="Soleil Yi" userId="c719b956-004a-4243-81dc-14be649b7814" providerId="ADAL" clId="{50DC4EE2-8FC0-47D5-B5D6-C6C1D4ED5A25}" dt="2022-09-13T07:08:02.085" v="1417"/>
          <ac:spMkLst>
            <pc:docMk/>
            <pc:sldMk cId="3120695156" sldId="1864"/>
            <ac:spMk id="342" creationId="{CD5CD6DF-9CFB-4B2A-BCAF-6C892BF6A7F2}"/>
          </ac:spMkLst>
        </pc:spChg>
        <pc:spChg chg="mod">
          <ac:chgData name="Soleil Yi" userId="c719b956-004a-4243-81dc-14be649b7814" providerId="ADAL" clId="{50DC4EE2-8FC0-47D5-B5D6-C6C1D4ED5A25}" dt="2022-09-13T07:08:02.100" v="1421"/>
          <ac:spMkLst>
            <pc:docMk/>
            <pc:sldMk cId="3120695156" sldId="1864"/>
            <ac:spMk id="343" creationId="{0018927D-DAFC-4B39-A42D-E10E0CA17269}"/>
          </ac:spMkLst>
        </pc:spChg>
        <pc:spChg chg="mod">
          <ac:chgData name="Soleil Yi" userId="c719b956-004a-4243-81dc-14be649b7814" providerId="ADAL" clId="{50DC4EE2-8FC0-47D5-B5D6-C6C1D4ED5A25}" dt="2022-09-13T07:08:02.113" v="1425"/>
          <ac:spMkLst>
            <pc:docMk/>
            <pc:sldMk cId="3120695156" sldId="1864"/>
            <ac:spMk id="344" creationId="{01867053-F8A7-47CC-A48D-BC537953115F}"/>
          </ac:spMkLst>
        </pc:spChg>
        <pc:spChg chg="mod">
          <ac:chgData name="Soleil Yi" userId="c719b956-004a-4243-81dc-14be649b7814" providerId="ADAL" clId="{50DC4EE2-8FC0-47D5-B5D6-C6C1D4ED5A25}" dt="2022-09-13T07:08:02.127" v="1429"/>
          <ac:spMkLst>
            <pc:docMk/>
            <pc:sldMk cId="3120695156" sldId="1864"/>
            <ac:spMk id="345" creationId="{B74BF029-4FCC-47DD-B2D5-41ACBC7F6779}"/>
          </ac:spMkLst>
        </pc:spChg>
        <pc:spChg chg="mod">
          <ac:chgData name="Soleil Yi" userId="c719b956-004a-4243-81dc-14be649b7814" providerId="ADAL" clId="{50DC4EE2-8FC0-47D5-B5D6-C6C1D4ED5A25}" dt="2022-09-13T07:08:02.142" v="1433"/>
          <ac:spMkLst>
            <pc:docMk/>
            <pc:sldMk cId="3120695156" sldId="1864"/>
            <ac:spMk id="346" creationId="{AC553175-A7A6-4B1D-B286-8F05F7B29F97}"/>
          </ac:spMkLst>
        </pc:spChg>
        <pc:spChg chg="mod">
          <ac:chgData name="Soleil Yi" userId="c719b956-004a-4243-81dc-14be649b7814" providerId="ADAL" clId="{50DC4EE2-8FC0-47D5-B5D6-C6C1D4ED5A25}" dt="2022-09-13T07:08:02.156" v="1437"/>
          <ac:spMkLst>
            <pc:docMk/>
            <pc:sldMk cId="3120695156" sldId="1864"/>
            <ac:spMk id="347" creationId="{20C6C6C8-D4DB-471E-9616-4A54255544CB}"/>
          </ac:spMkLst>
        </pc:spChg>
        <pc:spChg chg="mod">
          <ac:chgData name="Soleil Yi" userId="c719b956-004a-4243-81dc-14be649b7814" providerId="ADAL" clId="{50DC4EE2-8FC0-47D5-B5D6-C6C1D4ED5A25}" dt="2022-09-13T07:08:02.169" v="1441"/>
          <ac:spMkLst>
            <pc:docMk/>
            <pc:sldMk cId="3120695156" sldId="1864"/>
            <ac:spMk id="348" creationId="{32BC1D59-5233-40E7-8C8A-5ED30212FE74}"/>
          </ac:spMkLst>
        </pc:spChg>
        <pc:spChg chg="mod">
          <ac:chgData name="Soleil Yi" userId="c719b956-004a-4243-81dc-14be649b7814" providerId="ADAL" clId="{50DC4EE2-8FC0-47D5-B5D6-C6C1D4ED5A25}" dt="2022-09-13T07:08:02.182" v="1445"/>
          <ac:spMkLst>
            <pc:docMk/>
            <pc:sldMk cId="3120695156" sldId="1864"/>
            <ac:spMk id="349" creationId="{40A7C4D1-8541-4C7F-A628-970B841D7F9C}"/>
          </ac:spMkLst>
        </pc:spChg>
        <pc:spChg chg="mod">
          <ac:chgData name="Soleil Yi" userId="c719b956-004a-4243-81dc-14be649b7814" providerId="ADAL" clId="{50DC4EE2-8FC0-47D5-B5D6-C6C1D4ED5A25}" dt="2022-09-13T07:08:02.199" v="1449"/>
          <ac:spMkLst>
            <pc:docMk/>
            <pc:sldMk cId="3120695156" sldId="1864"/>
            <ac:spMk id="350" creationId="{6FE6E13C-9BED-4AB7-8579-A1E21E60BD61}"/>
          </ac:spMkLst>
        </pc:spChg>
        <pc:spChg chg="mod">
          <ac:chgData name="Soleil Yi" userId="c719b956-004a-4243-81dc-14be649b7814" providerId="ADAL" clId="{50DC4EE2-8FC0-47D5-B5D6-C6C1D4ED5A25}" dt="2022-09-13T07:08:02.214" v="1453"/>
          <ac:spMkLst>
            <pc:docMk/>
            <pc:sldMk cId="3120695156" sldId="1864"/>
            <ac:spMk id="351" creationId="{186F634A-0D25-4AFA-B523-F1D08DAC4292}"/>
          </ac:spMkLst>
        </pc:spChg>
        <pc:spChg chg="mod">
          <ac:chgData name="Soleil Yi" userId="c719b956-004a-4243-81dc-14be649b7814" providerId="ADAL" clId="{50DC4EE2-8FC0-47D5-B5D6-C6C1D4ED5A25}" dt="2022-09-13T07:08:02.229" v="1457"/>
          <ac:spMkLst>
            <pc:docMk/>
            <pc:sldMk cId="3120695156" sldId="1864"/>
            <ac:spMk id="352" creationId="{4C503502-3D07-4E33-A701-343AAD78BA56}"/>
          </ac:spMkLst>
        </pc:spChg>
        <pc:spChg chg="mod">
          <ac:chgData name="Soleil Yi" userId="c719b956-004a-4243-81dc-14be649b7814" providerId="ADAL" clId="{50DC4EE2-8FC0-47D5-B5D6-C6C1D4ED5A25}" dt="2022-09-13T07:08:02.245" v="1461"/>
          <ac:spMkLst>
            <pc:docMk/>
            <pc:sldMk cId="3120695156" sldId="1864"/>
            <ac:spMk id="353" creationId="{536A5AC8-ED22-4ADB-8182-C54C1701C234}"/>
          </ac:spMkLst>
        </pc:spChg>
        <pc:spChg chg="mod">
          <ac:chgData name="Soleil Yi" userId="c719b956-004a-4243-81dc-14be649b7814" providerId="ADAL" clId="{50DC4EE2-8FC0-47D5-B5D6-C6C1D4ED5A25}" dt="2022-09-13T07:08:02.259" v="1465"/>
          <ac:spMkLst>
            <pc:docMk/>
            <pc:sldMk cId="3120695156" sldId="1864"/>
            <ac:spMk id="354" creationId="{689F916C-66B9-4D6C-81EE-9E4B9852AF6D}"/>
          </ac:spMkLst>
        </pc:spChg>
        <pc:spChg chg="mod">
          <ac:chgData name="Soleil Yi" userId="c719b956-004a-4243-81dc-14be649b7814" providerId="ADAL" clId="{50DC4EE2-8FC0-47D5-B5D6-C6C1D4ED5A25}" dt="2022-09-13T07:08:02.275" v="1469"/>
          <ac:spMkLst>
            <pc:docMk/>
            <pc:sldMk cId="3120695156" sldId="1864"/>
            <ac:spMk id="355" creationId="{89C52CE4-BF57-47F4-9298-AA5C78532D40}"/>
          </ac:spMkLst>
        </pc:spChg>
        <pc:spChg chg="mod">
          <ac:chgData name="Soleil Yi" userId="c719b956-004a-4243-81dc-14be649b7814" providerId="ADAL" clId="{50DC4EE2-8FC0-47D5-B5D6-C6C1D4ED5A25}" dt="2022-09-13T07:08:02.291" v="1473"/>
          <ac:spMkLst>
            <pc:docMk/>
            <pc:sldMk cId="3120695156" sldId="1864"/>
            <ac:spMk id="356" creationId="{3488DE7B-146D-44F7-BB96-6864893258CF}"/>
          </ac:spMkLst>
        </pc:spChg>
        <pc:spChg chg="mod">
          <ac:chgData name="Soleil Yi" userId="c719b956-004a-4243-81dc-14be649b7814" providerId="ADAL" clId="{50DC4EE2-8FC0-47D5-B5D6-C6C1D4ED5A25}" dt="2022-09-13T07:08:02.305" v="1477"/>
          <ac:spMkLst>
            <pc:docMk/>
            <pc:sldMk cId="3120695156" sldId="1864"/>
            <ac:spMk id="357" creationId="{D4589CB2-7092-4EF1-8945-647C1349A0DB}"/>
          </ac:spMkLst>
        </pc:spChg>
        <pc:spChg chg="mod">
          <ac:chgData name="Soleil Yi" userId="c719b956-004a-4243-81dc-14be649b7814" providerId="ADAL" clId="{50DC4EE2-8FC0-47D5-B5D6-C6C1D4ED5A25}" dt="2022-09-13T07:08:02.322" v="1481"/>
          <ac:spMkLst>
            <pc:docMk/>
            <pc:sldMk cId="3120695156" sldId="1864"/>
            <ac:spMk id="358" creationId="{56168506-7D88-4F73-90BD-0D3F52DBB02D}"/>
          </ac:spMkLst>
        </pc:spChg>
        <pc:spChg chg="mod">
          <ac:chgData name="Soleil Yi" userId="c719b956-004a-4243-81dc-14be649b7814" providerId="ADAL" clId="{50DC4EE2-8FC0-47D5-B5D6-C6C1D4ED5A25}" dt="2022-09-13T07:08:02.339" v="1485"/>
          <ac:spMkLst>
            <pc:docMk/>
            <pc:sldMk cId="3120695156" sldId="1864"/>
            <ac:spMk id="359" creationId="{7BD7EF5C-3700-4264-98DA-B34FBDD5EEA0}"/>
          </ac:spMkLst>
        </pc:spChg>
        <pc:spChg chg="mod">
          <ac:chgData name="Soleil Yi" userId="c719b956-004a-4243-81dc-14be649b7814" providerId="ADAL" clId="{50DC4EE2-8FC0-47D5-B5D6-C6C1D4ED5A25}" dt="2022-09-13T07:08:02.352" v="1489"/>
          <ac:spMkLst>
            <pc:docMk/>
            <pc:sldMk cId="3120695156" sldId="1864"/>
            <ac:spMk id="360" creationId="{A4CD6412-094D-414D-BBA0-C830526D9FF4}"/>
          </ac:spMkLst>
        </pc:spChg>
        <pc:spChg chg="mod">
          <ac:chgData name="Soleil Yi" userId="c719b956-004a-4243-81dc-14be649b7814" providerId="ADAL" clId="{50DC4EE2-8FC0-47D5-B5D6-C6C1D4ED5A25}" dt="2022-09-13T07:08:02.368" v="1493"/>
          <ac:spMkLst>
            <pc:docMk/>
            <pc:sldMk cId="3120695156" sldId="1864"/>
            <ac:spMk id="361" creationId="{2A2335C2-1592-49CF-B0B6-40216CE94051}"/>
          </ac:spMkLst>
        </pc:spChg>
        <pc:spChg chg="mod">
          <ac:chgData name="Soleil Yi" userId="c719b956-004a-4243-81dc-14be649b7814" providerId="ADAL" clId="{50DC4EE2-8FC0-47D5-B5D6-C6C1D4ED5A25}" dt="2022-09-13T07:08:02.385" v="1497"/>
          <ac:spMkLst>
            <pc:docMk/>
            <pc:sldMk cId="3120695156" sldId="1864"/>
            <ac:spMk id="362" creationId="{5C011122-D3FE-4D8F-8949-6E453F15CCAE}"/>
          </ac:spMkLst>
        </pc:spChg>
        <pc:spChg chg="mod">
          <ac:chgData name="Soleil Yi" userId="c719b956-004a-4243-81dc-14be649b7814" providerId="ADAL" clId="{50DC4EE2-8FC0-47D5-B5D6-C6C1D4ED5A25}" dt="2022-09-13T07:08:02.399" v="1501"/>
          <ac:spMkLst>
            <pc:docMk/>
            <pc:sldMk cId="3120695156" sldId="1864"/>
            <ac:spMk id="363" creationId="{BB6E73A7-A133-41DD-BCC0-10A3E887AEE0}"/>
          </ac:spMkLst>
        </pc:spChg>
        <pc:spChg chg="mod">
          <ac:chgData name="Soleil Yi" userId="c719b956-004a-4243-81dc-14be649b7814" providerId="ADAL" clId="{50DC4EE2-8FC0-47D5-B5D6-C6C1D4ED5A25}" dt="2022-09-13T07:08:02.413" v="1505"/>
          <ac:spMkLst>
            <pc:docMk/>
            <pc:sldMk cId="3120695156" sldId="1864"/>
            <ac:spMk id="364" creationId="{35B45AAD-FEC6-4253-B99A-CB32AD578251}"/>
          </ac:spMkLst>
        </pc:spChg>
        <pc:spChg chg="mod">
          <ac:chgData name="Soleil Yi" userId="c719b956-004a-4243-81dc-14be649b7814" providerId="ADAL" clId="{50DC4EE2-8FC0-47D5-B5D6-C6C1D4ED5A25}" dt="2022-09-13T07:08:02.430" v="1509"/>
          <ac:spMkLst>
            <pc:docMk/>
            <pc:sldMk cId="3120695156" sldId="1864"/>
            <ac:spMk id="365" creationId="{A22A3BDB-B777-49C4-AE1A-65E4F808A6A9}"/>
          </ac:spMkLst>
        </pc:spChg>
        <pc:spChg chg="mod">
          <ac:chgData name="Soleil Yi" userId="c719b956-004a-4243-81dc-14be649b7814" providerId="ADAL" clId="{50DC4EE2-8FC0-47D5-B5D6-C6C1D4ED5A25}" dt="2022-09-13T07:08:02.445" v="1513"/>
          <ac:spMkLst>
            <pc:docMk/>
            <pc:sldMk cId="3120695156" sldId="1864"/>
            <ac:spMk id="366" creationId="{FE988CDB-85C7-4432-8AA6-122102B209BE}"/>
          </ac:spMkLst>
        </pc:spChg>
        <pc:spChg chg="mod">
          <ac:chgData name="Soleil Yi" userId="c719b956-004a-4243-81dc-14be649b7814" providerId="ADAL" clId="{50DC4EE2-8FC0-47D5-B5D6-C6C1D4ED5A25}" dt="2022-09-13T07:08:02.463" v="1517"/>
          <ac:spMkLst>
            <pc:docMk/>
            <pc:sldMk cId="3120695156" sldId="1864"/>
            <ac:spMk id="367" creationId="{19692C5F-87AD-474E-A48C-CAA2C06BE974}"/>
          </ac:spMkLst>
        </pc:spChg>
        <pc:spChg chg="mod">
          <ac:chgData name="Soleil Yi" userId="c719b956-004a-4243-81dc-14be649b7814" providerId="ADAL" clId="{50DC4EE2-8FC0-47D5-B5D6-C6C1D4ED5A25}" dt="2022-09-13T07:08:02.478" v="1521"/>
          <ac:spMkLst>
            <pc:docMk/>
            <pc:sldMk cId="3120695156" sldId="1864"/>
            <ac:spMk id="368" creationId="{0B79D7E0-1859-477C-A336-18B299AED505}"/>
          </ac:spMkLst>
        </pc:spChg>
        <pc:spChg chg="mod">
          <ac:chgData name="Soleil Yi" userId="c719b956-004a-4243-81dc-14be649b7814" providerId="ADAL" clId="{50DC4EE2-8FC0-47D5-B5D6-C6C1D4ED5A25}" dt="2022-09-13T07:08:02.496" v="1525"/>
          <ac:spMkLst>
            <pc:docMk/>
            <pc:sldMk cId="3120695156" sldId="1864"/>
            <ac:spMk id="369" creationId="{078185A3-C1A4-4480-8BBA-37AE523428DF}"/>
          </ac:spMkLst>
        </pc:spChg>
        <pc:spChg chg="mod">
          <ac:chgData name="Soleil Yi" userId="c719b956-004a-4243-81dc-14be649b7814" providerId="ADAL" clId="{50DC4EE2-8FC0-47D5-B5D6-C6C1D4ED5A25}" dt="2022-09-13T07:08:02.510" v="1529"/>
          <ac:spMkLst>
            <pc:docMk/>
            <pc:sldMk cId="3120695156" sldId="1864"/>
            <ac:spMk id="370" creationId="{0735B928-EF3B-4193-985A-B5D4D9E07BAE}"/>
          </ac:spMkLst>
        </pc:spChg>
        <pc:spChg chg="mod">
          <ac:chgData name="Soleil Yi" userId="c719b956-004a-4243-81dc-14be649b7814" providerId="ADAL" clId="{50DC4EE2-8FC0-47D5-B5D6-C6C1D4ED5A25}" dt="2022-09-13T07:08:02.524" v="1533"/>
          <ac:spMkLst>
            <pc:docMk/>
            <pc:sldMk cId="3120695156" sldId="1864"/>
            <ac:spMk id="371" creationId="{92A86574-94F5-4C4C-AB7E-1A6A1A9D1A45}"/>
          </ac:spMkLst>
        </pc:spChg>
        <pc:spChg chg="mod">
          <ac:chgData name="Soleil Yi" userId="c719b956-004a-4243-81dc-14be649b7814" providerId="ADAL" clId="{50DC4EE2-8FC0-47D5-B5D6-C6C1D4ED5A25}" dt="2022-09-13T07:08:02.537" v="1537"/>
          <ac:spMkLst>
            <pc:docMk/>
            <pc:sldMk cId="3120695156" sldId="1864"/>
            <ac:spMk id="372" creationId="{83D284E5-6E2D-4CC9-8DA4-416988E3B594}"/>
          </ac:spMkLst>
        </pc:spChg>
        <pc:spChg chg="mod">
          <ac:chgData name="Soleil Yi" userId="c719b956-004a-4243-81dc-14be649b7814" providerId="ADAL" clId="{50DC4EE2-8FC0-47D5-B5D6-C6C1D4ED5A25}" dt="2022-09-13T07:08:02.552" v="1541"/>
          <ac:spMkLst>
            <pc:docMk/>
            <pc:sldMk cId="3120695156" sldId="1864"/>
            <ac:spMk id="373" creationId="{233A070C-CF87-4EAB-8308-4219C63DFE10}"/>
          </ac:spMkLst>
        </pc:spChg>
        <pc:spChg chg="mod">
          <ac:chgData name="Soleil Yi" userId="c719b956-004a-4243-81dc-14be649b7814" providerId="ADAL" clId="{50DC4EE2-8FC0-47D5-B5D6-C6C1D4ED5A25}" dt="2022-09-13T07:08:02.565" v="1545"/>
          <ac:spMkLst>
            <pc:docMk/>
            <pc:sldMk cId="3120695156" sldId="1864"/>
            <ac:spMk id="374" creationId="{771D00D2-8DA5-4DDE-B7D3-19A3E2364FF1}"/>
          </ac:spMkLst>
        </pc:spChg>
        <pc:spChg chg="mod">
          <ac:chgData name="Soleil Yi" userId="c719b956-004a-4243-81dc-14be649b7814" providerId="ADAL" clId="{50DC4EE2-8FC0-47D5-B5D6-C6C1D4ED5A25}" dt="2022-09-13T07:08:02.579" v="1549"/>
          <ac:spMkLst>
            <pc:docMk/>
            <pc:sldMk cId="3120695156" sldId="1864"/>
            <ac:spMk id="375" creationId="{002FCCB0-73B2-4D93-BECA-DFC093EE5E3D}"/>
          </ac:spMkLst>
        </pc:spChg>
        <pc:spChg chg="mod">
          <ac:chgData name="Soleil Yi" userId="c719b956-004a-4243-81dc-14be649b7814" providerId="ADAL" clId="{50DC4EE2-8FC0-47D5-B5D6-C6C1D4ED5A25}" dt="2022-09-13T07:08:02.593" v="1553"/>
          <ac:spMkLst>
            <pc:docMk/>
            <pc:sldMk cId="3120695156" sldId="1864"/>
            <ac:spMk id="376" creationId="{CF32BC35-AB2E-41F3-AE4D-5D0EDDBAA3A6}"/>
          </ac:spMkLst>
        </pc:spChg>
        <pc:spChg chg="mod">
          <ac:chgData name="Soleil Yi" userId="c719b956-004a-4243-81dc-14be649b7814" providerId="ADAL" clId="{50DC4EE2-8FC0-47D5-B5D6-C6C1D4ED5A25}" dt="2022-09-13T07:08:02.608" v="1557"/>
          <ac:spMkLst>
            <pc:docMk/>
            <pc:sldMk cId="3120695156" sldId="1864"/>
            <ac:spMk id="377" creationId="{8AFD68AA-69A3-4B63-9A0E-B3050DD1A1DC}"/>
          </ac:spMkLst>
        </pc:spChg>
        <pc:spChg chg="mod">
          <ac:chgData name="Soleil Yi" userId="c719b956-004a-4243-81dc-14be649b7814" providerId="ADAL" clId="{50DC4EE2-8FC0-47D5-B5D6-C6C1D4ED5A25}" dt="2022-09-13T07:08:02.622" v="1561"/>
          <ac:spMkLst>
            <pc:docMk/>
            <pc:sldMk cId="3120695156" sldId="1864"/>
            <ac:spMk id="378" creationId="{D2DE612B-6617-4FEC-99FB-565F197A7F82}"/>
          </ac:spMkLst>
        </pc:spChg>
        <pc:spChg chg="mod">
          <ac:chgData name="Soleil Yi" userId="c719b956-004a-4243-81dc-14be649b7814" providerId="ADAL" clId="{50DC4EE2-8FC0-47D5-B5D6-C6C1D4ED5A25}" dt="2022-09-13T07:08:02.637" v="1565"/>
          <ac:spMkLst>
            <pc:docMk/>
            <pc:sldMk cId="3120695156" sldId="1864"/>
            <ac:spMk id="379" creationId="{21239E47-C230-4419-AA3F-9AADE992EDC4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>
            <a:extLst>
              <a:ext uri="{FF2B5EF4-FFF2-40B4-BE49-F238E27FC236}">
                <a16:creationId xmlns:a16="http://schemas.microsoft.com/office/drawing/2014/main" id="{7853AE2F-0FD7-4CC6-B85A-87F85E099B45}"/>
              </a:ext>
            </a:extLst>
          </p:cNvPr>
          <p:cNvSpPr/>
          <p:nvPr userDrawn="1"/>
        </p:nvSpPr>
        <p:spPr>
          <a:xfrm>
            <a:off x="1" y="1361225"/>
            <a:ext cx="12192000" cy="487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428343" y="4236379"/>
            <a:ext cx="6129159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accent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5428343" y="1505209"/>
            <a:ext cx="6129159" cy="2703088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428343" y="5200504"/>
            <a:ext cx="6129159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428343" y="5503125"/>
            <a:ext cx="6129157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3FF84E87-D557-43EC-A162-D9864B4375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497" y="835567"/>
            <a:ext cx="5214759" cy="51935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270171" y="3429000"/>
            <a:ext cx="4588061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271287" y="4324350"/>
            <a:ext cx="4588061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71337CC8-A19F-4C5B-83F1-B225CA0460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6245" y="2362200"/>
            <a:ext cx="3235579" cy="322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矩形 4">
            <a:extLst>
              <a:ext uri="{FF2B5EF4-FFF2-40B4-BE49-F238E27FC236}">
                <a16:creationId xmlns:a16="http://schemas.microsoft.com/office/drawing/2014/main" id="{05EFFD71-24E8-4A30-8F1E-FA8AEF5B591E}"/>
              </a:ext>
            </a:extLst>
          </p:cNvPr>
          <p:cNvSpPr/>
          <p:nvPr userDrawn="1"/>
        </p:nvSpPr>
        <p:spPr>
          <a:xfrm>
            <a:off x="1" y="1361225"/>
            <a:ext cx="12192000" cy="48792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1" y="2421697"/>
            <a:ext cx="5422900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1" y="4727933"/>
            <a:ext cx="5422900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accent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3" y="4431662"/>
            <a:ext cx="54229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6B14D2A3-A126-4708-8E59-C51AFE4FA0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759867"/>
            <a:ext cx="5360055" cy="53382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OfficePLUS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文本框 16">
            <a:extLst>
              <a:ext uri="{FF2B5EF4-FFF2-40B4-BE49-F238E27FC236}">
                <a16:creationId xmlns:a16="http://schemas.microsoft.com/office/drawing/2014/main" id="{6D054866-E74C-4155-B9CE-1FA251F45753}"/>
              </a:ext>
            </a:extLst>
          </p:cNvPr>
          <p:cNvSpPr txBox="1"/>
          <p:nvPr/>
        </p:nvSpPr>
        <p:spPr>
          <a:xfrm>
            <a:off x="3530444" y="2918460"/>
            <a:ext cx="8026556" cy="39395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altLang="zh-CN" sz="25000" dirty="0">
                <a:solidFill>
                  <a:schemeClr val="accent2">
                    <a:lumMod val="40000"/>
                    <a:lumOff val="60000"/>
                    <a:alpha val="43000"/>
                  </a:schemeClr>
                </a:solidFill>
                <a:cs typeface="+mn-ea"/>
                <a:sym typeface="+mn-lt"/>
              </a:rPr>
              <a:t>20XX</a:t>
            </a:r>
            <a:endParaRPr lang="zh-CN" altLang="en-US" sz="25000" dirty="0">
              <a:solidFill>
                <a:schemeClr val="accent2">
                  <a:lumMod val="40000"/>
                  <a:lumOff val="60000"/>
                  <a:alpha val="43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DF828017-A39B-4493-97A5-EC0C2FC5AB01}"/>
              </a:ext>
            </a:extLst>
          </p:cNvPr>
          <p:cNvSpPr/>
          <p:nvPr/>
        </p:nvSpPr>
        <p:spPr>
          <a:xfrm>
            <a:off x="9877331" y="4991042"/>
            <a:ext cx="1413469" cy="32946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096000" y="4236379"/>
            <a:ext cx="5194802" cy="558799"/>
          </a:xfrm>
        </p:spPr>
        <p:txBody>
          <a:bodyPr/>
          <a:lstStyle/>
          <a:p>
            <a:pPr algn="r"/>
            <a:r>
              <a:rPr lang="zh-CN" altLang="en-US" dirty="0">
                <a:solidFill>
                  <a:schemeClr val="accent1"/>
                </a:solidFill>
                <a:cs typeface="+mn-ea"/>
                <a:sym typeface="+mn-lt"/>
              </a:rPr>
              <a:t>汇报人：</a:t>
            </a:r>
            <a:r>
              <a:rPr lang="en-US" altLang="zh-CN" dirty="0" err="1">
                <a:solidFill>
                  <a:schemeClr val="accent1"/>
                </a:solidFill>
                <a:cs typeface="+mn-ea"/>
                <a:sym typeface="+mn-lt"/>
              </a:rPr>
              <a:t>OfficePLUS</a:t>
            </a:r>
            <a:endParaRPr lang="en-US" altLang="zh-CN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096000" y="1505209"/>
            <a:ext cx="5194802" cy="2703088"/>
          </a:xfrm>
        </p:spPr>
        <p:txBody>
          <a:bodyPr>
            <a:normAutofit/>
          </a:bodyPr>
          <a:lstStyle/>
          <a:p>
            <a:pPr algn="r"/>
            <a:r>
              <a:rPr lang="zh-CN" altLang="en-US" sz="5400" dirty="0">
                <a:latin typeface="+mn-lt"/>
                <a:ea typeface="+mn-ea"/>
                <a:cs typeface="+mn-ea"/>
                <a:sym typeface="+mn-lt"/>
              </a:rPr>
              <a:t>高一三班</a:t>
            </a:r>
            <a:r>
              <a:rPr lang="en-US" altLang="zh-CN" sz="5400" dirty="0"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sz="54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5400" dirty="0">
                <a:latin typeface="+mn-lt"/>
                <a:ea typeface="+mn-ea"/>
                <a:cs typeface="+mn-ea"/>
                <a:sym typeface="+mn-lt"/>
              </a:rPr>
              <a:t>第二学期教学</a:t>
            </a:r>
            <a:br>
              <a:rPr lang="en-US" altLang="zh-CN" sz="5400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5400" dirty="0">
                <a:latin typeface="+mn-lt"/>
                <a:ea typeface="+mn-ea"/>
                <a:cs typeface="+mn-ea"/>
                <a:sym typeface="+mn-lt"/>
              </a:rPr>
              <a:t>课程计划方案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9460208" y="5007637"/>
            <a:ext cx="1773422" cy="296271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XXX</a:t>
            </a:r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第三中学</a:t>
            </a:r>
            <a:endParaRPr lang="en-US" altLang="zh-CN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6096000" y="5503125"/>
            <a:ext cx="5194800" cy="296271"/>
          </a:xfrm>
        </p:spPr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9423986-DF7D-4AD8-A7A8-EF58B9EC2748}"/>
              </a:ext>
            </a:extLst>
          </p:cNvPr>
          <p:cNvSpPr/>
          <p:nvPr/>
        </p:nvSpPr>
        <p:spPr>
          <a:xfrm>
            <a:off x="728453" y="663619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LOGO HERE</a:t>
            </a:r>
            <a:endParaRPr lang="zh-CN" alt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F48201-24F3-4885-8007-21DA860FD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要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04D3363-4C55-4374-8137-AB2C7B0966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E2508BD-964C-4859-81C4-D05FC73A0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EE940A5-B8E9-445B-A92B-34949C19BC92}"/>
              </a:ext>
            </a:extLst>
          </p:cNvPr>
          <p:cNvGrpSpPr>
            <a:grpSpLocks noChangeAspect="1"/>
          </p:cNvGrpSpPr>
          <p:nvPr/>
        </p:nvGrpSpPr>
        <p:grpSpPr>
          <a:xfrm>
            <a:off x="666432" y="1922294"/>
            <a:ext cx="10854056" cy="2637937"/>
            <a:chOff x="666432" y="1922294"/>
            <a:chExt cx="10854056" cy="2637937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84F0B544-B0A9-4016-BBA0-DF68EBB7A20F}"/>
                </a:ext>
              </a:extLst>
            </p:cNvPr>
            <p:cNvGrpSpPr/>
            <p:nvPr/>
          </p:nvGrpSpPr>
          <p:grpSpPr>
            <a:xfrm>
              <a:off x="4190889" y="2297769"/>
              <a:ext cx="3810222" cy="2262462"/>
              <a:chOff x="7719397" y="1123950"/>
              <a:chExt cx="3810222" cy="2262462"/>
            </a:xfrm>
          </p:grpSpPr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1C015435-04F3-4F0D-9DF4-B84B879B284E}"/>
                  </a:ext>
                </a:extLst>
              </p:cNvPr>
              <p:cNvSpPr/>
              <p:nvPr/>
            </p:nvSpPr>
            <p:spPr bwMode="auto">
              <a:xfrm>
                <a:off x="9688240" y="1192234"/>
                <a:ext cx="452948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5047E886-323E-4FBD-915C-6C7FE5B359AE}"/>
                  </a:ext>
                </a:extLst>
              </p:cNvPr>
              <p:cNvSpPr/>
              <p:nvPr/>
            </p:nvSpPr>
            <p:spPr bwMode="auto">
              <a:xfrm>
                <a:off x="10382455" y="1192234"/>
                <a:ext cx="450671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A926209E-4918-4899-95B6-C2F3746A26BE}"/>
                  </a:ext>
                </a:extLst>
              </p:cNvPr>
              <p:cNvSpPr/>
              <p:nvPr/>
            </p:nvSpPr>
            <p:spPr bwMode="auto">
              <a:xfrm>
                <a:off x="11078948" y="1192234"/>
                <a:ext cx="450671" cy="2162311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41452E1E-BFF3-4F89-A625-5ADFAAC330FD}"/>
                  </a:ext>
                </a:extLst>
              </p:cNvPr>
              <p:cNvSpPr/>
              <p:nvPr/>
            </p:nvSpPr>
            <p:spPr bwMode="auto">
              <a:xfrm rot="1080000">
                <a:off x="9032718" y="1123950"/>
                <a:ext cx="450671" cy="2164588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0936EBAD-1C10-4EB5-AC69-0BF9FB4CA16C}"/>
                  </a:ext>
                </a:extLst>
              </p:cNvPr>
              <p:cNvSpPr/>
              <p:nvPr/>
            </p:nvSpPr>
            <p:spPr bwMode="auto">
              <a:xfrm rot="1800000">
                <a:off x="8397680" y="1142159"/>
                <a:ext cx="450671" cy="2164588"/>
              </a:xfrm>
              <a:prstGeom prst="rect">
                <a:avLst/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5FD847D9-B428-4870-8B05-B2EA3989D640}"/>
                  </a:ext>
                </a:extLst>
              </p:cNvPr>
              <p:cNvSpPr/>
              <p:nvPr/>
            </p:nvSpPr>
            <p:spPr bwMode="auto">
              <a:xfrm rot="2580000">
                <a:off x="7719397" y="1221824"/>
                <a:ext cx="450671" cy="2164588"/>
              </a:xfrm>
              <a:prstGeom prst="rect">
                <a:avLst/>
              </a:prstGeom>
              <a:solidFill>
                <a:schemeClr val="accent1"/>
              </a:solidFill>
              <a:ln w="12700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8EDC53E8-45F6-4ACD-AC17-A3B102BCC12A}"/>
                </a:ext>
              </a:extLst>
            </p:cNvPr>
            <p:cNvCxnSpPr/>
            <p:nvPr/>
          </p:nvCxnSpPr>
          <p:spPr>
            <a:xfrm flipH="1">
              <a:off x="669925" y="4104000"/>
              <a:ext cx="284337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B8870AE7-8A07-4201-831F-678EE7F3D716}"/>
                </a:ext>
              </a:extLst>
            </p:cNvPr>
            <p:cNvCxnSpPr>
              <a:cxnSpLocks/>
            </p:cNvCxnSpPr>
            <p:nvPr/>
          </p:nvCxnSpPr>
          <p:spPr>
            <a:xfrm>
              <a:off x="8001111" y="4528364"/>
              <a:ext cx="351937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BAA6F8CE-60FE-42F8-9B32-C1063D45EFE6}"/>
                </a:ext>
              </a:extLst>
            </p:cNvPr>
            <p:cNvSpPr/>
            <p:nvPr/>
          </p:nvSpPr>
          <p:spPr bwMode="auto">
            <a:xfrm>
              <a:off x="666432" y="2335174"/>
              <a:ext cx="3523335" cy="1318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Supporting text here.</a:t>
              </a:r>
            </a:p>
            <a:p>
              <a:pPr marL="171450" indent="-171450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You can use the icon library in </a:t>
              </a:r>
              <a:r>
                <a:rPr lang="en-US" altLang="zh-CN" sz="1100" dirty="0" err="1">
                  <a:cs typeface="+mn-ea"/>
                  <a:sym typeface="+mn-lt"/>
                </a:rPr>
                <a:t>OfficePLUS</a:t>
              </a:r>
              <a:r>
                <a:rPr lang="en-US" altLang="zh-CN" sz="1100" dirty="0">
                  <a:cs typeface="+mn-ea"/>
                  <a:sym typeface="+mn-lt"/>
                </a:rPr>
                <a:t>  (OfficePLUS) to filter and replace existing icon elements with one click.</a:t>
              </a: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F6C1CD5F-8428-4292-9F5A-ED8CAB740EA6}"/>
                </a:ext>
              </a:extLst>
            </p:cNvPr>
            <p:cNvSpPr txBox="1"/>
            <p:nvPr/>
          </p:nvSpPr>
          <p:spPr bwMode="auto">
            <a:xfrm>
              <a:off x="666432" y="1922294"/>
              <a:ext cx="352333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…</a:t>
              </a:r>
              <a:r>
                <a:rPr lang="zh-CN" altLang="en-US" b="1" dirty="0">
                  <a:cs typeface="+mn-ea"/>
                  <a:sym typeface="+mn-lt"/>
                </a:rPr>
                <a:t>要点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D9F116DD-763E-46CD-83F1-C8B309C39BEA}"/>
                </a:ext>
              </a:extLst>
            </p:cNvPr>
            <p:cNvSpPr/>
            <p:nvPr/>
          </p:nvSpPr>
          <p:spPr bwMode="auto">
            <a:xfrm>
              <a:off x="7997153" y="3190316"/>
              <a:ext cx="3523335" cy="13188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Supporting text here.</a:t>
              </a:r>
            </a:p>
            <a:p>
              <a:pPr marL="171450" indent="-171450" algn="r">
                <a:lnSpc>
                  <a:spcPct val="160000"/>
                </a:lnSpc>
                <a:buFont typeface="Arial" panose="020B0604020202020204" pitchFamily="34" charset="0"/>
                <a:buChar char="•"/>
              </a:pPr>
              <a:r>
                <a:rPr lang="en-US" altLang="zh-CN" sz="1100" dirty="0">
                  <a:cs typeface="+mn-ea"/>
                  <a:sym typeface="+mn-lt"/>
                </a:rPr>
                <a:t>You can use the icon library in </a:t>
              </a:r>
              <a:r>
                <a:rPr lang="en-US" altLang="zh-CN" sz="1100" dirty="0" err="1">
                  <a:cs typeface="+mn-ea"/>
                  <a:sym typeface="+mn-lt"/>
                </a:rPr>
                <a:t>OfficePLUS</a:t>
              </a:r>
              <a:r>
                <a:rPr lang="en-US" altLang="zh-CN" sz="1100" dirty="0">
                  <a:cs typeface="+mn-ea"/>
                  <a:sym typeface="+mn-lt"/>
                </a:rPr>
                <a:t>  (OfficePLUS) to filter and replace existing icon elements with one click.</a:t>
              </a: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D897078-DD56-4042-B2A6-4A9F207BA579}"/>
                </a:ext>
              </a:extLst>
            </p:cNvPr>
            <p:cNvSpPr txBox="1"/>
            <p:nvPr/>
          </p:nvSpPr>
          <p:spPr bwMode="auto">
            <a:xfrm>
              <a:off x="7997153" y="2777436"/>
              <a:ext cx="3523335" cy="41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…</a:t>
              </a:r>
              <a:r>
                <a:rPr lang="zh-CN" altLang="en-US" b="1" dirty="0">
                  <a:cs typeface="+mn-ea"/>
                  <a:sym typeface="+mn-lt"/>
                </a:rPr>
                <a:t>要点</a:t>
              </a:r>
              <a:endParaRPr lang="en-US" altLang="zh-CN" sz="1800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1851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亮点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7816C2E-E271-45F3-952E-7FC724E6740D}"/>
              </a:ext>
            </a:extLst>
          </p:cNvPr>
          <p:cNvSpPr txBox="1"/>
          <p:nvPr/>
        </p:nvSpPr>
        <p:spPr>
          <a:xfrm>
            <a:off x="5072484" y="39456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634520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406B9CE-C5D0-4AF6-AC0B-9764738D0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亮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6277968-EF53-4376-B782-7A0E88FCA7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14F6BD1-8E33-4284-9228-05CF07461A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E9F41D7-8E5B-482F-81D6-77D558D050FE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74052"/>
            <a:ext cx="10845800" cy="4972748"/>
            <a:chOff x="673100" y="1174052"/>
            <a:chExt cx="10845800" cy="497274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4B0A4EF-6508-4592-96AF-6DFC81770A1D}"/>
                </a:ext>
              </a:extLst>
            </p:cNvPr>
            <p:cNvGrpSpPr/>
            <p:nvPr/>
          </p:nvGrpSpPr>
          <p:grpSpPr>
            <a:xfrm>
              <a:off x="3727010" y="1174052"/>
              <a:ext cx="4737989" cy="4972748"/>
              <a:chOff x="3727007" y="1262952"/>
              <a:chExt cx="4737989" cy="4972748"/>
            </a:xfrm>
          </p:grpSpPr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B3FE3EDC-F40D-488C-AD7B-25AFF9FDE827}"/>
                  </a:ext>
                </a:extLst>
              </p:cNvPr>
              <p:cNvGrpSpPr/>
              <p:nvPr/>
            </p:nvGrpSpPr>
            <p:grpSpPr>
              <a:xfrm>
                <a:off x="3727007" y="1262952"/>
                <a:ext cx="4737989" cy="4633948"/>
                <a:chOff x="3422934" y="793925"/>
                <a:chExt cx="5346146" cy="5228752"/>
              </a:xfrm>
              <a:solidFill>
                <a:schemeClr val="bg1">
                  <a:lumMod val="95000"/>
                </a:schemeClr>
              </a:solidFill>
            </p:grpSpPr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063F99A-E37A-4C67-A330-4FED9EDB7681}"/>
                    </a:ext>
                  </a:extLst>
                </p:cNvPr>
                <p:cNvSpPr/>
                <p:nvPr/>
              </p:nvSpPr>
              <p:spPr bwMode="auto">
                <a:xfrm>
                  <a:off x="5086174" y="3424715"/>
                  <a:ext cx="382151" cy="382151"/>
                </a:xfrm>
                <a:custGeom>
                  <a:avLst/>
                  <a:gdLst>
                    <a:gd name="T0" fmla="*/ 5 w 68"/>
                    <a:gd name="T1" fmla="*/ 0 h 68"/>
                    <a:gd name="T2" fmla="*/ 0 w 68"/>
                    <a:gd name="T3" fmla="*/ 58 h 68"/>
                    <a:gd name="T4" fmla="*/ 7 w 68"/>
                    <a:gd name="T5" fmla="*/ 64 h 68"/>
                    <a:gd name="T6" fmla="*/ 8 w 68"/>
                    <a:gd name="T7" fmla="*/ 68 h 68"/>
                    <a:gd name="T8" fmla="*/ 13 w 68"/>
                    <a:gd name="T9" fmla="*/ 67 h 68"/>
                    <a:gd name="T10" fmla="*/ 54 w 68"/>
                    <a:gd name="T11" fmla="*/ 64 h 68"/>
                    <a:gd name="T12" fmla="*/ 55 w 68"/>
                    <a:gd name="T13" fmla="*/ 68 h 68"/>
                    <a:gd name="T14" fmla="*/ 61 w 68"/>
                    <a:gd name="T15" fmla="*/ 67 h 68"/>
                    <a:gd name="T16" fmla="*/ 62 w 68"/>
                    <a:gd name="T17" fmla="*/ 64 h 68"/>
                    <a:gd name="T18" fmla="*/ 68 w 68"/>
                    <a:gd name="T19" fmla="*/ 6 h 68"/>
                    <a:gd name="T20" fmla="*/ 65 w 68"/>
                    <a:gd name="T21" fmla="*/ 58 h 68"/>
                    <a:gd name="T22" fmla="*/ 60 w 68"/>
                    <a:gd name="T23" fmla="*/ 61 h 68"/>
                    <a:gd name="T24" fmla="*/ 12 w 68"/>
                    <a:gd name="T25" fmla="*/ 61 h 68"/>
                    <a:gd name="T26" fmla="*/ 5 w 68"/>
                    <a:gd name="T27" fmla="*/ 61 h 68"/>
                    <a:gd name="T28" fmla="*/ 3 w 68"/>
                    <a:gd name="T29" fmla="*/ 6 h 68"/>
                    <a:gd name="T30" fmla="*/ 62 w 68"/>
                    <a:gd name="T31" fmla="*/ 3 h 68"/>
                    <a:gd name="T32" fmla="*/ 65 w 68"/>
                    <a:gd name="T33" fmla="*/ 58 h 68"/>
                    <a:gd name="T34" fmla="*/ 7 w 68"/>
                    <a:gd name="T35" fmla="*/ 5 h 68"/>
                    <a:gd name="T36" fmla="*/ 5 w 68"/>
                    <a:gd name="T37" fmla="*/ 13 h 68"/>
                    <a:gd name="T38" fmla="*/ 3 w 68"/>
                    <a:gd name="T39" fmla="*/ 14 h 68"/>
                    <a:gd name="T40" fmla="*/ 4 w 68"/>
                    <a:gd name="T41" fmla="*/ 23 h 68"/>
                    <a:gd name="T42" fmla="*/ 5 w 68"/>
                    <a:gd name="T43" fmla="*/ 41 h 68"/>
                    <a:gd name="T44" fmla="*/ 3 w 68"/>
                    <a:gd name="T45" fmla="*/ 42 h 68"/>
                    <a:gd name="T46" fmla="*/ 4 w 68"/>
                    <a:gd name="T47" fmla="*/ 51 h 68"/>
                    <a:gd name="T48" fmla="*/ 5 w 68"/>
                    <a:gd name="T49" fmla="*/ 57 h 68"/>
                    <a:gd name="T50" fmla="*/ 61 w 68"/>
                    <a:gd name="T51" fmla="*/ 59 h 68"/>
                    <a:gd name="T52" fmla="*/ 63 w 68"/>
                    <a:gd name="T53" fmla="*/ 8 h 68"/>
                    <a:gd name="T54" fmla="*/ 61 w 68"/>
                    <a:gd name="T55" fmla="*/ 57 h 68"/>
                    <a:gd name="T56" fmla="*/ 7 w 68"/>
                    <a:gd name="T57" fmla="*/ 57 h 68"/>
                    <a:gd name="T58" fmla="*/ 7 w 68"/>
                    <a:gd name="T59" fmla="*/ 51 h 68"/>
                    <a:gd name="T60" fmla="*/ 8 w 68"/>
                    <a:gd name="T61" fmla="*/ 42 h 68"/>
                    <a:gd name="T62" fmla="*/ 7 w 68"/>
                    <a:gd name="T63" fmla="*/ 41 h 68"/>
                    <a:gd name="T64" fmla="*/ 7 w 68"/>
                    <a:gd name="T65" fmla="*/ 23 h 68"/>
                    <a:gd name="T66" fmla="*/ 8 w 68"/>
                    <a:gd name="T67" fmla="*/ 14 h 68"/>
                    <a:gd name="T68" fmla="*/ 7 w 68"/>
                    <a:gd name="T69" fmla="*/ 13 h 68"/>
                    <a:gd name="T70" fmla="*/ 61 w 68"/>
                    <a:gd name="T71" fmla="*/ 8 h 68"/>
                    <a:gd name="T72" fmla="*/ 34 w 68"/>
                    <a:gd name="T73" fmla="*/ 46 h 68"/>
                    <a:gd name="T74" fmla="*/ 34 w 68"/>
                    <a:gd name="T75" fmla="*/ 18 h 68"/>
                    <a:gd name="T76" fmla="*/ 34 w 68"/>
                    <a:gd name="T77" fmla="*/ 46 h 68"/>
                    <a:gd name="T78" fmla="*/ 46 w 68"/>
                    <a:gd name="T79" fmla="*/ 32 h 68"/>
                    <a:gd name="T80" fmla="*/ 22 w 68"/>
                    <a:gd name="T81" fmla="*/ 32 h 68"/>
                    <a:gd name="T82" fmla="*/ 34 w 68"/>
                    <a:gd name="T83" fmla="*/ 41 h 68"/>
                    <a:gd name="T84" fmla="*/ 45 w 68"/>
                    <a:gd name="T85" fmla="*/ 35 h 68"/>
                    <a:gd name="T86" fmla="*/ 46 w 68"/>
                    <a:gd name="T87" fmla="*/ 31 h 68"/>
                    <a:gd name="T88" fmla="*/ 43 w 68"/>
                    <a:gd name="T89" fmla="*/ 30 h 68"/>
                    <a:gd name="T90" fmla="*/ 24 w 68"/>
                    <a:gd name="T91" fmla="*/ 32 h 68"/>
                    <a:gd name="T92" fmla="*/ 34 w 68"/>
                    <a:gd name="T93" fmla="*/ 25 h 68"/>
                    <a:gd name="T94" fmla="*/ 34 w 68"/>
                    <a:gd name="T95" fmla="*/ 39 h 68"/>
                    <a:gd name="T96" fmla="*/ 34 w 68"/>
                    <a:gd name="T97" fmla="*/ 25 h 68"/>
                    <a:gd name="T98" fmla="*/ 53 w 68"/>
                    <a:gd name="T99" fmla="*/ 49 h 68"/>
                    <a:gd name="T100" fmla="*/ 54 w 68"/>
                    <a:gd name="T101" fmla="*/ 44 h 68"/>
                    <a:gd name="T102" fmla="*/ 56 w 68"/>
                    <a:gd name="T103" fmla="*/ 18 h 68"/>
                    <a:gd name="T104" fmla="*/ 50 w 68"/>
                    <a:gd name="T105" fmla="*/ 18 h 68"/>
                    <a:gd name="T106" fmla="*/ 52 w 68"/>
                    <a:gd name="T107" fmla="*/ 44 h 68"/>
                    <a:gd name="T108" fmla="*/ 53 w 68"/>
                    <a:gd name="T109" fmla="*/ 47 h 68"/>
                    <a:gd name="T110" fmla="*/ 53 w 68"/>
                    <a:gd name="T111" fmla="*/ 46 h 68"/>
                    <a:gd name="T112" fmla="*/ 53 w 68"/>
                    <a:gd name="T113" fmla="*/ 47 h 68"/>
                    <a:gd name="T114" fmla="*/ 54 w 68"/>
                    <a:gd name="T115" fmla="*/ 18 h 68"/>
                    <a:gd name="T116" fmla="*/ 52 w 68"/>
                    <a:gd name="T117" fmla="*/ 18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8" h="68">
                      <a:moveTo>
                        <a:pt x="62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3"/>
                        <a:pt x="0" y="6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2" y="64"/>
                        <a:pt x="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7" y="67"/>
                        <a:pt x="7" y="67"/>
                        <a:pt x="7" y="67"/>
                      </a:cubicBezTo>
                      <a:cubicBezTo>
                        <a:pt x="7" y="68"/>
                        <a:pt x="7" y="68"/>
                        <a:pt x="8" y="68"/>
                      </a:cubicBezTo>
                      <a:cubicBezTo>
                        <a:pt x="12" y="68"/>
                        <a:pt x="12" y="68"/>
                        <a:pt x="12" y="68"/>
                      </a:cubicBezTo>
                      <a:cubicBezTo>
                        <a:pt x="13" y="68"/>
                        <a:pt x="13" y="68"/>
                        <a:pt x="13" y="67"/>
                      </a:cubicBezTo>
                      <a:cubicBezTo>
                        <a:pt x="13" y="64"/>
                        <a:pt x="13" y="64"/>
                        <a:pt x="13" y="64"/>
                      </a:cubicBezTo>
                      <a:cubicBezTo>
                        <a:pt x="54" y="64"/>
                        <a:pt x="54" y="64"/>
                        <a:pt x="54" y="64"/>
                      </a:cubicBezTo>
                      <a:cubicBezTo>
                        <a:pt x="54" y="67"/>
                        <a:pt x="54" y="67"/>
                        <a:pt x="54" y="67"/>
                      </a:cubicBezTo>
                      <a:cubicBezTo>
                        <a:pt x="54" y="68"/>
                        <a:pt x="54" y="68"/>
                        <a:pt x="55" y="68"/>
                      </a:cubicBez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60" y="68"/>
                        <a:pt x="61" y="68"/>
                        <a:pt x="61" y="67"/>
                      </a:cubicBezTo>
                      <a:cubicBezTo>
                        <a:pt x="61" y="64"/>
                        <a:pt x="61" y="64"/>
                        <a:pt x="61" y="64"/>
                      </a:cubicBezTo>
                      <a:cubicBezTo>
                        <a:pt x="62" y="64"/>
                        <a:pt x="62" y="64"/>
                        <a:pt x="62" y="64"/>
                      </a:cubicBezTo>
                      <a:cubicBezTo>
                        <a:pt x="65" y="64"/>
                        <a:pt x="68" y="61"/>
                        <a:pt x="68" y="58"/>
                      </a:cubicBezTo>
                      <a:cubicBezTo>
                        <a:pt x="68" y="6"/>
                        <a:pt x="68" y="6"/>
                        <a:pt x="68" y="6"/>
                      </a:cubicBezTo>
                      <a:cubicBezTo>
                        <a:pt x="68" y="3"/>
                        <a:pt x="65" y="0"/>
                        <a:pt x="62" y="0"/>
                      </a:cubicBezTo>
                      <a:close/>
                      <a:moveTo>
                        <a:pt x="65" y="58"/>
                      </a:moveTo>
                      <a:cubicBezTo>
                        <a:pt x="65" y="60"/>
                        <a:pt x="64" y="61"/>
                        <a:pt x="62" y="61"/>
                      </a:cubicBezTo>
                      <a:cubicBezTo>
                        <a:pt x="60" y="61"/>
                        <a:pt x="60" y="61"/>
                        <a:pt x="60" y="61"/>
                      </a:cubicBezTo>
                      <a:cubicBezTo>
                        <a:pt x="55" y="61"/>
                        <a:pt x="55" y="61"/>
                        <a:pt x="55" y="61"/>
                      </a:cubicBezTo>
                      <a:cubicBezTo>
                        <a:pt x="12" y="61"/>
                        <a:pt x="12" y="61"/>
                        <a:pt x="12" y="61"/>
                      </a:cubicBezTo>
                      <a:cubicBezTo>
                        <a:pt x="8" y="61"/>
                        <a:pt x="8" y="61"/>
                        <a:pt x="8" y="61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4" y="61"/>
                        <a:pt x="3" y="60"/>
                        <a:pt x="3" y="58"/>
                      </a:cubicBezTo>
                      <a:cubicBezTo>
                        <a:pt x="3" y="6"/>
                        <a:pt x="3" y="6"/>
                        <a:pt x="3" y="6"/>
                      </a:cubicBezTo>
                      <a:cubicBezTo>
                        <a:pt x="3" y="4"/>
                        <a:pt x="4" y="3"/>
                        <a:pt x="5" y="3"/>
                      </a:cubicBezTo>
                      <a:cubicBezTo>
                        <a:pt x="62" y="3"/>
                        <a:pt x="62" y="3"/>
                        <a:pt x="62" y="3"/>
                      </a:cubicBezTo>
                      <a:cubicBezTo>
                        <a:pt x="64" y="3"/>
                        <a:pt x="65" y="4"/>
                        <a:pt x="65" y="6"/>
                      </a:cubicBezTo>
                      <a:lnTo>
                        <a:pt x="65" y="58"/>
                      </a:lnTo>
                      <a:close/>
                      <a:moveTo>
                        <a:pt x="61" y="5"/>
                      </a:moveTo>
                      <a:cubicBezTo>
                        <a:pt x="7" y="5"/>
                        <a:pt x="7" y="5"/>
                        <a:pt x="7" y="5"/>
                      </a:cubicBezTo>
                      <a:cubicBezTo>
                        <a:pt x="6" y="5"/>
                        <a:pt x="5" y="6"/>
                        <a:pt x="5" y="8"/>
                      </a:cubicBezTo>
                      <a:cubicBezTo>
                        <a:pt x="5" y="13"/>
                        <a:pt x="5" y="13"/>
                        <a:pt x="5" y="13"/>
                      </a:cubicBez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3" y="13"/>
                        <a:pt x="3" y="13"/>
                        <a:pt x="3" y="14"/>
                      </a:cubicBezTo>
                      <a:cubicBezTo>
                        <a:pt x="3" y="22"/>
                        <a:pt x="3" y="22"/>
                        <a:pt x="3" y="22"/>
                      </a:cubicBezTo>
                      <a:cubicBezTo>
                        <a:pt x="3" y="23"/>
                        <a:pt x="3" y="23"/>
                        <a:pt x="4" y="23"/>
                      </a:cubicBezTo>
                      <a:cubicBezTo>
                        <a:pt x="5" y="23"/>
                        <a:pt x="5" y="23"/>
                        <a:pt x="5" y="23"/>
                      </a:cubicBezTo>
                      <a:cubicBezTo>
                        <a:pt x="5" y="41"/>
                        <a:pt x="5" y="41"/>
                        <a:pt x="5" y="41"/>
                      </a:cubicBezTo>
                      <a:cubicBezTo>
                        <a:pt x="4" y="41"/>
                        <a:pt x="4" y="41"/>
                        <a:pt x="4" y="41"/>
                      </a:cubicBezTo>
                      <a:cubicBezTo>
                        <a:pt x="3" y="41"/>
                        <a:pt x="3" y="41"/>
                        <a:pt x="3" y="42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3" y="51"/>
                        <a:pt x="3" y="51"/>
                        <a:pt x="4" y="51"/>
                      </a:cubicBezTo>
                      <a:cubicBezTo>
                        <a:pt x="5" y="51"/>
                        <a:pt x="5" y="51"/>
                        <a:pt x="5" y="51"/>
                      </a:cubicBezTo>
                      <a:cubicBezTo>
                        <a:pt x="5" y="57"/>
                        <a:pt x="5" y="57"/>
                        <a:pt x="5" y="57"/>
                      </a:cubicBezTo>
                      <a:cubicBezTo>
                        <a:pt x="5" y="58"/>
                        <a:pt x="6" y="59"/>
                        <a:pt x="7" y="59"/>
                      </a:cubicBezTo>
                      <a:cubicBezTo>
                        <a:pt x="61" y="59"/>
                        <a:pt x="61" y="59"/>
                        <a:pt x="61" y="59"/>
                      </a:cubicBezTo>
                      <a:cubicBezTo>
                        <a:pt x="62" y="59"/>
                        <a:pt x="63" y="58"/>
                        <a:pt x="63" y="57"/>
                      </a:cubicBezTo>
                      <a:cubicBezTo>
                        <a:pt x="63" y="8"/>
                        <a:pt x="63" y="8"/>
                        <a:pt x="63" y="8"/>
                      </a:cubicBezTo>
                      <a:cubicBezTo>
                        <a:pt x="63" y="6"/>
                        <a:pt x="62" y="5"/>
                        <a:pt x="61" y="5"/>
                      </a:cubicBezTo>
                      <a:close/>
                      <a:moveTo>
                        <a:pt x="61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7" y="51"/>
                        <a:pt x="7" y="51"/>
                        <a:pt x="7" y="51"/>
                      </a:cubicBezTo>
                      <a:cubicBezTo>
                        <a:pt x="7" y="51"/>
                        <a:pt x="7" y="51"/>
                        <a:pt x="7" y="51"/>
                      </a:cubicBezTo>
                      <a:cubicBezTo>
                        <a:pt x="8" y="51"/>
                        <a:pt x="8" y="51"/>
                        <a:pt x="8" y="50"/>
                      </a:cubicBezTo>
                      <a:cubicBezTo>
                        <a:pt x="8" y="42"/>
                        <a:pt x="8" y="42"/>
                        <a:pt x="8" y="42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7" y="23"/>
                        <a:pt x="7" y="23"/>
                        <a:pt x="7" y="23"/>
                      </a:cubicBezTo>
                      <a:cubicBezTo>
                        <a:pt x="8" y="23"/>
                        <a:pt x="8" y="23"/>
                        <a:pt x="8" y="22"/>
                      </a:cubicBezTo>
                      <a:cubicBezTo>
                        <a:pt x="8" y="14"/>
                        <a:pt x="8" y="14"/>
                        <a:pt x="8" y="14"/>
                      </a:cubicBezTo>
                      <a:cubicBezTo>
                        <a:pt x="8" y="13"/>
                        <a:pt x="8" y="13"/>
                        <a:pt x="7" y="13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61" y="8"/>
                        <a:pt x="61" y="8"/>
                        <a:pt x="61" y="8"/>
                      </a:cubicBezTo>
                      <a:lnTo>
                        <a:pt x="61" y="57"/>
                      </a:lnTo>
                      <a:close/>
                      <a:moveTo>
                        <a:pt x="34" y="46"/>
                      </a:moveTo>
                      <a:cubicBezTo>
                        <a:pt x="42" y="46"/>
                        <a:pt x="48" y="40"/>
                        <a:pt x="48" y="32"/>
                      </a:cubicBezTo>
                      <a:cubicBezTo>
                        <a:pt x="48" y="24"/>
                        <a:pt x="42" y="18"/>
                        <a:pt x="34" y="18"/>
                      </a:cubicBezTo>
                      <a:cubicBezTo>
                        <a:pt x="26" y="18"/>
                        <a:pt x="20" y="24"/>
                        <a:pt x="20" y="32"/>
                      </a:cubicBezTo>
                      <a:cubicBezTo>
                        <a:pt x="20" y="40"/>
                        <a:pt x="26" y="46"/>
                        <a:pt x="34" y="46"/>
                      </a:cubicBezTo>
                      <a:close/>
                      <a:moveTo>
                        <a:pt x="34" y="20"/>
                      </a:moveTo>
                      <a:cubicBezTo>
                        <a:pt x="40" y="20"/>
                        <a:pt x="46" y="25"/>
                        <a:pt x="46" y="32"/>
                      </a:cubicBezTo>
                      <a:cubicBezTo>
                        <a:pt x="46" y="39"/>
                        <a:pt x="40" y="44"/>
                        <a:pt x="34" y="44"/>
                      </a:cubicBezTo>
                      <a:cubicBezTo>
                        <a:pt x="27" y="44"/>
                        <a:pt x="22" y="39"/>
                        <a:pt x="22" y="32"/>
                      </a:cubicBezTo>
                      <a:cubicBezTo>
                        <a:pt x="22" y="25"/>
                        <a:pt x="27" y="20"/>
                        <a:pt x="34" y="20"/>
                      </a:cubicBezTo>
                      <a:close/>
                      <a:moveTo>
                        <a:pt x="34" y="41"/>
                      </a:moveTo>
                      <a:cubicBezTo>
                        <a:pt x="38" y="41"/>
                        <a:pt x="41" y="39"/>
                        <a:pt x="43" y="35"/>
                      </a:cubicBez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45" y="35"/>
                        <a:pt x="46" y="34"/>
                        <a:pt x="46" y="34"/>
                      </a:cubicBezTo>
                      <a:cubicBezTo>
                        <a:pt x="46" y="31"/>
                        <a:pt x="46" y="31"/>
                        <a:pt x="46" y="31"/>
                      </a:cubicBezTo>
                      <a:cubicBezTo>
                        <a:pt x="46" y="30"/>
                        <a:pt x="45" y="30"/>
                        <a:pt x="45" y="30"/>
                      </a:cubicBezTo>
                      <a:cubicBezTo>
                        <a:pt x="43" y="30"/>
                        <a:pt x="43" y="30"/>
                        <a:pt x="43" y="30"/>
                      </a:cubicBezTo>
                      <a:cubicBezTo>
                        <a:pt x="42" y="26"/>
                        <a:pt x="38" y="23"/>
                        <a:pt x="34" y="23"/>
                      </a:cubicBezTo>
                      <a:cubicBezTo>
                        <a:pt x="29" y="23"/>
                        <a:pt x="24" y="27"/>
                        <a:pt x="24" y="32"/>
                      </a:cubicBezTo>
                      <a:cubicBezTo>
                        <a:pt x="24" y="37"/>
                        <a:pt x="29" y="41"/>
                        <a:pt x="34" y="41"/>
                      </a:cubicBezTo>
                      <a:close/>
                      <a:moveTo>
                        <a:pt x="34" y="25"/>
                      </a:moveTo>
                      <a:cubicBezTo>
                        <a:pt x="38" y="25"/>
                        <a:pt x="41" y="28"/>
                        <a:pt x="41" y="32"/>
                      </a:cubicBezTo>
                      <a:cubicBezTo>
                        <a:pt x="41" y="36"/>
                        <a:pt x="38" y="39"/>
                        <a:pt x="34" y="39"/>
                      </a:cubicBezTo>
                      <a:cubicBezTo>
                        <a:pt x="30" y="39"/>
                        <a:pt x="26" y="36"/>
                        <a:pt x="26" y="32"/>
                      </a:cubicBezTo>
                      <a:cubicBezTo>
                        <a:pt x="26" y="28"/>
                        <a:pt x="30" y="25"/>
                        <a:pt x="34" y="25"/>
                      </a:cubicBezTo>
                      <a:close/>
                      <a:moveTo>
                        <a:pt x="50" y="47"/>
                      </a:moveTo>
                      <a:cubicBezTo>
                        <a:pt x="50" y="48"/>
                        <a:pt x="52" y="49"/>
                        <a:pt x="53" y="49"/>
                      </a:cubicBezTo>
                      <a:cubicBezTo>
                        <a:pt x="55" y="49"/>
                        <a:pt x="56" y="48"/>
                        <a:pt x="56" y="47"/>
                      </a:cubicBezTo>
                      <a:cubicBezTo>
                        <a:pt x="56" y="45"/>
                        <a:pt x="55" y="44"/>
                        <a:pt x="54" y="44"/>
                      </a:cubicBezTo>
                      <a:cubicBezTo>
                        <a:pt x="54" y="20"/>
                        <a:pt x="54" y="20"/>
                        <a:pt x="54" y="20"/>
                      </a:cubicBezTo>
                      <a:cubicBezTo>
                        <a:pt x="55" y="20"/>
                        <a:pt x="56" y="19"/>
                        <a:pt x="56" y="18"/>
                      </a:cubicBezTo>
                      <a:cubicBezTo>
                        <a:pt x="56" y="16"/>
                        <a:pt x="55" y="15"/>
                        <a:pt x="53" y="15"/>
                      </a:cubicBezTo>
                      <a:cubicBezTo>
                        <a:pt x="52" y="15"/>
                        <a:pt x="50" y="16"/>
                        <a:pt x="50" y="18"/>
                      </a:cubicBezTo>
                      <a:cubicBezTo>
                        <a:pt x="50" y="19"/>
                        <a:pt x="51" y="20"/>
                        <a:pt x="52" y="20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1" y="44"/>
                        <a:pt x="50" y="45"/>
                        <a:pt x="50" y="47"/>
                      </a:cubicBezTo>
                      <a:close/>
                      <a:moveTo>
                        <a:pt x="53" y="47"/>
                      </a:moveTo>
                      <a:cubicBezTo>
                        <a:pt x="53" y="47"/>
                        <a:pt x="52" y="47"/>
                        <a:pt x="52" y="47"/>
                      </a:cubicBezTo>
                      <a:cubicBezTo>
                        <a:pt x="52" y="46"/>
                        <a:pt x="53" y="46"/>
                        <a:pt x="53" y="46"/>
                      </a:cubicBezTo>
                      <a:cubicBezTo>
                        <a:pt x="54" y="46"/>
                        <a:pt x="54" y="46"/>
                        <a:pt x="54" y="47"/>
                      </a:cubicBezTo>
                      <a:cubicBezTo>
                        <a:pt x="54" y="47"/>
                        <a:pt x="54" y="47"/>
                        <a:pt x="53" y="47"/>
                      </a:cubicBezTo>
                      <a:close/>
                      <a:moveTo>
                        <a:pt x="53" y="17"/>
                      </a:moveTo>
                      <a:cubicBezTo>
                        <a:pt x="54" y="17"/>
                        <a:pt x="54" y="17"/>
                        <a:pt x="54" y="18"/>
                      </a:cubicBezTo>
                      <a:cubicBezTo>
                        <a:pt x="54" y="18"/>
                        <a:pt x="54" y="18"/>
                        <a:pt x="53" y="18"/>
                      </a:cubicBezTo>
                      <a:cubicBezTo>
                        <a:pt x="53" y="18"/>
                        <a:pt x="52" y="18"/>
                        <a:pt x="52" y="18"/>
                      </a:cubicBezTo>
                      <a:cubicBezTo>
                        <a:pt x="52" y="17"/>
                        <a:pt x="53" y="17"/>
                        <a:pt x="53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8932A06A-E013-4126-8F1C-D9436F914155}"/>
                    </a:ext>
                  </a:extLst>
                </p:cNvPr>
                <p:cNvSpPr/>
                <p:nvPr/>
              </p:nvSpPr>
              <p:spPr bwMode="auto">
                <a:xfrm>
                  <a:off x="5998051" y="3764533"/>
                  <a:ext cx="256493" cy="299242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0B3754A8-495F-499C-8684-0009B5160563}"/>
                    </a:ext>
                  </a:extLst>
                </p:cNvPr>
                <p:cNvSpPr/>
                <p:nvPr/>
              </p:nvSpPr>
              <p:spPr bwMode="auto">
                <a:xfrm>
                  <a:off x="5952809" y="2998386"/>
                  <a:ext cx="433321" cy="408976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CA2672F9-EB3A-4328-BDE3-2DB463374C60}"/>
                    </a:ext>
                  </a:extLst>
                </p:cNvPr>
                <p:cNvSpPr/>
                <p:nvPr/>
              </p:nvSpPr>
              <p:spPr bwMode="auto">
                <a:xfrm>
                  <a:off x="5696459" y="3483149"/>
                  <a:ext cx="380947" cy="401820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A2A966BF-E82B-4268-8D94-F11515EDB7F8}"/>
                    </a:ext>
                  </a:extLst>
                </p:cNvPr>
                <p:cNvSpPr/>
                <p:nvPr/>
              </p:nvSpPr>
              <p:spPr bwMode="auto">
                <a:xfrm>
                  <a:off x="5630274" y="1348468"/>
                  <a:ext cx="387874" cy="387877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2EAD4A54-A09D-427C-9F62-4FCC470AB0C6}"/>
                    </a:ext>
                  </a:extLst>
                </p:cNvPr>
                <p:cNvSpPr/>
                <p:nvPr/>
              </p:nvSpPr>
              <p:spPr bwMode="auto">
                <a:xfrm>
                  <a:off x="6743888" y="1755842"/>
                  <a:ext cx="226136" cy="226138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A4A75130-025F-46D2-8F74-65D7B69A57B3}"/>
                    </a:ext>
                  </a:extLst>
                </p:cNvPr>
                <p:cNvSpPr/>
                <p:nvPr/>
              </p:nvSpPr>
              <p:spPr bwMode="auto">
                <a:xfrm>
                  <a:off x="5404058" y="4469365"/>
                  <a:ext cx="477669" cy="461746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72CA0D2A-04F0-4EAB-9B8A-38785FF8800F}"/>
                    </a:ext>
                  </a:extLst>
                </p:cNvPr>
                <p:cNvSpPr/>
                <p:nvPr/>
              </p:nvSpPr>
              <p:spPr bwMode="auto">
                <a:xfrm>
                  <a:off x="3763062" y="2040292"/>
                  <a:ext cx="338041" cy="319050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C0B56BC0-1C61-4A05-9612-F2207BC399B7}"/>
                    </a:ext>
                  </a:extLst>
                </p:cNvPr>
                <p:cNvSpPr/>
                <p:nvPr/>
              </p:nvSpPr>
              <p:spPr bwMode="auto">
                <a:xfrm>
                  <a:off x="5989513" y="1956551"/>
                  <a:ext cx="366153" cy="366153"/>
                </a:xfrm>
                <a:custGeom>
                  <a:avLst/>
                  <a:gdLst>
                    <a:gd name="T0" fmla="*/ 0 w 66"/>
                    <a:gd name="T1" fmla="*/ 33 h 66"/>
                    <a:gd name="T2" fmla="*/ 66 w 66"/>
                    <a:gd name="T3" fmla="*/ 33 h 66"/>
                    <a:gd name="T4" fmla="*/ 50 w 66"/>
                    <a:gd name="T5" fmla="*/ 32 h 66"/>
                    <a:gd name="T6" fmla="*/ 63 w 66"/>
                    <a:gd name="T7" fmla="*/ 32 h 66"/>
                    <a:gd name="T8" fmla="*/ 48 w 66"/>
                    <a:gd name="T9" fmla="*/ 32 h 66"/>
                    <a:gd name="T10" fmla="*/ 34 w 66"/>
                    <a:gd name="T11" fmla="*/ 18 h 66"/>
                    <a:gd name="T12" fmla="*/ 48 w 66"/>
                    <a:gd name="T13" fmla="*/ 32 h 66"/>
                    <a:gd name="T14" fmla="*/ 34 w 66"/>
                    <a:gd name="T15" fmla="*/ 3 h 66"/>
                    <a:gd name="T16" fmla="*/ 34 w 66"/>
                    <a:gd name="T17" fmla="*/ 16 h 66"/>
                    <a:gd name="T18" fmla="*/ 20 w 66"/>
                    <a:gd name="T19" fmla="*/ 18 h 66"/>
                    <a:gd name="T20" fmla="*/ 32 w 66"/>
                    <a:gd name="T21" fmla="*/ 16 h 66"/>
                    <a:gd name="T22" fmla="*/ 32 w 66"/>
                    <a:gd name="T23" fmla="*/ 32 h 66"/>
                    <a:gd name="T24" fmla="*/ 19 w 66"/>
                    <a:gd name="T25" fmla="*/ 20 h 66"/>
                    <a:gd name="T26" fmla="*/ 16 w 66"/>
                    <a:gd name="T27" fmla="*/ 32 h 66"/>
                    <a:gd name="T28" fmla="*/ 17 w 66"/>
                    <a:gd name="T29" fmla="*/ 21 h 66"/>
                    <a:gd name="T30" fmla="*/ 16 w 66"/>
                    <a:gd name="T31" fmla="*/ 34 h 66"/>
                    <a:gd name="T32" fmla="*/ 3 w 66"/>
                    <a:gd name="T33" fmla="*/ 34 h 66"/>
                    <a:gd name="T34" fmla="*/ 18 w 66"/>
                    <a:gd name="T35" fmla="*/ 34 h 66"/>
                    <a:gd name="T36" fmla="*/ 32 w 66"/>
                    <a:gd name="T37" fmla="*/ 48 h 66"/>
                    <a:gd name="T38" fmla="*/ 18 w 66"/>
                    <a:gd name="T39" fmla="*/ 34 h 66"/>
                    <a:gd name="T40" fmla="*/ 32 w 66"/>
                    <a:gd name="T41" fmla="*/ 63 h 66"/>
                    <a:gd name="T42" fmla="*/ 32 w 66"/>
                    <a:gd name="T43" fmla="*/ 50 h 66"/>
                    <a:gd name="T44" fmla="*/ 46 w 66"/>
                    <a:gd name="T45" fmla="*/ 49 h 66"/>
                    <a:gd name="T46" fmla="*/ 34 w 66"/>
                    <a:gd name="T47" fmla="*/ 50 h 66"/>
                    <a:gd name="T48" fmla="*/ 34 w 66"/>
                    <a:gd name="T49" fmla="*/ 34 h 66"/>
                    <a:gd name="T50" fmla="*/ 46 w 66"/>
                    <a:gd name="T51" fmla="*/ 47 h 66"/>
                    <a:gd name="T52" fmla="*/ 50 w 66"/>
                    <a:gd name="T53" fmla="*/ 34 h 66"/>
                    <a:gd name="T54" fmla="*/ 48 w 66"/>
                    <a:gd name="T55" fmla="*/ 46 h 66"/>
                    <a:gd name="T56" fmla="*/ 48 w 66"/>
                    <a:gd name="T57" fmla="*/ 18 h 66"/>
                    <a:gd name="T58" fmla="*/ 62 w 66"/>
                    <a:gd name="T59" fmla="*/ 26 h 66"/>
                    <a:gd name="T60" fmla="*/ 18 w 66"/>
                    <a:gd name="T61" fmla="*/ 18 h 66"/>
                    <a:gd name="T62" fmla="*/ 26 w 66"/>
                    <a:gd name="T63" fmla="*/ 4 h 66"/>
                    <a:gd name="T64" fmla="*/ 18 w 66"/>
                    <a:gd name="T65" fmla="*/ 48 h 66"/>
                    <a:gd name="T66" fmla="*/ 4 w 66"/>
                    <a:gd name="T67" fmla="*/ 40 h 66"/>
                    <a:gd name="T68" fmla="*/ 48 w 66"/>
                    <a:gd name="T69" fmla="*/ 48 h 66"/>
                    <a:gd name="T70" fmla="*/ 40 w 66"/>
                    <a:gd name="T71" fmla="*/ 62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66" h="66">
                      <a:moveTo>
                        <a:pt x="33" y="0"/>
                      </a:moveTo>
                      <a:cubicBezTo>
                        <a:pt x="15" y="0"/>
                        <a:pt x="0" y="15"/>
                        <a:pt x="0" y="33"/>
                      </a:cubicBezTo>
                      <a:cubicBezTo>
                        <a:pt x="0" y="51"/>
                        <a:pt x="15" y="66"/>
                        <a:pt x="33" y="66"/>
                      </a:cubicBezTo>
                      <a:cubicBezTo>
                        <a:pt x="51" y="66"/>
                        <a:pt x="66" y="51"/>
                        <a:pt x="66" y="33"/>
                      </a:cubicBezTo>
                      <a:cubicBezTo>
                        <a:pt x="66" y="15"/>
                        <a:pt x="51" y="0"/>
                        <a:pt x="33" y="0"/>
                      </a:cubicBezTo>
                      <a:close/>
                      <a:moveTo>
                        <a:pt x="50" y="32"/>
                      </a:moveTo>
                      <a:cubicBezTo>
                        <a:pt x="50" y="28"/>
                        <a:pt x="49" y="24"/>
                        <a:pt x="48" y="21"/>
                      </a:cubicBezTo>
                      <a:cubicBezTo>
                        <a:pt x="56" y="23"/>
                        <a:pt x="62" y="27"/>
                        <a:pt x="63" y="32"/>
                      </a:cubicBezTo>
                      <a:lnTo>
                        <a:pt x="50" y="32"/>
                      </a:lnTo>
                      <a:close/>
                      <a:moveTo>
                        <a:pt x="48" y="32"/>
                      </a:move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38" y="18"/>
                        <a:pt x="42" y="19"/>
                        <a:pt x="46" y="20"/>
                      </a:cubicBezTo>
                      <a:cubicBezTo>
                        <a:pt x="47" y="24"/>
                        <a:pt x="48" y="28"/>
                        <a:pt x="48" y="32"/>
                      </a:cubicBezTo>
                      <a:close/>
                      <a:moveTo>
                        <a:pt x="34" y="16"/>
                      </a:moveTo>
                      <a:cubicBezTo>
                        <a:pt x="34" y="3"/>
                        <a:pt x="34" y="3"/>
                        <a:pt x="34" y="3"/>
                      </a:cubicBezTo>
                      <a:cubicBezTo>
                        <a:pt x="39" y="4"/>
                        <a:pt x="43" y="10"/>
                        <a:pt x="46" y="18"/>
                      </a:cubicBezTo>
                      <a:cubicBezTo>
                        <a:pt x="42" y="17"/>
                        <a:pt x="38" y="16"/>
                        <a:pt x="34" y="16"/>
                      </a:cubicBezTo>
                      <a:close/>
                      <a:moveTo>
                        <a:pt x="32" y="16"/>
                      </a:moveTo>
                      <a:cubicBezTo>
                        <a:pt x="28" y="16"/>
                        <a:pt x="24" y="17"/>
                        <a:pt x="20" y="18"/>
                      </a:cubicBezTo>
                      <a:cubicBezTo>
                        <a:pt x="22" y="10"/>
                        <a:pt x="27" y="4"/>
                        <a:pt x="32" y="3"/>
                      </a:cubicBezTo>
                      <a:lnTo>
                        <a:pt x="32" y="16"/>
                      </a:lnTo>
                      <a:close/>
                      <a:moveTo>
                        <a:pt x="32" y="18"/>
                      </a:moveTo>
                      <a:cubicBezTo>
                        <a:pt x="32" y="32"/>
                        <a:pt x="32" y="32"/>
                        <a:pt x="32" y="32"/>
                      </a:cubicBez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8" y="28"/>
                        <a:pt x="18" y="24"/>
                        <a:pt x="19" y="20"/>
                      </a:cubicBezTo>
                      <a:cubicBezTo>
                        <a:pt x="23" y="19"/>
                        <a:pt x="27" y="18"/>
                        <a:pt x="32" y="18"/>
                      </a:cubicBezTo>
                      <a:close/>
                      <a:moveTo>
                        <a:pt x="16" y="32"/>
                      </a:moveTo>
                      <a:cubicBezTo>
                        <a:pt x="3" y="32"/>
                        <a:pt x="3" y="32"/>
                        <a:pt x="3" y="32"/>
                      </a:cubicBezTo>
                      <a:cubicBezTo>
                        <a:pt x="4" y="27"/>
                        <a:pt x="9" y="23"/>
                        <a:pt x="17" y="21"/>
                      </a:cubicBezTo>
                      <a:cubicBezTo>
                        <a:pt x="16" y="24"/>
                        <a:pt x="16" y="28"/>
                        <a:pt x="16" y="32"/>
                      </a:cubicBezTo>
                      <a:close/>
                      <a:moveTo>
                        <a:pt x="16" y="34"/>
                      </a:moveTo>
                      <a:cubicBezTo>
                        <a:pt x="16" y="38"/>
                        <a:pt x="16" y="42"/>
                        <a:pt x="17" y="46"/>
                      </a:cubicBezTo>
                      <a:cubicBezTo>
                        <a:pt x="9" y="44"/>
                        <a:pt x="4" y="39"/>
                        <a:pt x="3" y="34"/>
                      </a:cubicBezTo>
                      <a:lnTo>
                        <a:pt x="16" y="34"/>
                      </a:lnTo>
                      <a:close/>
                      <a:moveTo>
                        <a:pt x="18" y="34"/>
                      </a:moveTo>
                      <a:cubicBezTo>
                        <a:pt x="32" y="34"/>
                        <a:pt x="32" y="34"/>
                        <a:pt x="32" y="34"/>
                      </a:cubicBezTo>
                      <a:cubicBezTo>
                        <a:pt x="32" y="48"/>
                        <a:pt x="32" y="48"/>
                        <a:pt x="32" y="48"/>
                      </a:cubicBezTo>
                      <a:cubicBezTo>
                        <a:pt x="27" y="48"/>
                        <a:pt x="23" y="48"/>
                        <a:pt x="19" y="47"/>
                      </a:cubicBezTo>
                      <a:cubicBezTo>
                        <a:pt x="18" y="43"/>
                        <a:pt x="18" y="39"/>
                        <a:pt x="18" y="34"/>
                      </a:cubicBezTo>
                      <a:close/>
                      <a:moveTo>
                        <a:pt x="32" y="50"/>
                      </a:moveTo>
                      <a:cubicBezTo>
                        <a:pt x="32" y="63"/>
                        <a:pt x="32" y="63"/>
                        <a:pt x="32" y="63"/>
                      </a:cubicBezTo>
                      <a:cubicBezTo>
                        <a:pt x="27" y="62"/>
                        <a:pt x="22" y="57"/>
                        <a:pt x="20" y="49"/>
                      </a:cubicBezTo>
                      <a:cubicBezTo>
                        <a:pt x="24" y="50"/>
                        <a:pt x="28" y="50"/>
                        <a:pt x="32" y="50"/>
                      </a:cubicBezTo>
                      <a:close/>
                      <a:moveTo>
                        <a:pt x="34" y="50"/>
                      </a:moveTo>
                      <a:cubicBezTo>
                        <a:pt x="38" y="50"/>
                        <a:pt x="42" y="50"/>
                        <a:pt x="46" y="49"/>
                      </a:cubicBezTo>
                      <a:cubicBezTo>
                        <a:pt x="43" y="57"/>
                        <a:pt x="39" y="62"/>
                        <a:pt x="34" y="63"/>
                      </a:cubicBezTo>
                      <a:lnTo>
                        <a:pt x="34" y="50"/>
                      </a:lnTo>
                      <a:close/>
                      <a:moveTo>
                        <a:pt x="34" y="48"/>
                      </a:moveTo>
                      <a:cubicBezTo>
                        <a:pt x="34" y="34"/>
                        <a:pt x="34" y="34"/>
                        <a:pt x="34" y="34"/>
                      </a:cubicBezTo>
                      <a:cubicBezTo>
                        <a:pt x="48" y="34"/>
                        <a:pt x="48" y="34"/>
                        <a:pt x="48" y="34"/>
                      </a:cubicBezTo>
                      <a:cubicBezTo>
                        <a:pt x="48" y="39"/>
                        <a:pt x="47" y="43"/>
                        <a:pt x="46" y="47"/>
                      </a:cubicBezTo>
                      <a:cubicBezTo>
                        <a:pt x="42" y="48"/>
                        <a:pt x="38" y="48"/>
                        <a:pt x="34" y="48"/>
                      </a:cubicBezTo>
                      <a:close/>
                      <a:moveTo>
                        <a:pt x="50" y="34"/>
                      </a:moveTo>
                      <a:cubicBezTo>
                        <a:pt x="63" y="34"/>
                        <a:pt x="63" y="34"/>
                        <a:pt x="63" y="34"/>
                      </a:cubicBezTo>
                      <a:cubicBezTo>
                        <a:pt x="62" y="39"/>
                        <a:pt x="56" y="44"/>
                        <a:pt x="48" y="46"/>
                      </a:cubicBezTo>
                      <a:cubicBezTo>
                        <a:pt x="49" y="42"/>
                        <a:pt x="50" y="38"/>
                        <a:pt x="50" y="34"/>
                      </a:cubicBezTo>
                      <a:close/>
                      <a:moveTo>
                        <a:pt x="48" y="18"/>
                      </a:moveTo>
                      <a:cubicBezTo>
                        <a:pt x="46" y="12"/>
                        <a:pt x="43" y="7"/>
                        <a:pt x="40" y="4"/>
                      </a:cubicBezTo>
                      <a:cubicBezTo>
                        <a:pt x="51" y="7"/>
                        <a:pt x="59" y="15"/>
                        <a:pt x="62" y="26"/>
                      </a:cubicBezTo>
                      <a:cubicBezTo>
                        <a:pt x="59" y="23"/>
                        <a:pt x="54" y="20"/>
                        <a:pt x="48" y="18"/>
                      </a:cubicBezTo>
                      <a:close/>
                      <a:moveTo>
                        <a:pt x="18" y="18"/>
                      </a:moveTo>
                      <a:cubicBezTo>
                        <a:pt x="12" y="20"/>
                        <a:pt x="7" y="23"/>
                        <a:pt x="4" y="26"/>
                      </a:cubicBezTo>
                      <a:cubicBezTo>
                        <a:pt x="6" y="15"/>
                        <a:pt x="15" y="7"/>
                        <a:pt x="26" y="4"/>
                      </a:cubicBezTo>
                      <a:cubicBezTo>
                        <a:pt x="22" y="7"/>
                        <a:pt x="19" y="12"/>
                        <a:pt x="18" y="18"/>
                      </a:cubicBezTo>
                      <a:close/>
                      <a:moveTo>
                        <a:pt x="18" y="48"/>
                      </a:moveTo>
                      <a:cubicBezTo>
                        <a:pt x="19" y="55"/>
                        <a:pt x="22" y="59"/>
                        <a:pt x="26" y="62"/>
                      </a:cubicBezTo>
                      <a:cubicBezTo>
                        <a:pt x="15" y="60"/>
                        <a:pt x="6" y="51"/>
                        <a:pt x="4" y="40"/>
                      </a:cubicBezTo>
                      <a:cubicBezTo>
                        <a:pt x="7" y="44"/>
                        <a:pt x="12" y="47"/>
                        <a:pt x="18" y="48"/>
                      </a:cubicBezTo>
                      <a:close/>
                      <a:moveTo>
                        <a:pt x="48" y="48"/>
                      </a:moveTo>
                      <a:cubicBezTo>
                        <a:pt x="54" y="47"/>
                        <a:pt x="59" y="44"/>
                        <a:pt x="62" y="40"/>
                      </a:cubicBezTo>
                      <a:cubicBezTo>
                        <a:pt x="59" y="51"/>
                        <a:pt x="51" y="60"/>
                        <a:pt x="40" y="62"/>
                      </a:cubicBezTo>
                      <a:cubicBezTo>
                        <a:pt x="43" y="59"/>
                        <a:pt x="46" y="55"/>
                        <a:pt x="48" y="4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DDD69B5E-099A-4914-A23A-EFC149A76FFB}"/>
                    </a:ext>
                  </a:extLst>
                </p:cNvPr>
                <p:cNvSpPr/>
                <p:nvPr/>
              </p:nvSpPr>
              <p:spPr bwMode="auto">
                <a:xfrm>
                  <a:off x="7620745" y="1667961"/>
                  <a:ext cx="247895" cy="2733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B828D185-1AC8-4D38-83A9-BB9524C03532}"/>
                    </a:ext>
                  </a:extLst>
                </p:cNvPr>
                <p:cNvSpPr/>
                <p:nvPr/>
              </p:nvSpPr>
              <p:spPr bwMode="auto">
                <a:xfrm>
                  <a:off x="3860671" y="2873155"/>
                  <a:ext cx="391289" cy="456503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70C3375E-D886-407A-8B9E-651BAD9ACB06}"/>
                    </a:ext>
                  </a:extLst>
                </p:cNvPr>
                <p:cNvSpPr/>
                <p:nvPr/>
              </p:nvSpPr>
              <p:spPr bwMode="auto">
                <a:xfrm>
                  <a:off x="6491829" y="3051705"/>
                  <a:ext cx="257430" cy="252662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5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C195B820-E805-49F7-BB48-5BF7999747FF}"/>
                    </a:ext>
                  </a:extLst>
                </p:cNvPr>
                <p:cNvSpPr/>
                <p:nvPr/>
              </p:nvSpPr>
              <p:spPr bwMode="auto">
                <a:xfrm>
                  <a:off x="5254073" y="1635904"/>
                  <a:ext cx="454840" cy="454838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56E851D-A84D-4A95-8651-1F7B80E92AAD}"/>
                    </a:ext>
                  </a:extLst>
                </p:cNvPr>
                <p:cNvSpPr/>
                <p:nvPr/>
              </p:nvSpPr>
              <p:spPr bwMode="auto">
                <a:xfrm>
                  <a:off x="6100154" y="889329"/>
                  <a:ext cx="588391" cy="498402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BAF0624B-D21E-4AC0-99D7-C81459E62E9C}"/>
                    </a:ext>
                  </a:extLst>
                </p:cNvPr>
                <p:cNvSpPr/>
                <p:nvPr/>
              </p:nvSpPr>
              <p:spPr bwMode="auto">
                <a:xfrm>
                  <a:off x="5040082" y="1145637"/>
                  <a:ext cx="344844" cy="398585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8D3A56AB-B260-4F21-8994-E6B187F88671}"/>
                    </a:ext>
                  </a:extLst>
                </p:cNvPr>
                <p:cNvSpPr/>
                <p:nvPr/>
              </p:nvSpPr>
              <p:spPr bwMode="auto">
                <a:xfrm>
                  <a:off x="4201287" y="3080574"/>
                  <a:ext cx="360739" cy="339394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E6876F73-01F5-4800-B9D4-EE81C6483554}"/>
                    </a:ext>
                  </a:extLst>
                </p:cNvPr>
                <p:cNvSpPr/>
                <p:nvPr/>
              </p:nvSpPr>
              <p:spPr bwMode="auto">
                <a:xfrm>
                  <a:off x="7847284" y="1941280"/>
                  <a:ext cx="397781" cy="298923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5789C404-7F14-42EF-993A-16A0DE54B892}"/>
                    </a:ext>
                  </a:extLst>
                </p:cNvPr>
                <p:cNvSpPr/>
                <p:nvPr/>
              </p:nvSpPr>
              <p:spPr bwMode="auto">
                <a:xfrm>
                  <a:off x="7252095" y="1380673"/>
                  <a:ext cx="492596" cy="426725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617B75E1-3552-4246-B633-0964D019E7DF}"/>
                    </a:ext>
                  </a:extLst>
                </p:cNvPr>
                <p:cNvSpPr/>
                <p:nvPr/>
              </p:nvSpPr>
              <p:spPr bwMode="auto">
                <a:xfrm>
                  <a:off x="3813143" y="3455923"/>
                  <a:ext cx="470990" cy="382176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7B1C1E70-EE40-4502-A11E-1C79F867D7DC}"/>
                    </a:ext>
                  </a:extLst>
                </p:cNvPr>
                <p:cNvSpPr/>
                <p:nvPr/>
              </p:nvSpPr>
              <p:spPr bwMode="auto">
                <a:xfrm>
                  <a:off x="6596102" y="1098961"/>
                  <a:ext cx="440389" cy="408553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C7CF129D-8B65-48A9-9222-608B5CB53F49}"/>
                    </a:ext>
                  </a:extLst>
                </p:cNvPr>
                <p:cNvSpPr/>
                <p:nvPr/>
              </p:nvSpPr>
              <p:spPr bwMode="auto">
                <a:xfrm>
                  <a:off x="7801625" y="2637917"/>
                  <a:ext cx="505164" cy="360468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547DFAE0-63CF-4FEF-BE29-78A8C0A3ED06}"/>
                    </a:ext>
                  </a:extLst>
                </p:cNvPr>
                <p:cNvSpPr/>
                <p:nvPr/>
              </p:nvSpPr>
              <p:spPr bwMode="auto">
                <a:xfrm>
                  <a:off x="7801625" y="4836745"/>
                  <a:ext cx="443440" cy="316422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CE329BC5-69FF-49E1-B848-4D5A5ECA198A}"/>
                    </a:ext>
                  </a:extLst>
                </p:cNvPr>
                <p:cNvSpPr/>
                <p:nvPr/>
              </p:nvSpPr>
              <p:spPr bwMode="auto">
                <a:xfrm>
                  <a:off x="6415971" y="1547550"/>
                  <a:ext cx="380947" cy="401820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096FCD00-A4C1-4F4A-BD63-54A8E5FEC9E6}"/>
                    </a:ext>
                  </a:extLst>
                </p:cNvPr>
                <p:cNvSpPr/>
                <p:nvPr/>
              </p:nvSpPr>
              <p:spPr bwMode="auto">
                <a:xfrm>
                  <a:off x="8137722" y="2123320"/>
                  <a:ext cx="454840" cy="454838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1157927A-BFF5-4CC0-8D10-69CFF918B68B}"/>
                    </a:ext>
                  </a:extLst>
                </p:cNvPr>
                <p:cNvSpPr/>
                <p:nvPr/>
              </p:nvSpPr>
              <p:spPr bwMode="auto">
                <a:xfrm>
                  <a:off x="5673904" y="894667"/>
                  <a:ext cx="372065" cy="410226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AB680324-BB67-48C7-8CE6-80D06D171416}"/>
                    </a:ext>
                  </a:extLst>
                </p:cNvPr>
                <p:cNvSpPr/>
                <p:nvPr/>
              </p:nvSpPr>
              <p:spPr bwMode="auto">
                <a:xfrm>
                  <a:off x="5516716" y="3046669"/>
                  <a:ext cx="344844" cy="398585"/>
                </a:xfrm>
                <a:custGeom>
                  <a:avLst/>
                  <a:gdLst>
                    <a:gd name="T0" fmla="*/ 54 w 62"/>
                    <a:gd name="T1" fmla="*/ 0 h 72"/>
                    <a:gd name="T2" fmla="*/ 8 w 62"/>
                    <a:gd name="T3" fmla="*/ 0 h 72"/>
                    <a:gd name="T4" fmla="*/ 0 w 62"/>
                    <a:gd name="T5" fmla="*/ 8 h 72"/>
                    <a:gd name="T6" fmla="*/ 0 w 62"/>
                    <a:gd name="T7" fmla="*/ 64 h 72"/>
                    <a:gd name="T8" fmla="*/ 8 w 62"/>
                    <a:gd name="T9" fmla="*/ 72 h 72"/>
                    <a:gd name="T10" fmla="*/ 54 w 62"/>
                    <a:gd name="T11" fmla="*/ 72 h 72"/>
                    <a:gd name="T12" fmla="*/ 62 w 62"/>
                    <a:gd name="T13" fmla="*/ 64 h 72"/>
                    <a:gd name="T14" fmla="*/ 62 w 62"/>
                    <a:gd name="T15" fmla="*/ 8 h 72"/>
                    <a:gd name="T16" fmla="*/ 54 w 62"/>
                    <a:gd name="T17" fmla="*/ 0 h 72"/>
                    <a:gd name="T18" fmla="*/ 8 w 62"/>
                    <a:gd name="T19" fmla="*/ 3 h 72"/>
                    <a:gd name="T20" fmla="*/ 54 w 62"/>
                    <a:gd name="T21" fmla="*/ 3 h 72"/>
                    <a:gd name="T22" fmla="*/ 59 w 62"/>
                    <a:gd name="T23" fmla="*/ 8 h 72"/>
                    <a:gd name="T24" fmla="*/ 59 w 62"/>
                    <a:gd name="T25" fmla="*/ 64 h 72"/>
                    <a:gd name="T26" fmla="*/ 54 w 62"/>
                    <a:gd name="T27" fmla="*/ 69 h 72"/>
                    <a:gd name="T28" fmla="*/ 8 w 62"/>
                    <a:gd name="T29" fmla="*/ 69 h 72"/>
                    <a:gd name="T30" fmla="*/ 3 w 62"/>
                    <a:gd name="T31" fmla="*/ 64 h 72"/>
                    <a:gd name="T32" fmla="*/ 3 w 62"/>
                    <a:gd name="T33" fmla="*/ 8 h 72"/>
                    <a:gd name="T34" fmla="*/ 8 w 62"/>
                    <a:gd name="T35" fmla="*/ 3 h 72"/>
                    <a:gd name="T36" fmla="*/ 7 w 62"/>
                    <a:gd name="T37" fmla="*/ 62 h 72"/>
                    <a:gd name="T38" fmla="*/ 55 w 62"/>
                    <a:gd name="T39" fmla="*/ 62 h 72"/>
                    <a:gd name="T40" fmla="*/ 56 w 62"/>
                    <a:gd name="T41" fmla="*/ 61 h 72"/>
                    <a:gd name="T42" fmla="*/ 56 w 62"/>
                    <a:gd name="T43" fmla="*/ 7 h 72"/>
                    <a:gd name="T44" fmla="*/ 55 w 62"/>
                    <a:gd name="T45" fmla="*/ 6 h 72"/>
                    <a:gd name="T46" fmla="*/ 7 w 62"/>
                    <a:gd name="T47" fmla="*/ 6 h 72"/>
                    <a:gd name="T48" fmla="*/ 6 w 62"/>
                    <a:gd name="T49" fmla="*/ 7 h 72"/>
                    <a:gd name="T50" fmla="*/ 6 w 62"/>
                    <a:gd name="T51" fmla="*/ 61 h 72"/>
                    <a:gd name="T52" fmla="*/ 7 w 62"/>
                    <a:gd name="T53" fmla="*/ 62 h 72"/>
                    <a:gd name="T54" fmla="*/ 8 w 62"/>
                    <a:gd name="T55" fmla="*/ 8 h 72"/>
                    <a:gd name="T56" fmla="*/ 54 w 62"/>
                    <a:gd name="T57" fmla="*/ 8 h 72"/>
                    <a:gd name="T58" fmla="*/ 54 w 62"/>
                    <a:gd name="T59" fmla="*/ 60 h 72"/>
                    <a:gd name="T60" fmla="*/ 8 w 62"/>
                    <a:gd name="T61" fmla="*/ 60 h 72"/>
                    <a:gd name="T62" fmla="*/ 8 w 62"/>
                    <a:gd name="T63" fmla="*/ 8 h 72"/>
                    <a:gd name="T64" fmla="*/ 33 w 62"/>
                    <a:gd name="T65" fmla="*/ 66 h 72"/>
                    <a:gd name="T66" fmla="*/ 31 w 62"/>
                    <a:gd name="T67" fmla="*/ 68 h 72"/>
                    <a:gd name="T68" fmla="*/ 29 w 62"/>
                    <a:gd name="T69" fmla="*/ 66 h 72"/>
                    <a:gd name="T70" fmla="*/ 31 w 62"/>
                    <a:gd name="T71" fmla="*/ 64 h 72"/>
                    <a:gd name="T72" fmla="*/ 33 w 62"/>
                    <a:gd name="T73" fmla="*/ 66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2" h="72">
                      <a:moveTo>
                        <a:pt x="54" y="0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4" y="0"/>
                        <a:pt x="0" y="3"/>
                        <a:pt x="0" y="8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8"/>
                        <a:pt x="4" y="72"/>
                        <a:pt x="8" y="72"/>
                      </a:cubicBezTo>
                      <a:cubicBezTo>
                        <a:pt x="54" y="72"/>
                        <a:pt x="54" y="72"/>
                        <a:pt x="54" y="72"/>
                      </a:cubicBezTo>
                      <a:cubicBezTo>
                        <a:pt x="58" y="72"/>
                        <a:pt x="62" y="68"/>
                        <a:pt x="62" y="64"/>
                      </a:cubicBezTo>
                      <a:cubicBezTo>
                        <a:pt x="62" y="8"/>
                        <a:pt x="62" y="8"/>
                        <a:pt x="62" y="8"/>
                      </a:cubicBezTo>
                      <a:cubicBezTo>
                        <a:pt x="62" y="3"/>
                        <a:pt x="58" y="0"/>
                        <a:pt x="54" y="0"/>
                      </a:cubicBezTo>
                      <a:close/>
                      <a:moveTo>
                        <a:pt x="8" y="3"/>
                      </a:moveTo>
                      <a:cubicBezTo>
                        <a:pt x="54" y="3"/>
                        <a:pt x="54" y="3"/>
                        <a:pt x="54" y="3"/>
                      </a:cubicBezTo>
                      <a:cubicBezTo>
                        <a:pt x="56" y="3"/>
                        <a:pt x="59" y="5"/>
                        <a:pt x="59" y="8"/>
                      </a:cubicBezTo>
                      <a:cubicBezTo>
                        <a:pt x="59" y="64"/>
                        <a:pt x="59" y="64"/>
                        <a:pt x="59" y="64"/>
                      </a:cubicBezTo>
                      <a:cubicBezTo>
                        <a:pt x="59" y="67"/>
                        <a:pt x="56" y="69"/>
                        <a:pt x="54" y="69"/>
                      </a:cubicBezTo>
                      <a:cubicBezTo>
                        <a:pt x="8" y="69"/>
                        <a:pt x="8" y="69"/>
                        <a:pt x="8" y="69"/>
                      </a:cubicBezTo>
                      <a:cubicBezTo>
                        <a:pt x="5" y="69"/>
                        <a:pt x="3" y="67"/>
                        <a:pt x="3" y="64"/>
                      </a:cubicBezTo>
                      <a:cubicBezTo>
                        <a:pt x="3" y="8"/>
                        <a:pt x="3" y="8"/>
                        <a:pt x="3" y="8"/>
                      </a:cubicBezTo>
                      <a:cubicBezTo>
                        <a:pt x="3" y="5"/>
                        <a:pt x="5" y="3"/>
                        <a:pt x="8" y="3"/>
                      </a:cubicBezTo>
                      <a:close/>
                      <a:moveTo>
                        <a:pt x="7" y="62"/>
                      </a:moveTo>
                      <a:cubicBezTo>
                        <a:pt x="55" y="62"/>
                        <a:pt x="55" y="62"/>
                        <a:pt x="55" y="62"/>
                      </a:cubicBezTo>
                      <a:cubicBezTo>
                        <a:pt x="55" y="62"/>
                        <a:pt x="56" y="61"/>
                        <a:pt x="56" y="61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6"/>
                        <a:pt x="55" y="6"/>
                        <a:pt x="55" y="6"/>
                      </a:cubicBezTo>
                      <a:cubicBezTo>
                        <a:pt x="7" y="6"/>
                        <a:pt x="7" y="6"/>
                        <a:pt x="7" y="6"/>
                      </a:cubicBezTo>
                      <a:cubicBezTo>
                        <a:pt x="7" y="6"/>
                        <a:pt x="6" y="6"/>
                        <a:pt x="6" y="7"/>
                      </a:cubicBezTo>
                      <a:cubicBezTo>
                        <a:pt x="6" y="61"/>
                        <a:pt x="6" y="61"/>
                        <a:pt x="6" y="61"/>
                      </a:cubicBezTo>
                      <a:cubicBezTo>
                        <a:pt x="6" y="61"/>
                        <a:pt x="7" y="62"/>
                        <a:pt x="7" y="62"/>
                      </a:cubicBezTo>
                      <a:close/>
                      <a:moveTo>
                        <a:pt x="8" y="8"/>
                      </a:moveTo>
                      <a:cubicBezTo>
                        <a:pt x="54" y="8"/>
                        <a:pt x="54" y="8"/>
                        <a:pt x="54" y="8"/>
                      </a:cubicBezTo>
                      <a:cubicBezTo>
                        <a:pt x="54" y="60"/>
                        <a:pt x="54" y="60"/>
                        <a:pt x="54" y="60"/>
                      </a:cubicBezTo>
                      <a:cubicBezTo>
                        <a:pt x="8" y="60"/>
                        <a:pt x="8" y="60"/>
                        <a:pt x="8" y="60"/>
                      </a:cubicBezTo>
                      <a:lnTo>
                        <a:pt x="8" y="8"/>
                      </a:lnTo>
                      <a:close/>
                      <a:moveTo>
                        <a:pt x="33" y="66"/>
                      </a:moveTo>
                      <a:cubicBezTo>
                        <a:pt x="33" y="67"/>
                        <a:pt x="32" y="68"/>
                        <a:pt x="31" y="68"/>
                      </a:cubicBezTo>
                      <a:cubicBezTo>
                        <a:pt x="30" y="68"/>
                        <a:pt x="29" y="67"/>
                        <a:pt x="29" y="66"/>
                      </a:cubicBezTo>
                      <a:cubicBezTo>
                        <a:pt x="29" y="65"/>
                        <a:pt x="30" y="64"/>
                        <a:pt x="31" y="64"/>
                      </a:cubicBezTo>
                      <a:cubicBezTo>
                        <a:pt x="32" y="64"/>
                        <a:pt x="33" y="65"/>
                        <a:pt x="33" y="6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D39DFCC8-90C2-4DCD-8DFD-56A363E155E4}"/>
                    </a:ext>
                  </a:extLst>
                </p:cNvPr>
                <p:cNvSpPr/>
                <p:nvPr/>
              </p:nvSpPr>
              <p:spPr bwMode="auto">
                <a:xfrm>
                  <a:off x="3444583" y="2492318"/>
                  <a:ext cx="594441" cy="627012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B3E5CE77-483A-4A04-A7A7-E738590A0DEC}"/>
                    </a:ext>
                  </a:extLst>
                </p:cNvPr>
                <p:cNvSpPr/>
                <p:nvPr/>
              </p:nvSpPr>
              <p:spPr bwMode="auto">
                <a:xfrm>
                  <a:off x="6055594" y="1462044"/>
                  <a:ext cx="391289" cy="456503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44F03222-1153-49EC-84A9-93170C8CC7C7}"/>
                    </a:ext>
                  </a:extLst>
                </p:cNvPr>
                <p:cNvSpPr/>
                <p:nvPr/>
              </p:nvSpPr>
              <p:spPr bwMode="auto">
                <a:xfrm>
                  <a:off x="4106296" y="2483035"/>
                  <a:ext cx="505164" cy="360468"/>
                </a:xfrm>
                <a:custGeom>
                  <a:avLst/>
                  <a:gdLst>
                    <a:gd name="T0" fmla="*/ 9 w 84"/>
                    <a:gd name="T1" fmla="*/ 37 h 60"/>
                    <a:gd name="T2" fmla="*/ 74 w 84"/>
                    <a:gd name="T3" fmla="*/ 37 h 60"/>
                    <a:gd name="T4" fmla="*/ 10 w 84"/>
                    <a:gd name="T5" fmla="*/ 5 h 60"/>
                    <a:gd name="T6" fmla="*/ 11 w 84"/>
                    <a:gd name="T7" fmla="*/ 7 h 60"/>
                    <a:gd name="T8" fmla="*/ 32 w 84"/>
                    <a:gd name="T9" fmla="*/ 24 h 60"/>
                    <a:gd name="T10" fmla="*/ 33 w 84"/>
                    <a:gd name="T11" fmla="*/ 25 h 60"/>
                    <a:gd name="T12" fmla="*/ 34 w 84"/>
                    <a:gd name="T13" fmla="*/ 29 h 60"/>
                    <a:gd name="T14" fmla="*/ 37 w 84"/>
                    <a:gd name="T15" fmla="*/ 29 h 60"/>
                    <a:gd name="T16" fmla="*/ 37 w 84"/>
                    <a:gd name="T17" fmla="*/ 31 h 60"/>
                    <a:gd name="T18" fmla="*/ 41 w 84"/>
                    <a:gd name="T19" fmla="*/ 32 h 60"/>
                    <a:gd name="T20" fmla="*/ 43 w 84"/>
                    <a:gd name="T21" fmla="*/ 32 h 60"/>
                    <a:gd name="T22" fmla="*/ 47 w 84"/>
                    <a:gd name="T23" fmla="*/ 30 h 60"/>
                    <a:gd name="T24" fmla="*/ 48 w 84"/>
                    <a:gd name="T25" fmla="*/ 29 h 60"/>
                    <a:gd name="T26" fmla="*/ 51 w 84"/>
                    <a:gd name="T27" fmla="*/ 27 h 60"/>
                    <a:gd name="T28" fmla="*/ 50 w 84"/>
                    <a:gd name="T29" fmla="*/ 25 h 60"/>
                    <a:gd name="T30" fmla="*/ 52 w 84"/>
                    <a:gd name="T31" fmla="*/ 23 h 60"/>
                    <a:gd name="T32" fmla="*/ 51 w 84"/>
                    <a:gd name="T33" fmla="*/ 20 h 60"/>
                    <a:gd name="T34" fmla="*/ 50 w 84"/>
                    <a:gd name="T35" fmla="*/ 18 h 60"/>
                    <a:gd name="T36" fmla="*/ 49 w 84"/>
                    <a:gd name="T37" fmla="*/ 15 h 60"/>
                    <a:gd name="T38" fmla="*/ 47 w 84"/>
                    <a:gd name="T39" fmla="*/ 15 h 60"/>
                    <a:gd name="T40" fmla="*/ 46 w 84"/>
                    <a:gd name="T41" fmla="*/ 13 h 60"/>
                    <a:gd name="T42" fmla="*/ 42 w 84"/>
                    <a:gd name="T43" fmla="*/ 13 h 60"/>
                    <a:gd name="T44" fmla="*/ 40 w 84"/>
                    <a:gd name="T45" fmla="*/ 12 h 60"/>
                    <a:gd name="T46" fmla="*/ 37 w 84"/>
                    <a:gd name="T47" fmla="*/ 14 h 60"/>
                    <a:gd name="T48" fmla="*/ 35 w 84"/>
                    <a:gd name="T49" fmla="*/ 14 h 60"/>
                    <a:gd name="T50" fmla="*/ 33 w 84"/>
                    <a:gd name="T51" fmla="*/ 18 h 60"/>
                    <a:gd name="T52" fmla="*/ 33 w 84"/>
                    <a:gd name="T53" fmla="*/ 20 h 60"/>
                    <a:gd name="T54" fmla="*/ 31 w 84"/>
                    <a:gd name="T55" fmla="*/ 22 h 60"/>
                    <a:gd name="T56" fmla="*/ 33 w 84"/>
                    <a:gd name="T57" fmla="*/ 22 h 60"/>
                    <a:gd name="T58" fmla="*/ 35 w 84"/>
                    <a:gd name="T59" fmla="*/ 17 h 60"/>
                    <a:gd name="T60" fmla="*/ 39 w 84"/>
                    <a:gd name="T61" fmla="*/ 14 h 60"/>
                    <a:gd name="T62" fmla="*/ 45 w 84"/>
                    <a:gd name="T63" fmla="*/ 14 h 60"/>
                    <a:gd name="T64" fmla="*/ 49 w 84"/>
                    <a:gd name="T65" fmla="*/ 17 h 60"/>
                    <a:gd name="T66" fmla="*/ 50 w 84"/>
                    <a:gd name="T67" fmla="*/ 22 h 60"/>
                    <a:gd name="T68" fmla="*/ 49 w 84"/>
                    <a:gd name="T69" fmla="*/ 26 h 60"/>
                    <a:gd name="T70" fmla="*/ 45 w 84"/>
                    <a:gd name="T71" fmla="*/ 30 h 60"/>
                    <a:gd name="T72" fmla="*/ 39 w 84"/>
                    <a:gd name="T73" fmla="*/ 30 h 60"/>
                    <a:gd name="T74" fmla="*/ 35 w 84"/>
                    <a:gd name="T75" fmla="*/ 27 h 60"/>
                    <a:gd name="T76" fmla="*/ 33 w 84"/>
                    <a:gd name="T77" fmla="*/ 22 h 60"/>
                    <a:gd name="T78" fmla="*/ 42 w 84"/>
                    <a:gd name="T79" fmla="*/ 27 h 60"/>
                    <a:gd name="T80" fmla="*/ 37 w 84"/>
                    <a:gd name="T81" fmla="*/ 22 h 60"/>
                    <a:gd name="T82" fmla="*/ 44 w 84"/>
                    <a:gd name="T83" fmla="*/ 22 h 60"/>
                    <a:gd name="T84" fmla="*/ 42 w 84"/>
                    <a:gd name="T85" fmla="*/ 19 h 60"/>
                    <a:gd name="T86" fmla="*/ 79 w 84"/>
                    <a:gd name="T87" fmla="*/ 6 h 60"/>
                    <a:gd name="T88" fmla="*/ 5 w 84"/>
                    <a:gd name="T89" fmla="*/ 6 h 60"/>
                    <a:gd name="T90" fmla="*/ 0 w 84"/>
                    <a:gd name="T91" fmla="*/ 51 h 60"/>
                    <a:gd name="T92" fmla="*/ 0 w 84"/>
                    <a:gd name="T93" fmla="*/ 55 h 60"/>
                    <a:gd name="T94" fmla="*/ 84 w 84"/>
                    <a:gd name="T95" fmla="*/ 55 h 60"/>
                    <a:gd name="T96" fmla="*/ 76 w 84"/>
                    <a:gd name="T97" fmla="*/ 57 h 60"/>
                    <a:gd name="T98" fmla="*/ 3 w 84"/>
                    <a:gd name="T99" fmla="*/ 53 h 60"/>
                    <a:gd name="T100" fmla="*/ 30 w 84"/>
                    <a:gd name="T101" fmla="*/ 56 h 60"/>
                    <a:gd name="T102" fmla="*/ 54 w 84"/>
                    <a:gd name="T103" fmla="*/ 53 h 60"/>
                    <a:gd name="T104" fmla="*/ 76 w 84"/>
                    <a:gd name="T105" fmla="*/ 57 h 60"/>
                    <a:gd name="T106" fmla="*/ 52 w 84"/>
                    <a:gd name="T107" fmla="*/ 54 h 60"/>
                    <a:gd name="T108" fmla="*/ 53 w 84"/>
                    <a:gd name="T109" fmla="*/ 51 h 60"/>
                    <a:gd name="T110" fmla="*/ 7 w 84"/>
                    <a:gd name="T111" fmla="*/ 43 h 60"/>
                    <a:gd name="T112" fmla="*/ 53 w 84"/>
                    <a:gd name="T113" fmla="*/ 51 h 60"/>
                    <a:gd name="T114" fmla="*/ 8 w 84"/>
                    <a:gd name="T115" fmla="*/ 41 h 60"/>
                    <a:gd name="T116" fmla="*/ 10 w 84"/>
                    <a:gd name="T117" fmla="*/ 3 h 60"/>
                    <a:gd name="T118" fmla="*/ 76 w 84"/>
                    <a:gd name="T119" fmla="*/ 6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4" h="60">
                      <a:moveTo>
                        <a:pt x="10" y="5"/>
                      </a:moveTo>
                      <a:cubicBezTo>
                        <a:pt x="10" y="5"/>
                        <a:pt x="9" y="5"/>
                        <a:pt x="9" y="6"/>
                      </a:cubicBezTo>
                      <a:cubicBezTo>
                        <a:pt x="9" y="37"/>
                        <a:pt x="9" y="37"/>
                        <a:pt x="9" y="37"/>
                      </a:cubicBezTo>
                      <a:cubicBezTo>
                        <a:pt x="9" y="37"/>
                        <a:pt x="10" y="38"/>
                        <a:pt x="10" y="38"/>
                      </a:cubicBezTo>
                      <a:cubicBezTo>
                        <a:pt x="73" y="38"/>
                        <a:pt x="73" y="38"/>
                        <a:pt x="73" y="38"/>
                      </a:cubicBezTo>
                      <a:cubicBezTo>
                        <a:pt x="74" y="38"/>
                        <a:pt x="74" y="37"/>
                        <a:pt x="74" y="37"/>
                      </a:cubicBezTo>
                      <a:cubicBezTo>
                        <a:pt x="74" y="6"/>
                        <a:pt x="74" y="6"/>
                        <a:pt x="74" y="6"/>
                      </a:cubicBezTo>
                      <a:cubicBezTo>
                        <a:pt x="74" y="5"/>
                        <a:pt x="74" y="5"/>
                        <a:pt x="73" y="5"/>
                      </a:cubicBezTo>
                      <a:lnTo>
                        <a:pt x="10" y="5"/>
                      </a:lnTo>
                      <a:close/>
                      <a:moveTo>
                        <a:pt x="72" y="36"/>
                      </a:move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1" y="7"/>
                        <a:pt x="11" y="7"/>
                        <a:pt x="11" y="7"/>
                      </a:cubicBezTo>
                      <a:cubicBezTo>
                        <a:pt x="72" y="7"/>
                        <a:pt x="72" y="7"/>
                        <a:pt x="72" y="7"/>
                      </a:cubicBezTo>
                      <a:lnTo>
                        <a:pt x="72" y="36"/>
                      </a:lnTo>
                      <a:close/>
                      <a:moveTo>
                        <a:pt x="32" y="24"/>
                      </a:moveTo>
                      <a:cubicBezTo>
                        <a:pt x="32" y="24"/>
                        <a:pt x="33" y="24"/>
                        <a:pt x="33" y="24"/>
                      </a:cubicBezTo>
                      <a:cubicBezTo>
                        <a:pt x="33" y="24"/>
                        <a:pt x="33" y="24"/>
                        <a:pt x="34" y="25"/>
                      </a:cubicBezTo>
                      <a:cubicBezTo>
                        <a:pt x="34" y="25"/>
                        <a:pt x="34" y="25"/>
                        <a:pt x="33" y="25"/>
                      </a:cubicBezTo>
                      <a:cubicBezTo>
                        <a:pt x="33" y="25"/>
                        <a:pt x="33" y="26"/>
                        <a:pt x="33" y="26"/>
                      </a:cubicBezTo>
                      <a:cubicBezTo>
                        <a:pt x="33" y="26"/>
                        <a:pt x="33" y="26"/>
                        <a:pt x="33" y="27"/>
                      </a:cubicBezTo>
                      <a:cubicBezTo>
                        <a:pt x="33" y="28"/>
                        <a:pt x="34" y="28"/>
                        <a:pt x="34" y="29"/>
                      </a:cubicBezTo>
                      <a:cubicBezTo>
                        <a:pt x="35" y="29"/>
                        <a:pt x="35" y="29"/>
                        <a:pt x="35" y="29"/>
                      </a:cubicBezTo>
                      <a:cubicBezTo>
                        <a:pt x="35" y="29"/>
                        <a:pt x="36" y="29"/>
                        <a:pt x="36" y="29"/>
                      </a:cubicBezTo>
                      <a:cubicBezTo>
                        <a:pt x="36" y="29"/>
                        <a:pt x="36" y="28"/>
                        <a:pt x="37" y="29"/>
                      </a:cubicBezTo>
                      <a:cubicBezTo>
                        <a:pt x="37" y="29"/>
                        <a:pt x="37" y="29"/>
                        <a:pt x="37" y="30"/>
                      </a:cubicBezTo>
                      <a:cubicBezTo>
                        <a:pt x="37" y="30"/>
                        <a:pt x="37" y="30"/>
                        <a:pt x="37" y="30"/>
                      </a:cubicBezTo>
                      <a:cubicBezTo>
                        <a:pt x="37" y="31"/>
                        <a:pt x="37" y="31"/>
                        <a:pt x="37" y="31"/>
                      </a:cubicBezTo>
                      <a:cubicBezTo>
                        <a:pt x="38" y="31"/>
                        <a:pt x="39" y="32"/>
                        <a:pt x="40" y="32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40" y="32"/>
                        <a:pt x="41" y="32"/>
                        <a:pt x="41" y="32"/>
                      </a:cubicBezTo>
                      <a:cubicBezTo>
                        <a:pt x="41" y="32"/>
                        <a:pt x="41" y="31"/>
                        <a:pt x="41" y="31"/>
                      </a:cubicBezTo>
                      <a:cubicBezTo>
                        <a:pt x="41" y="30"/>
                        <a:pt x="42" y="30"/>
                        <a:pt x="42" y="31"/>
                      </a:cubicBezTo>
                      <a:cubicBezTo>
                        <a:pt x="42" y="31"/>
                        <a:pt x="43" y="32"/>
                        <a:pt x="43" y="32"/>
                      </a:cubicBezTo>
                      <a:cubicBezTo>
                        <a:pt x="43" y="32"/>
                        <a:pt x="43" y="32"/>
                        <a:pt x="44" y="32"/>
                      </a:cubicBezTo>
                      <a:cubicBezTo>
                        <a:pt x="44" y="32"/>
                        <a:pt x="45" y="31"/>
                        <a:pt x="46" y="31"/>
                      </a:cubicBezTo>
                      <a:cubicBezTo>
                        <a:pt x="46" y="31"/>
                        <a:pt x="47" y="31"/>
                        <a:pt x="47" y="30"/>
                      </a:cubicBezTo>
                      <a:cubicBezTo>
                        <a:pt x="47" y="30"/>
                        <a:pt x="47" y="30"/>
                        <a:pt x="47" y="30"/>
                      </a:cubicBezTo>
                      <a:cubicBezTo>
                        <a:pt x="46" y="29"/>
                        <a:pt x="47" y="29"/>
                        <a:pt x="47" y="29"/>
                      </a:cubicBezTo>
                      <a:cubicBezTo>
                        <a:pt x="47" y="28"/>
                        <a:pt x="47" y="29"/>
                        <a:pt x="48" y="29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50" y="28"/>
                        <a:pt x="50" y="28"/>
                        <a:pt x="51" y="27"/>
                      </a:cubicBezTo>
                      <a:cubicBezTo>
                        <a:pt x="51" y="26"/>
                        <a:pt x="51" y="26"/>
                        <a:pt x="51" y="26"/>
                      </a:cubicBezTo>
                      <a:cubicBezTo>
                        <a:pt x="51" y="26"/>
                        <a:pt x="51" y="25"/>
                        <a:pt x="50" y="25"/>
                      </a:cubicBezTo>
                      <a:cubicBezTo>
                        <a:pt x="50" y="25"/>
                        <a:pt x="50" y="25"/>
                        <a:pt x="50" y="25"/>
                      </a:cubicBezTo>
                      <a:cubicBezTo>
                        <a:pt x="50" y="24"/>
                        <a:pt x="50" y="24"/>
                        <a:pt x="51" y="24"/>
                      </a:cubicBezTo>
                      <a:cubicBezTo>
                        <a:pt x="51" y="24"/>
                        <a:pt x="51" y="24"/>
                        <a:pt x="51" y="24"/>
                      </a:cubicBezTo>
                      <a:cubicBezTo>
                        <a:pt x="52" y="24"/>
                        <a:pt x="52" y="24"/>
                        <a:pt x="52" y="23"/>
                      </a:cubicBezTo>
                      <a:cubicBezTo>
                        <a:pt x="52" y="23"/>
                        <a:pt x="52" y="22"/>
                        <a:pt x="52" y="22"/>
                      </a:cubicBezTo>
                      <a:cubicBezTo>
                        <a:pt x="52" y="21"/>
                        <a:pt x="52" y="21"/>
                        <a:pt x="52" y="20"/>
                      </a:cubicBezTo>
                      <a:cubicBezTo>
                        <a:pt x="52" y="20"/>
                        <a:pt x="52" y="20"/>
                        <a:pt x="51" y="20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50" y="20"/>
                        <a:pt x="50" y="19"/>
                        <a:pt x="50" y="19"/>
                      </a:cubicBezTo>
                      <a:cubicBezTo>
                        <a:pt x="50" y="19"/>
                        <a:pt x="50" y="19"/>
                        <a:pt x="50" y="18"/>
                      </a:cubicBezTo>
                      <a:cubicBezTo>
                        <a:pt x="51" y="18"/>
                        <a:pt x="51" y="18"/>
                        <a:pt x="51" y="18"/>
                      </a:cubicBezTo>
                      <a:cubicBezTo>
                        <a:pt x="51" y="18"/>
                        <a:pt x="51" y="17"/>
                        <a:pt x="51" y="17"/>
                      </a:cubicBezTo>
                      <a:cubicBezTo>
                        <a:pt x="50" y="16"/>
                        <a:pt x="50" y="15"/>
                        <a:pt x="49" y="15"/>
                      </a:cubicBezTo>
                      <a:cubicBezTo>
                        <a:pt x="49" y="15"/>
                        <a:pt x="49" y="14"/>
                        <a:pt x="48" y="14"/>
                      </a:cubicBezTo>
                      <a:cubicBezTo>
                        <a:pt x="48" y="14"/>
                        <a:pt x="48" y="15"/>
                        <a:pt x="48" y="15"/>
                      </a:cubicBezTo>
                      <a:cubicBezTo>
                        <a:pt x="47" y="15"/>
                        <a:pt x="47" y="15"/>
                        <a:pt x="47" y="15"/>
                      </a:cubicBezTo>
                      <a:cubicBezTo>
                        <a:pt x="47" y="15"/>
                        <a:pt x="46" y="14"/>
                        <a:pt x="47" y="14"/>
                      </a:cubicBezTo>
                      <a:cubicBezTo>
                        <a:pt x="47" y="14"/>
                        <a:pt x="47" y="13"/>
                        <a:pt x="47" y="13"/>
                      </a:cubicBezTo>
                      <a:cubicBezTo>
                        <a:pt x="47" y="13"/>
                        <a:pt x="46" y="13"/>
                        <a:pt x="46" y="13"/>
                      </a:cubicBezTo>
                      <a:cubicBezTo>
                        <a:pt x="45" y="12"/>
                        <a:pt x="44" y="12"/>
                        <a:pt x="44" y="12"/>
                      </a:cubicBezTo>
                      <a:cubicBezTo>
                        <a:pt x="43" y="12"/>
                        <a:pt x="43" y="12"/>
                        <a:pt x="43" y="12"/>
                      </a:cubicBezTo>
                      <a:cubicBezTo>
                        <a:pt x="43" y="12"/>
                        <a:pt x="42" y="12"/>
                        <a:pt x="42" y="13"/>
                      </a:cubicBezTo>
                      <a:cubicBezTo>
                        <a:pt x="42" y="13"/>
                        <a:pt x="41" y="13"/>
                        <a:pt x="41" y="13"/>
                      </a:cubicBezTo>
                      <a:cubicBezTo>
                        <a:pt x="41" y="12"/>
                        <a:pt x="41" y="12"/>
                        <a:pt x="41" y="12"/>
                      </a:cubicBezTo>
                      <a:cubicBezTo>
                        <a:pt x="40" y="12"/>
                        <a:pt x="40" y="12"/>
                        <a:pt x="40" y="12"/>
                      </a:cubicBezTo>
                      <a:cubicBezTo>
                        <a:pt x="39" y="12"/>
                        <a:pt x="38" y="12"/>
                        <a:pt x="37" y="13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3"/>
                        <a:pt x="37" y="14"/>
                        <a:pt x="37" y="14"/>
                      </a:cubicBezTo>
                      <a:cubicBezTo>
                        <a:pt x="37" y="14"/>
                        <a:pt x="37" y="15"/>
                        <a:pt x="37" y="15"/>
                      </a:cubicBezTo>
                      <a:cubicBezTo>
                        <a:pt x="36" y="15"/>
                        <a:pt x="36" y="15"/>
                        <a:pt x="36" y="15"/>
                      </a:cubicBezTo>
                      <a:cubicBezTo>
                        <a:pt x="36" y="15"/>
                        <a:pt x="35" y="14"/>
                        <a:pt x="35" y="14"/>
                      </a:cubicBezTo>
                      <a:cubicBezTo>
                        <a:pt x="35" y="14"/>
                        <a:pt x="35" y="15"/>
                        <a:pt x="34" y="15"/>
                      </a:cubicBezTo>
                      <a:cubicBezTo>
                        <a:pt x="34" y="15"/>
                        <a:pt x="33" y="16"/>
                        <a:pt x="33" y="17"/>
                      </a:cubicBezTo>
                      <a:cubicBezTo>
                        <a:pt x="33" y="17"/>
                        <a:pt x="33" y="18"/>
                        <a:pt x="33" y="18"/>
                      </a:cubicBezTo>
                      <a:cubicBezTo>
                        <a:pt x="33" y="18"/>
                        <a:pt x="33" y="18"/>
                        <a:pt x="33" y="18"/>
                      </a:cubicBezTo>
                      <a:cubicBezTo>
                        <a:pt x="34" y="19"/>
                        <a:pt x="34" y="19"/>
                        <a:pt x="34" y="19"/>
                      </a:cubicBezTo>
                      <a:cubicBezTo>
                        <a:pt x="33" y="19"/>
                        <a:pt x="33" y="20"/>
                        <a:pt x="33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0"/>
                        <a:pt x="32" y="20"/>
                        <a:pt x="32" y="20"/>
                      </a:cubicBezTo>
                      <a:cubicBezTo>
                        <a:pt x="32" y="21"/>
                        <a:pt x="31" y="21"/>
                        <a:pt x="31" y="22"/>
                      </a:cubicBezTo>
                      <a:cubicBezTo>
                        <a:pt x="31" y="22"/>
                        <a:pt x="32" y="23"/>
                        <a:pt x="32" y="23"/>
                      </a:cubicBezTo>
                      <a:cubicBezTo>
                        <a:pt x="32" y="24"/>
                        <a:pt x="32" y="24"/>
                        <a:pt x="32" y="24"/>
                      </a:cubicBezTo>
                      <a:close/>
                      <a:moveTo>
                        <a:pt x="33" y="22"/>
                      </a:moveTo>
                      <a:cubicBezTo>
                        <a:pt x="34" y="21"/>
                        <a:pt x="35" y="21"/>
                        <a:pt x="35" y="20"/>
                      </a:cubicBezTo>
                      <a:cubicBezTo>
                        <a:pt x="36" y="19"/>
                        <a:pt x="36" y="18"/>
                        <a:pt x="35" y="17"/>
                      </a:cubicBezTo>
                      <a:cubicBezTo>
                        <a:pt x="35" y="17"/>
                        <a:pt x="35" y="17"/>
                        <a:pt x="35" y="17"/>
                      </a:cubicBezTo>
                      <a:cubicBezTo>
                        <a:pt x="36" y="17"/>
                        <a:pt x="37" y="17"/>
                        <a:pt x="38" y="17"/>
                      </a:cubicBezTo>
                      <a:cubicBezTo>
                        <a:pt x="39" y="16"/>
                        <a:pt x="39" y="15"/>
                        <a:pt x="39" y="14"/>
                      </a:cubicBezTo>
                      <a:cubicBezTo>
                        <a:pt x="39" y="14"/>
                        <a:pt x="39" y="14"/>
                        <a:pt x="39" y="14"/>
                      </a:cubicBezTo>
                      <a:cubicBezTo>
                        <a:pt x="40" y="15"/>
                        <a:pt x="41" y="15"/>
                        <a:pt x="42" y="15"/>
                      </a:cubicBezTo>
                      <a:cubicBezTo>
                        <a:pt x="43" y="15"/>
                        <a:pt x="44" y="15"/>
                        <a:pt x="44" y="14"/>
                      </a:cubicBezTo>
                      <a:cubicBezTo>
                        <a:pt x="44" y="14"/>
                        <a:pt x="44" y="14"/>
                        <a:pt x="45" y="14"/>
                      </a:cubicBezTo>
                      <a:cubicBezTo>
                        <a:pt x="44" y="15"/>
                        <a:pt x="45" y="16"/>
                        <a:pt x="46" y="17"/>
                      </a:cubicBezTo>
                      <a:cubicBezTo>
                        <a:pt x="46" y="17"/>
                        <a:pt x="47" y="17"/>
                        <a:pt x="48" y="17"/>
                      </a:cubicBezTo>
                      <a:cubicBezTo>
                        <a:pt x="48" y="17"/>
                        <a:pt x="48" y="17"/>
                        <a:pt x="49" y="17"/>
                      </a:cubicBezTo>
                      <a:cubicBezTo>
                        <a:pt x="48" y="18"/>
                        <a:pt x="48" y="19"/>
                        <a:pt x="48" y="20"/>
                      </a:cubicBezTo>
                      <a:cubicBezTo>
                        <a:pt x="48" y="21"/>
                        <a:pt x="49" y="21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50" y="22"/>
                        <a:pt x="50" y="22"/>
                        <a:pt x="50" y="22"/>
                      </a:cubicBezTo>
                      <a:cubicBezTo>
                        <a:pt x="49" y="22"/>
                        <a:pt x="48" y="23"/>
                        <a:pt x="48" y="24"/>
                      </a:cubicBezTo>
                      <a:cubicBezTo>
                        <a:pt x="48" y="25"/>
                        <a:pt x="48" y="26"/>
                        <a:pt x="49" y="26"/>
                      </a:cubicBezTo>
                      <a:cubicBezTo>
                        <a:pt x="48" y="27"/>
                        <a:pt x="48" y="27"/>
                        <a:pt x="48" y="27"/>
                      </a:cubicBezTo>
                      <a:cubicBezTo>
                        <a:pt x="47" y="27"/>
                        <a:pt x="46" y="27"/>
                        <a:pt x="46" y="27"/>
                      </a:cubicBezTo>
                      <a:cubicBezTo>
                        <a:pt x="45" y="28"/>
                        <a:pt x="44" y="29"/>
                        <a:pt x="45" y="30"/>
                      </a:cubicBezTo>
                      <a:cubicBezTo>
                        <a:pt x="44" y="30"/>
                        <a:pt x="44" y="30"/>
                        <a:pt x="44" y="30"/>
                      </a:cubicBezTo>
                      <a:cubicBezTo>
                        <a:pt x="44" y="29"/>
                        <a:pt x="43" y="28"/>
                        <a:pt x="42" y="28"/>
                      </a:cubicBezTo>
                      <a:cubicBezTo>
                        <a:pt x="41" y="28"/>
                        <a:pt x="40" y="29"/>
                        <a:pt x="39" y="30"/>
                      </a:cubicBezTo>
                      <a:cubicBezTo>
                        <a:pt x="39" y="30"/>
                        <a:pt x="39" y="30"/>
                        <a:pt x="39" y="30"/>
                      </a:cubicBezTo>
                      <a:cubicBezTo>
                        <a:pt x="39" y="29"/>
                        <a:pt x="39" y="28"/>
                        <a:pt x="38" y="27"/>
                      </a:cubicBezTo>
                      <a:cubicBezTo>
                        <a:pt x="37" y="27"/>
                        <a:pt x="36" y="27"/>
                        <a:pt x="35" y="27"/>
                      </a:cubicBezTo>
                      <a:cubicBezTo>
                        <a:pt x="35" y="27"/>
                        <a:pt x="35" y="27"/>
                        <a:pt x="35" y="26"/>
                      </a:cubicBezTo>
                      <a:cubicBezTo>
                        <a:pt x="36" y="26"/>
                        <a:pt x="36" y="25"/>
                        <a:pt x="35" y="24"/>
                      </a:cubicBezTo>
                      <a:cubicBezTo>
                        <a:pt x="35" y="23"/>
                        <a:pt x="34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ubicBezTo>
                        <a:pt x="33" y="22"/>
                        <a:pt x="33" y="22"/>
                        <a:pt x="33" y="22"/>
                      </a:cubicBezTo>
                      <a:close/>
                      <a:moveTo>
                        <a:pt x="42" y="27"/>
                      </a:moveTo>
                      <a:cubicBezTo>
                        <a:pt x="44" y="27"/>
                        <a:pt x="46" y="24"/>
                        <a:pt x="46" y="22"/>
                      </a:cubicBezTo>
                      <a:cubicBezTo>
                        <a:pt x="46" y="19"/>
                        <a:pt x="44" y="17"/>
                        <a:pt x="42" y="17"/>
                      </a:cubicBezTo>
                      <a:cubicBezTo>
                        <a:pt x="39" y="17"/>
                        <a:pt x="37" y="19"/>
                        <a:pt x="37" y="22"/>
                      </a:cubicBezTo>
                      <a:cubicBezTo>
                        <a:pt x="37" y="24"/>
                        <a:pt x="39" y="27"/>
                        <a:pt x="42" y="27"/>
                      </a:cubicBezTo>
                      <a:close/>
                      <a:moveTo>
                        <a:pt x="42" y="19"/>
                      </a:moveTo>
                      <a:cubicBezTo>
                        <a:pt x="43" y="19"/>
                        <a:pt x="44" y="20"/>
                        <a:pt x="44" y="22"/>
                      </a:cubicBezTo>
                      <a:cubicBezTo>
                        <a:pt x="44" y="23"/>
                        <a:pt x="43" y="25"/>
                        <a:pt x="42" y="25"/>
                      </a:cubicBezTo>
                      <a:cubicBezTo>
                        <a:pt x="40" y="25"/>
                        <a:pt x="39" y="23"/>
                        <a:pt x="39" y="22"/>
                      </a:cubicBezTo>
                      <a:cubicBezTo>
                        <a:pt x="39" y="20"/>
                        <a:pt x="40" y="19"/>
                        <a:pt x="42" y="19"/>
                      </a:cubicBezTo>
                      <a:close/>
                      <a:moveTo>
                        <a:pt x="84" y="51"/>
                      </a:moveTo>
                      <a:cubicBezTo>
                        <a:pt x="79" y="42"/>
                        <a:pt x="79" y="42"/>
                        <a:pt x="79" y="42"/>
                      </a:cubicBezTo>
                      <a:cubicBezTo>
                        <a:pt x="79" y="6"/>
                        <a:pt x="79" y="6"/>
                        <a:pt x="79" y="6"/>
                      </a:cubicBezTo>
                      <a:cubicBezTo>
                        <a:pt x="79" y="1"/>
                        <a:pt x="78" y="0"/>
                        <a:pt x="74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6" y="0"/>
                        <a:pt x="5" y="1"/>
                        <a:pt x="5" y="6"/>
                      </a:cubicBez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52"/>
                        <a:pt x="0" y="53"/>
                        <a:pt x="0" y="55"/>
                      </a:cubicBezTo>
                      <a:cubicBezTo>
                        <a:pt x="0" y="58"/>
                        <a:pt x="3" y="60"/>
                        <a:pt x="7" y="60"/>
                      </a:cubicBezTo>
                      <a:cubicBezTo>
                        <a:pt x="76" y="60"/>
                        <a:pt x="76" y="60"/>
                        <a:pt x="76" y="60"/>
                      </a:cubicBezTo>
                      <a:cubicBezTo>
                        <a:pt x="80" y="60"/>
                        <a:pt x="84" y="58"/>
                        <a:pt x="84" y="55"/>
                      </a:cubicBezTo>
                      <a:cubicBezTo>
                        <a:pt x="84" y="52"/>
                        <a:pt x="84" y="52"/>
                        <a:pt x="84" y="52"/>
                      </a:cubicBezTo>
                      <a:cubicBezTo>
                        <a:pt x="84" y="52"/>
                        <a:pt x="84" y="52"/>
                        <a:pt x="84" y="51"/>
                      </a:cubicBezTo>
                      <a:close/>
                      <a:moveTo>
                        <a:pt x="76" y="57"/>
                      </a:moveTo>
                      <a:cubicBezTo>
                        <a:pt x="7" y="57"/>
                        <a:pt x="7" y="57"/>
                        <a:pt x="7" y="57"/>
                      </a:cubicBezTo>
                      <a:cubicBezTo>
                        <a:pt x="5" y="57"/>
                        <a:pt x="3" y="56"/>
                        <a:pt x="3" y="55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29" y="53"/>
                        <a:pt x="29" y="53"/>
                        <a:pt x="29" y="53"/>
                      </a:cubicBezTo>
                      <a:cubicBezTo>
                        <a:pt x="29" y="55"/>
                        <a:pt x="29" y="55"/>
                        <a:pt x="29" y="55"/>
                      </a:cubicBezTo>
                      <a:cubicBezTo>
                        <a:pt x="29" y="56"/>
                        <a:pt x="30" y="56"/>
                        <a:pt x="30" y="56"/>
                      </a:cubicBezTo>
                      <a:cubicBezTo>
                        <a:pt x="53" y="56"/>
                        <a:pt x="53" y="56"/>
                        <a:pt x="53" y="56"/>
                      </a:cubicBezTo>
                      <a:cubicBezTo>
                        <a:pt x="54" y="56"/>
                        <a:pt x="54" y="56"/>
                        <a:pt x="54" y="55"/>
                      </a:cubicBezTo>
                      <a:cubicBezTo>
                        <a:pt x="54" y="53"/>
                        <a:pt x="54" y="53"/>
                        <a:pt x="54" y="53"/>
                      </a:cubicBezTo>
                      <a:cubicBezTo>
                        <a:pt x="81" y="53"/>
                        <a:pt x="81" y="53"/>
                        <a:pt x="81" y="53"/>
                      </a:cubicBezTo>
                      <a:cubicBezTo>
                        <a:pt x="81" y="55"/>
                        <a:pt x="81" y="55"/>
                        <a:pt x="81" y="55"/>
                      </a:cubicBezTo>
                      <a:cubicBezTo>
                        <a:pt x="81" y="56"/>
                        <a:pt x="79" y="57"/>
                        <a:pt x="76" y="57"/>
                      </a:cubicBezTo>
                      <a:close/>
                      <a:moveTo>
                        <a:pt x="31" y="53"/>
                      </a:moveTo>
                      <a:cubicBezTo>
                        <a:pt x="52" y="53"/>
                        <a:pt x="52" y="53"/>
                        <a:pt x="52" y="53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31" y="54"/>
                        <a:pt x="31" y="54"/>
                        <a:pt x="31" y="54"/>
                      </a:cubicBezTo>
                      <a:lnTo>
                        <a:pt x="31" y="53"/>
                      </a:lnTo>
                      <a:close/>
                      <a:moveTo>
                        <a:pt x="53" y="51"/>
                      </a:moveTo>
                      <a:cubicBezTo>
                        <a:pt x="30" y="51"/>
                        <a:pt x="30" y="51"/>
                        <a:pt x="30" y="51"/>
                      </a:cubicBezTo>
                      <a:cubicBezTo>
                        <a:pt x="3" y="51"/>
                        <a:pt x="3" y="51"/>
                        <a:pt x="3" y="51"/>
                      </a:cubicBezTo>
                      <a:cubicBezTo>
                        <a:pt x="7" y="43"/>
                        <a:pt x="7" y="43"/>
                        <a:pt x="7" y="43"/>
                      </a:cubicBezTo>
                      <a:cubicBezTo>
                        <a:pt x="76" y="43"/>
                        <a:pt x="76" y="43"/>
                        <a:pt x="76" y="43"/>
                      </a:cubicBezTo>
                      <a:cubicBezTo>
                        <a:pt x="80" y="51"/>
                        <a:pt x="80" y="51"/>
                        <a:pt x="80" y="51"/>
                      </a:cubicBezTo>
                      <a:lnTo>
                        <a:pt x="53" y="51"/>
                      </a:lnTo>
                      <a:close/>
                      <a:moveTo>
                        <a:pt x="76" y="6"/>
                      </a:moveTo>
                      <a:cubicBezTo>
                        <a:pt x="76" y="41"/>
                        <a:pt x="76" y="41"/>
                        <a:pt x="76" y="41"/>
                      </a:cubicBezTo>
                      <a:cubicBezTo>
                        <a:pt x="8" y="41"/>
                        <a:pt x="8" y="41"/>
                        <a:pt x="8" y="41"/>
                      </a:cubicBezTo>
                      <a:cubicBezTo>
                        <a:pt x="8" y="6"/>
                        <a:pt x="8" y="6"/>
                        <a:pt x="8" y="6"/>
                      </a:cubicBezTo>
                      <a:cubicBezTo>
                        <a:pt x="8" y="5"/>
                        <a:pt x="8" y="4"/>
                        <a:pt x="8" y="3"/>
                      </a:cubicBezTo>
                      <a:cubicBezTo>
                        <a:pt x="8" y="3"/>
                        <a:pt x="9" y="3"/>
                        <a:pt x="10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cubicBezTo>
                        <a:pt x="74" y="3"/>
                        <a:pt x="75" y="3"/>
                        <a:pt x="76" y="3"/>
                      </a:cubicBezTo>
                      <a:cubicBezTo>
                        <a:pt x="76" y="4"/>
                        <a:pt x="76" y="5"/>
                        <a:pt x="76" y="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A4DDE62D-E9C0-4E8E-BB27-23F7CF22D5EE}"/>
                    </a:ext>
                  </a:extLst>
                </p:cNvPr>
                <p:cNvSpPr/>
                <p:nvPr/>
              </p:nvSpPr>
              <p:spPr bwMode="auto">
                <a:xfrm>
                  <a:off x="5559416" y="2081402"/>
                  <a:ext cx="391197" cy="45639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F45209C0-D399-4E74-BA0F-D8433FCCA93D}"/>
                    </a:ext>
                  </a:extLst>
                </p:cNvPr>
                <p:cNvSpPr/>
                <p:nvPr/>
              </p:nvSpPr>
              <p:spPr bwMode="auto">
                <a:xfrm>
                  <a:off x="3652386" y="3898254"/>
                  <a:ext cx="454840" cy="454838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E34808A7-7157-4EDF-9A35-6DEAE54CD9C2}"/>
                    </a:ext>
                  </a:extLst>
                </p:cNvPr>
                <p:cNvSpPr/>
                <p:nvPr/>
              </p:nvSpPr>
              <p:spPr bwMode="auto">
                <a:xfrm>
                  <a:off x="4570544" y="1268493"/>
                  <a:ext cx="467922" cy="452325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79" name="任意多边形: 形状 78">
                  <a:extLst>
                    <a:ext uri="{FF2B5EF4-FFF2-40B4-BE49-F238E27FC236}">
                      <a16:creationId xmlns:a16="http://schemas.microsoft.com/office/drawing/2014/main" id="{F81781F8-0F4E-4992-9045-3FE4A9797456}"/>
                    </a:ext>
                  </a:extLst>
                </p:cNvPr>
                <p:cNvSpPr/>
                <p:nvPr/>
              </p:nvSpPr>
              <p:spPr bwMode="auto">
                <a:xfrm>
                  <a:off x="7337079" y="4967687"/>
                  <a:ext cx="467922" cy="452325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955D7F00-D7F3-4EE9-A8D7-7758C9173164}"/>
                    </a:ext>
                  </a:extLst>
                </p:cNvPr>
                <p:cNvSpPr/>
                <p:nvPr/>
              </p:nvSpPr>
              <p:spPr bwMode="auto">
                <a:xfrm>
                  <a:off x="5424814" y="5402072"/>
                  <a:ext cx="654094" cy="491535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A8E4A1D9-2215-435B-BFE5-1DE0D6088BAC}"/>
                    </a:ext>
                  </a:extLst>
                </p:cNvPr>
                <p:cNvSpPr/>
                <p:nvPr/>
              </p:nvSpPr>
              <p:spPr bwMode="auto">
                <a:xfrm>
                  <a:off x="7407834" y="4486312"/>
                  <a:ext cx="371532" cy="371533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2" name="任意多边形: 形状 81">
                  <a:extLst>
                    <a:ext uri="{FF2B5EF4-FFF2-40B4-BE49-F238E27FC236}">
                      <a16:creationId xmlns:a16="http://schemas.microsoft.com/office/drawing/2014/main" id="{A854CF0E-7A8C-4576-9F6E-878EBE925926}"/>
                    </a:ext>
                  </a:extLst>
                </p:cNvPr>
                <p:cNvSpPr/>
                <p:nvPr/>
              </p:nvSpPr>
              <p:spPr bwMode="auto">
                <a:xfrm>
                  <a:off x="3444918" y="3203258"/>
                  <a:ext cx="330603" cy="385705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3" name="任意多边形: 形状 82">
                  <a:extLst>
                    <a:ext uri="{FF2B5EF4-FFF2-40B4-BE49-F238E27FC236}">
                      <a16:creationId xmlns:a16="http://schemas.microsoft.com/office/drawing/2014/main" id="{43E6DD69-9E2F-4240-A33D-5E08FD864F02}"/>
                    </a:ext>
                  </a:extLst>
                </p:cNvPr>
                <p:cNvSpPr/>
                <p:nvPr/>
              </p:nvSpPr>
              <p:spPr bwMode="auto">
                <a:xfrm>
                  <a:off x="5180738" y="2617647"/>
                  <a:ext cx="473505" cy="44690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B0182399-4A79-4C44-BB92-CF5356BF79BC}"/>
                    </a:ext>
                  </a:extLst>
                </p:cNvPr>
                <p:cNvSpPr/>
                <p:nvPr/>
              </p:nvSpPr>
              <p:spPr bwMode="auto">
                <a:xfrm>
                  <a:off x="3422934" y="3672887"/>
                  <a:ext cx="257430" cy="252662"/>
                </a:xfrm>
                <a:custGeom>
                  <a:avLst/>
                  <a:gdLst>
                    <a:gd name="T0" fmla="*/ 12 w 68"/>
                    <a:gd name="T1" fmla="*/ 0 h 67"/>
                    <a:gd name="T2" fmla="*/ 0 w 68"/>
                    <a:gd name="T3" fmla="*/ 56 h 67"/>
                    <a:gd name="T4" fmla="*/ 57 w 68"/>
                    <a:gd name="T5" fmla="*/ 67 h 67"/>
                    <a:gd name="T6" fmla="*/ 68 w 68"/>
                    <a:gd name="T7" fmla="*/ 11 h 67"/>
                    <a:gd name="T8" fmla="*/ 65 w 68"/>
                    <a:gd name="T9" fmla="*/ 11 h 67"/>
                    <a:gd name="T10" fmla="*/ 57 w 68"/>
                    <a:gd name="T11" fmla="*/ 64 h 67"/>
                    <a:gd name="T12" fmla="*/ 3 w 68"/>
                    <a:gd name="T13" fmla="*/ 56 h 67"/>
                    <a:gd name="T14" fmla="*/ 12 w 68"/>
                    <a:gd name="T15" fmla="*/ 3 h 67"/>
                    <a:gd name="T16" fmla="*/ 65 w 68"/>
                    <a:gd name="T17" fmla="*/ 11 h 67"/>
                    <a:gd name="T18" fmla="*/ 12 w 68"/>
                    <a:gd name="T19" fmla="*/ 5 h 67"/>
                    <a:gd name="T20" fmla="*/ 6 w 68"/>
                    <a:gd name="T21" fmla="*/ 56 h 67"/>
                    <a:gd name="T22" fmla="*/ 56 w 68"/>
                    <a:gd name="T23" fmla="*/ 62 h 67"/>
                    <a:gd name="T24" fmla="*/ 63 w 68"/>
                    <a:gd name="T25" fmla="*/ 12 h 67"/>
                    <a:gd name="T26" fmla="*/ 61 w 68"/>
                    <a:gd name="T27" fmla="*/ 12 h 67"/>
                    <a:gd name="T28" fmla="*/ 35 w 68"/>
                    <a:gd name="T29" fmla="*/ 33 h 67"/>
                    <a:gd name="T30" fmla="*/ 56 w 68"/>
                    <a:gd name="T31" fmla="*/ 7 h 67"/>
                    <a:gd name="T32" fmla="*/ 12 w 68"/>
                    <a:gd name="T33" fmla="*/ 7 h 67"/>
                    <a:gd name="T34" fmla="*/ 33 w 68"/>
                    <a:gd name="T35" fmla="*/ 33 h 67"/>
                    <a:gd name="T36" fmla="*/ 8 w 68"/>
                    <a:gd name="T37" fmla="*/ 12 h 67"/>
                    <a:gd name="T38" fmla="*/ 8 w 68"/>
                    <a:gd name="T39" fmla="*/ 56 h 67"/>
                    <a:gd name="T40" fmla="*/ 33 w 68"/>
                    <a:gd name="T41" fmla="*/ 35 h 67"/>
                    <a:gd name="T42" fmla="*/ 12 w 68"/>
                    <a:gd name="T43" fmla="*/ 60 h 67"/>
                    <a:gd name="T44" fmla="*/ 56 w 68"/>
                    <a:gd name="T45" fmla="*/ 60 h 67"/>
                    <a:gd name="T46" fmla="*/ 35 w 68"/>
                    <a:gd name="T47" fmla="*/ 35 h 67"/>
                    <a:gd name="T48" fmla="*/ 61 w 68"/>
                    <a:gd name="T49" fmla="*/ 56 h 67"/>
                    <a:gd name="T50" fmla="*/ 12 w 68"/>
                    <a:gd name="T51" fmla="*/ 20 h 67"/>
                    <a:gd name="T52" fmla="*/ 19 w 68"/>
                    <a:gd name="T53" fmla="*/ 19 h 67"/>
                    <a:gd name="T54" fmla="*/ 20 w 68"/>
                    <a:gd name="T55" fmla="*/ 12 h 67"/>
                    <a:gd name="T56" fmla="*/ 21 w 68"/>
                    <a:gd name="T57" fmla="*/ 19 h 67"/>
                    <a:gd name="T58" fmla="*/ 29 w 68"/>
                    <a:gd name="T59" fmla="*/ 20 h 67"/>
                    <a:gd name="T60" fmla="*/ 21 w 68"/>
                    <a:gd name="T61" fmla="*/ 21 h 67"/>
                    <a:gd name="T62" fmla="*/ 20 w 68"/>
                    <a:gd name="T63" fmla="*/ 28 h 67"/>
                    <a:gd name="T64" fmla="*/ 19 w 68"/>
                    <a:gd name="T65" fmla="*/ 21 h 67"/>
                    <a:gd name="T66" fmla="*/ 12 w 68"/>
                    <a:gd name="T67" fmla="*/ 20 h 67"/>
                    <a:gd name="T68" fmla="*/ 26 w 68"/>
                    <a:gd name="T69" fmla="*/ 53 h 67"/>
                    <a:gd name="T70" fmla="*/ 25 w 68"/>
                    <a:gd name="T71" fmla="*/ 53 h 67"/>
                    <a:gd name="T72" fmla="*/ 16 w 68"/>
                    <a:gd name="T73" fmla="*/ 53 h 67"/>
                    <a:gd name="T74" fmla="*/ 15 w 68"/>
                    <a:gd name="T75" fmla="*/ 53 h 67"/>
                    <a:gd name="T76" fmla="*/ 19 w 68"/>
                    <a:gd name="T77" fmla="*/ 47 h 67"/>
                    <a:gd name="T78" fmla="*/ 15 w 68"/>
                    <a:gd name="T79" fmla="*/ 42 h 67"/>
                    <a:gd name="T80" fmla="*/ 20 w 68"/>
                    <a:gd name="T81" fmla="*/ 46 h 67"/>
                    <a:gd name="T82" fmla="*/ 26 w 68"/>
                    <a:gd name="T83" fmla="*/ 42 h 67"/>
                    <a:gd name="T84" fmla="*/ 22 w 68"/>
                    <a:gd name="T85" fmla="*/ 47 h 67"/>
                    <a:gd name="T86" fmla="*/ 40 w 68"/>
                    <a:gd name="T87" fmla="*/ 19 h 67"/>
                    <a:gd name="T88" fmla="*/ 56 w 68"/>
                    <a:gd name="T89" fmla="*/ 18 h 67"/>
                    <a:gd name="T90" fmla="*/ 56 w 68"/>
                    <a:gd name="T91" fmla="*/ 20 h 67"/>
                    <a:gd name="T92" fmla="*/ 40 w 68"/>
                    <a:gd name="T93" fmla="*/ 19 h 67"/>
                    <a:gd name="T94" fmla="*/ 55 w 68"/>
                    <a:gd name="T95" fmla="*/ 45 h 67"/>
                    <a:gd name="T96" fmla="*/ 40 w 68"/>
                    <a:gd name="T97" fmla="*/ 44 h 67"/>
                    <a:gd name="T98" fmla="*/ 55 w 68"/>
                    <a:gd name="T99" fmla="*/ 43 h 67"/>
                    <a:gd name="T100" fmla="*/ 56 w 68"/>
                    <a:gd name="T101" fmla="*/ 50 h 67"/>
                    <a:gd name="T102" fmla="*/ 41 w 68"/>
                    <a:gd name="T103" fmla="*/ 51 h 67"/>
                    <a:gd name="T104" fmla="*/ 41 w 68"/>
                    <a:gd name="T105" fmla="*/ 49 h 67"/>
                    <a:gd name="T106" fmla="*/ 56 w 68"/>
                    <a:gd name="T107" fmla="*/ 50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57" y="0"/>
                      </a:move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56"/>
                        <a:pt x="0" y="56"/>
                        <a:pt x="0" y="56"/>
                      </a:cubicBezTo>
                      <a:cubicBezTo>
                        <a:pt x="0" y="62"/>
                        <a:pt x="5" y="67"/>
                        <a:pt x="12" y="67"/>
                      </a:cubicBezTo>
                      <a:cubicBezTo>
                        <a:pt x="57" y="67"/>
                        <a:pt x="57" y="67"/>
                        <a:pt x="57" y="67"/>
                      </a:cubicBezTo>
                      <a:cubicBezTo>
                        <a:pt x="63" y="67"/>
                        <a:pt x="68" y="62"/>
                        <a:pt x="68" y="56"/>
                      </a:cubicBezTo>
                      <a:cubicBezTo>
                        <a:pt x="68" y="11"/>
                        <a:pt x="68" y="11"/>
                        <a:pt x="68" y="11"/>
                      </a:cubicBezTo>
                      <a:cubicBezTo>
                        <a:pt x="68" y="5"/>
                        <a:pt x="63" y="0"/>
                        <a:pt x="57" y="0"/>
                      </a:cubicBezTo>
                      <a:close/>
                      <a:moveTo>
                        <a:pt x="65" y="11"/>
                      </a:moveTo>
                      <a:cubicBezTo>
                        <a:pt x="65" y="56"/>
                        <a:pt x="65" y="56"/>
                        <a:pt x="65" y="56"/>
                      </a:cubicBezTo>
                      <a:cubicBezTo>
                        <a:pt x="65" y="61"/>
                        <a:pt x="61" y="64"/>
                        <a:pt x="57" y="64"/>
                      </a:cubicBezTo>
                      <a:cubicBezTo>
                        <a:pt x="12" y="64"/>
                        <a:pt x="12" y="64"/>
                        <a:pt x="12" y="64"/>
                      </a:cubicBezTo>
                      <a:cubicBezTo>
                        <a:pt x="7" y="64"/>
                        <a:pt x="3" y="61"/>
                        <a:pt x="3" y="56"/>
                      </a:cubicBezTo>
                      <a:cubicBezTo>
                        <a:pt x="3" y="11"/>
                        <a:pt x="3" y="11"/>
                        <a:pt x="3" y="11"/>
                      </a:cubicBezTo>
                      <a:cubicBezTo>
                        <a:pt x="3" y="7"/>
                        <a:pt x="7" y="3"/>
                        <a:pt x="12" y="3"/>
                      </a:cubicBezTo>
                      <a:cubicBezTo>
                        <a:pt x="57" y="3"/>
                        <a:pt x="57" y="3"/>
                        <a:pt x="57" y="3"/>
                      </a:cubicBezTo>
                      <a:cubicBezTo>
                        <a:pt x="61" y="3"/>
                        <a:pt x="65" y="7"/>
                        <a:pt x="65" y="11"/>
                      </a:cubicBezTo>
                      <a:close/>
                      <a:moveTo>
                        <a:pt x="56" y="5"/>
                      </a:move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9" y="5"/>
                        <a:pt x="6" y="8"/>
                        <a:pt x="6" y="12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6" y="59"/>
                        <a:pt x="9" y="62"/>
                        <a:pt x="12" y="62"/>
                      </a:cubicBezTo>
                      <a:cubicBezTo>
                        <a:pt x="56" y="62"/>
                        <a:pt x="56" y="62"/>
                        <a:pt x="56" y="62"/>
                      </a:cubicBezTo>
                      <a:cubicBezTo>
                        <a:pt x="60" y="62"/>
                        <a:pt x="63" y="59"/>
                        <a:pt x="63" y="56"/>
                      </a:cubicBezTo>
                      <a:cubicBezTo>
                        <a:pt x="63" y="12"/>
                        <a:pt x="63" y="12"/>
                        <a:pt x="63" y="12"/>
                      </a:cubicBezTo>
                      <a:cubicBezTo>
                        <a:pt x="63" y="8"/>
                        <a:pt x="60" y="5"/>
                        <a:pt x="56" y="5"/>
                      </a:cubicBezTo>
                      <a:close/>
                      <a:moveTo>
                        <a:pt x="61" y="12"/>
                      </a:move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35" y="33"/>
                        <a:pt x="35" y="33"/>
                        <a:pt x="35" y="33"/>
                      </a:cubicBezTo>
                      <a:cubicBezTo>
                        <a:pt x="35" y="7"/>
                        <a:pt x="35" y="7"/>
                        <a:pt x="35" y="7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9" y="7"/>
                        <a:pt x="61" y="9"/>
                        <a:pt x="61" y="12"/>
                      </a:cubicBezTo>
                      <a:close/>
                      <a:moveTo>
                        <a:pt x="12" y="7"/>
                      </a:move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33"/>
                        <a:pt x="33" y="33"/>
                        <a:pt x="33" y="33"/>
                      </a:cubicBezTo>
                      <a:cubicBezTo>
                        <a:pt x="8" y="33"/>
                        <a:pt x="8" y="33"/>
                        <a:pt x="8" y="33"/>
                      </a:cubicBezTo>
                      <a:cubicBezTo>
                        <a:pt x="8" y="12"/>
                        <a:pt x="8" y="12"/>
                        <a:pt x="8" y="12"/>
                      </a:cubicBezTo>
                      <a:cubicBezTo>
                        <a:pt x="8" y="9"/>
                        <a:pt x="10" y="7"/>
                        <a:pt x="12" y="7"/>
                      </a:cubicBezTo>
                      <a:close/>
                      <a:moveTo>
                        <a:pt x="8" y="56"/>
                      </a:move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33" y="35"/>
                        <a:pt x="33" y="35"/>
                        <a:pt x="33" y="35"/>
                      </a:cubicBezTo>
                      <a:cubicBezTo>
                        <a:pt x="33" y="60"/>
                        <a:pt x="33" y="60"/>
                        <a:pt x="33" y="60"/>
                      </a:cubicBezTo>
                      <a:cubicBezTo>
                        <a:pt x="12" y="60"/>
                        <a:pt x="12" y="60"/>
                        <a:pt x="12" y="60"/>
                      </a:cubicBezTo>
                      <a:cubicBezTo>
                        <a:pt x="10" y="60"/>
                        <a:pt x="8" y="58"/>
                        <a:pt x="8" y="56"/>
                      </a:cubicBezTo>
                      <a:close/>
                      <a:moveTo>
                        <a:pt x="56" y="60"/>
                      </a:moveTo>
                      <a:cubicBezTo>
                        <a:pt x="35" y="60"/>
                        <a:pt x="35" y="60"/>
                        <a:pt x="35" y="60"/>
                      </a:cubicBezTo>
                      <a:cubicBezTo>
                        <a:pt x="35" y="35"/>
                        <a:pt x="35" y="35"/>
                        <a:pt x="35" y="35"/>
                      </a:cubicBezTo>
                      <a:cubicBezTo>
                        <a:pt x="61" y="35"/>
                        <a:pt x="61" y="35"/>
                        <a:pt x="61" y="35"/>
                      </a:cubicBezTo>
                      <a:cubicBezTo>
                        <a:pt x="61" y="56"/>
                        <a:pt x="61" y="56"/>
                        <a:pt x="61" y="56"/>
                      </a:cubicBezTo>
                      <a:cubicBezTo>
                        <a:pt x="61" y="58"/>
                        <a:pt x="59" y="60"/>
                        <a:pt x="56" y="60"/>
                      </a:cubicBezTo>
                      <a:close/>
                      <a:moveTo>
                        <a:pt x="12" y="20"/>
                      </a:moveTo>
                      <a:cubicBezTo>
                        <a:pt x="12" y="19"/>
                        <a:pt x="13" y="19"/>
                        <a:pt x="13" y="19"/>
                      </a:cubicBezTo>
                      <a:cubicBezTo>
                        <a:pt x="19" y="19"/>
                        <a:pt x="19" y="19"/>
                        <a:pt x="19" y="19"/>
                      </a:cubicBezTo>
                      <a:cubicBezTo>
                        <a:pt x="19" y="13"/>
                        <a:pt x="19" y="13"/>
                        <a:pt x="19" y="13"/>
                      </a:cubicBezTo>
                      <a:cubicBezTo>
                        <a:pt x="19" y="12"/>
                        <a:pt x="20" y="12"/>
                        <a:pt x="20" y="12"/>
                      </a:cubicBezTo>
                      <a:cubicBezTo>
                        <a:pt x="21" y="12"/>
                        <a:pt x="21" y="12"/>
                        <a:pt x="21" y="13"/>
                      </a:cubicBezTo>
                      <a:cubicBezTo>
                        <a:pt x="21" y="19"/>
                        <a:pt x="21" y="19"/>
                        <a:pt x="21" y="19"/>
                      </a:cubicBezTo>
                      <a:cubicBezTo>
                        <a:pt x="28" y="19"/>
                        <a:pt x="28" y="19"/>
                        <a:pt x="28" y="19"/>
                      </a:cubicBezTo>
                      <a:cubicBezTo>
                        <a:pt x="28" y="19"/>
                        <a:pt x="29" y="19"/>
                        <a:pt x="29" y="20"/>
                      </a:cubicBezTo>
                      <a:cubicBezTo>
                        <a:pt x="29" y="20"/>
                        <a:pt x="28" y="21"/>
                        <a:pt x="28" y="21"/>
                      </a:cubicBezTo>
                      <a:cubicBezTo>
                        <a:pt x="21" y="21"/>
                        <a:pt x="21" y="21"/>
                        <a:pt x="21" y="21"/>
                      </a:cubicBez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21" y="27"/>
                        <a:pt x="21" y="28"/>
                        <a:pt x="20" y="28"/>
                      </a:cubicBezTo>
                      <a:cubicBezTo>
                        <a:pt x="20" y="28"/>
                        <a:pt x="19" y="27"/>
                        <a:pt x="19" y="27"/>
                      </a:cubicBezTo>
                      <a:cubicBezTo>
                        <a:pt x="19" y="21"/>
                        <a:pt x="19" y="21"/>
                        <a:pt x="19" y="21"/>
                      </a:cubicBezTo>
                      <a:cubicBezTo>
                        <a:pt x="13" y="21"/>
                        <a:pt x="13" y="21"/>
                        <a:pt x="13" y="21"/>
                      </a:cubicBezTo>
                      <a:cubicBezTo>
                        <a:pt x="13" y="21"/>
                        <a:pt x="12" y="20"/>
                        <a:pt x="12" y="20"/>
                      </a:cubicBezTo>
                      <a:close/>
                      <a:moveTo>
                        <a:pt x="26" y="52"/>
                      </a:moveTo>
                      <a:cubicBezTo>
                        <a:pt x="27" y="52"/>
                        <a:pt x="27" y="53"/>
                        <a:pt x="26" y="53"/>
                      </a:cubicBezTo>
                      <a:cubicBezTo>
                        <a:pt x="26" y="53"/>
                        <a:pt x="26" y="53"/>
                        <a:pt x="25" y="53"/>
                      </a:cubicBezTo>
                      <a:cubicBezTo>
                        <a:pt x="25" y="53"/>
                        <a:pt x="25" y="53"/>
                        <a:pt x="25" y="53"/>
                      </a:cubicBezTo>
                      <a:cubicBezTo>
                        <a:pt x="20" y="49"/>
                        <a:pt x="20" y="49"/>
                        <a:pt x="20" y="49"/>
                      </a:cubicBezTo>
                      <a:cubicBezTo>
                        <a:pt x="16" y="53"/>
                        <a:pt x="16" y="53"/>
                        <a:pt x="16" y="53"/>
                      </a:cubicBezTo>
                      <a:cubicBezTo>
                        <a:pt x="16" y="53"/>
                        <a:pt x="16" y="53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4" y="53"/>
                        <a:pt x="14" y="52"/>
                        <a:pt x="15" y="52"/>
                      </a:cubicBezTo>
                      <a:cubicBezTo>
                        <a:pt x="19" y="47"/>
                        <a:pt x="19" y="47"/>
                        <a:pt x="19" y="47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2"/>
                        <a:pt x="15" y="42"/>
                      </a:cubicBezTo>
                      <a:cubicBezTo>
                        <a:pt x="15" y="41"/>
                        <a:pt x="16" y="41"/>
                        <a:pt x="16" y="42"/>
                      </a:cubicBezTo>
                      <a:cubicBezTo>
                        <a:pt x="20" y="46"/>
                        <a:pt x="20" y="46"/>
                        <a:pt x="20" y="46"/>
                      </a:cubicBezTo>
                      <a:cubicBezTo>
                        <a:pt x="25" y="42"/>
                        <a:pt x="25" y="42"/>
                        <a:pt x="25" y="42"/>
                      </a:cubicBezTo>
                      <a:cubicBezTo>
                        <a:pt x="25" y="41"/>
                        <a:pt x="26" y="41"/>
                        <a:pt x="26" y="42"/>
                      </a:cubicBezTo>
                      <a:cubicBezTo>
                        <a:pt x="27" y="42"/>
                        <a:pt x="27" y="43"/>
                        <a:pt x="26" y="43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lnTo>
                        <a:pt x="26" y="52"/>
                      </a:lnTo>
                      <a:close/>
                      <a:moveTo>
                        <a:pt x="40" y="19"/>
                      </a:moveTo>
                      <a:cubicBezTo>
                        <a:pt x="40" y="19"/>
                        <a:pt x="41" y="18"/>
                        <a:pt x="41" y="18"/>
                      </a:cubicBezTo>
                      <a:cubicBezTo>
                        <a:pt x="56" y="18"/>
                        <a:pt x="56" y="18"/>
                        <a:pt x="56" y="18"/>
                      </a:cubicBezTo>
                      <a:cubicBezTo>
                        <a:pt x="56" y="18"/>
                        <a:pt x="57" y="19"/>
                        <a:pt x="57" y="19"/>
                      </a:cubicBezTo>
                      <a:cubicBezTo>
                        <a:pt x="57" y="20"/>
                        <a:pt x="56" y="20"/>
                        <a:pt x="56" y="20"/>
                      </a:cubicBezTo>
                      <a:cubicBezTo>
                        <a:pt x="41" y="20"/>
                        <a:pt x="41" y="20"/>
                        <a:pt x="41" y="20"/>
                      </a:cubicBezTo>
                      <a:cubicBezTo>
                        <a:pt x="41" y="20"/>
                        <a:pt x="40" y="20"/>
                        <a:pt x="40" y="19"/>
                      </a:cubicBezTo>
                      <a:close/>
                      <a:moveTo>
                        <a:pt x="56" y="44"/>
                      </a:moveTo>
                      <a:cubicBezTo>
                        <a:pt x="56" y="45"/>
                        <a:pt x="56" y="45"/>
                        <a:pt x="55" y="45"/>
                      </a:cubicBezTo>
                      <a:cubicBezTo>
                        <a:pt x="41" y="45"/>
                        <a:pt x="41" y="45"/>
                        <a:pt x="41" y="45"/>
                      </a:cubicBezTo>
                      <a:cubicBezTo>
                        <a:pt x="41" y="45"/>
                        <a:pt x="40" y="45"/>
                        <a:pt x="40" y="44"/>
                      </a:cubicBezTo>
                      <a:cubicBezTo>
                        <a:pt x="40" y="44"/>
                        <a:pt x="41" y="43"/>
                        <a:pt x="41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6" y="43"/>
                        <a:pt x="56" y="44"/>
                        <a:pt x="56" y="44"/>
                      </a:cubicBezTo>
                      <a:close/>
                      <a:moveTo>
                        <a:pt x="56" y="50"/>
                      </a:moveTo>
                      <a:cubicBezTo>
                        <a:pt x="56" y="51"/>
                        <a:pt x="56" y="51"/>
                        <a:pt x="55" y="51"/>
                      </a:cubicBezTo>
                      <a:cubicBezTo>
                        <a:pt x="41" y="51"/>
                        <a:pt x="41" y="51"/>
                        <a:pt x="41" y="51"/>
                      </a:cubicBezTo>
                      <a:cubicBezTo>
                        <a:pt x="41" y="51"/>
                        <a:pt x="40" y="51"/>
                        <a:pt x="40" y="50"/>
                      </a:cubicBezTo>
                      <a:cubicBezTo>
                        <a:pt x="40" y="50"/>
                        <a:pt x="41" y="49"/>
                        <a:pt x="41" y="49"/>
                      </a:cubicBezTo>
                      <a:cubicBezTo>
                        <a:pt x="55" y="49"/>
                        <a:pt x="55" y="49"/>
                        <a:pt x="55" y="49"/>
                      </a:cubicBezTo>
                      <a:cubicBezTo>
                        <a:pt x="56" y="49"/>
                        <a:pt x="56" y="50"/>
                        <a:pt x="56" y="5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5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93061523-C36C-487C-B9C8-F9DED2FC03A2}"/>
                    </a:ext>
                  </a:extLst>
                </p:cNvPr>
                <p:cNvSpPr/>
                <p:nvPr/>
              </p:nvSpPr>
              <p:spPr bwMode="auto">
                <a:xfrm>
                  <a:off x="7032987" y="974483"/>
                  <a:ext cx="355265" cy="34342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18E57B67-C00E-4A14-8E78-CBB4453115B5}"/>
                    </a:ext>
                  </a:extLst>
                </p:cNvPr>
                <p:cNvSpPr/>
                <p:nvPr/>
              </p:nvSpPr>
              <p:spPr bwMode="auto">
                <a:xfrm>
                  <a:off x="7180414" y="5322270"/>
                  <a:ext cx="454840" cy="454838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787FD1A7-58E7-4CC1-B980-AED92DBD84EB}"/>
                    </a:ext>
                  </a:extLst>
                </p:cNvPr>
                <p:cNvSpPr/>
                <p:nvPr/>
              </p:nvSpPr>
              <p:spPr bwMode="auto">
                <a:xfrm>
                  <a:off x="4354339" y="3521804"/>
                  <a:ext cx="387874" cy="387877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DDD34E4C-2688-4A91-B3FC-49D44EB93E9D}"/>
                    </a:ext>
                  </a:extLst>
                </p:cNvPr>
                <p:cNvSpPr/>
                <p:nvPr/>
              </p:nvSpPr>
              <p:spPr bwMode="auto">
                <a:xfrm>
                  <a:off x="8381206" y="2647158"/>
                  <a:ext cx="387874" cy="387877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BA4CBF54-83BD-4E7C-B992-FBAC1022DF7E}"/>
                    </a:ext>
                  </a:extLst>
                </p:cNvPr>
                <p:cNvSpPr/>
                <p:nvPr/>
              </p:nvSpPr>
              <p:spPr bwMode="auto">
                <a:xfrm>
                  <a:off x="6292196" y="4009949"/>
                  <a:ext cx="586361" cy="556544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A1602593-B6F2-4AB3-B21F-DC9F6EC957E0}"/>
                    </a:ext>
                  </a:extLst>
                </p:cNvPr>
                <p:cNvSpPr/>
                <p:nvPr/>
              </p:nvSpPr>
              <p:spPr bwMode="auto">
                <a:xfrm>
                  <a:off x="5096607" y="3829669"/>
                  <a:ext cx="500212" cy="544026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433B5357-396E-41C0-BFE4-680C05316656}"/>
                    </a:ext>
                  </a:extLst>
                </p:cNvPr>
                <p:cNvSpPr/>
                <p:nvPr/>
              </p:nvSpPr>
              <p:spPr bwMode="auto">
                <a:xfrm>
                  <a:off x="4649375" y="2866177"/>
                  <a:ext cx="468312" cy="52290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D8C6E910-DBD9-4AAF-B2E9-A44DD98EF9CB}"/>
                    </a:ext>
                  </a:extLst>
                </p:cNvPr>
                <p:cNvSpPr/>
                <p:nvPr/>
              </p:nvSpPr>
              <p:spPr bwMode="auto">
                <a:xfrm>
                  <a:off x="6442046" y="2048957"/>
                  <a:ext cx="450399" cy="461383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A6ACC6FD-CC13-4824-9140-A8B0E5E247E1}"/>
                    </a:ext>
                  </a:extLst>
                </p:cNvPr>
                <p:cNvSpPr/>
                <p:nvPr/>
              </p:nvSpPr>
              <p:spPr bwMode="auto">
                <a:xfrm>
                  <a:off x="4661734" y="3827052"/>
                  <a:ext cx="438994" cy="588895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234AF1BF-4315-4895-96BE-8F58A873BCFE}"/>
                    </a:ext>
                  </a:extLst>
                </p:cNvPr>
                <p:cNvSpPr/>
                <p:nvPr/>
              </p:nvSpPr>
              <p:spPr bwMode="auto">
                <a:xfrm>
                  <a:off x="5085025" y="2123320"/>
                  <a:ext cx="408633" cy="390528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D4E64973-39DD-4ED8-BA28-EC6D0C5414F7}"/>
                    </a:ext>
                  </a:extLst>
                </p:cNvPr>
                <p:cNvSpPr/>
                <p:nvPr/>
              </p:nvSpPr>
              <p:spPr bwMode="auto">
                <a:xfrm>
                  <a:off x="3916742" y="4839347"/>
                  <a:ext cx="497198" cy="415306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CBE35CE0-1077-4F2D-9BA7-6BBA2BD6FC59}"/>
                    </a:ext>
                  </a:extLst>
                </p:cNvPr>
                <p:cNvSpPr/>
                <p:nvPr/>
              </p:nvSpPr>
              <p:spPr bwMode="auto">
                <a:xfrm>
                  <a:off x="6955530" y="1701950"/>
                  <a:ext cx="442493" cy="425688"/>
                </a:xfrm>
                <a:custGeom>
                  <a:avLst/>
                  <a:gdLst>
                    <a:gd name="T0" fmla="*/ 65 w 67"/>
                    <a:gd name="T1" fmla="*/ 41 h 64"/>
                    <a:gd name="T2" fmla="*/ 46 w 67"/>
                    <a:gd name="T3" fmla="*/ 41 h 64"/>
                    <a:gd name="T4" fmla="*/ 46 w 67"/>
                    <a:gd name="T5" fmla="*/ 34 h 64"/>
                    <a:gd name="T6" fmla="*/ 44 w 67"/>
                    <a:gd name="T7" fmla="*/ 32 h 64"/>
                    <a:gd name="T8" fmla="*/ 23 w 67"/>
                    <a:gd name="T9" fmla="*/ 32 h 64"/>
                    <a:gd name="T10" fmla="*/ 21 w 67"/>
                    <a:gd name="T11" fmla="*/ 34 h 64"/>
                    <a:gd name="T12" fmla="*/ 21 w 67"/>
                    <a:gd name="T13" fmla="*/ 47 h 64"/>
                    <a:gd name="T14" fmla="*/ 2 w 67"/>
                    <a:gd name="T15" fmla="*/ 47 h 64"/>
                    <a:gd name="T16" fmla="*/ 0 w 67"/>
                    <a:gd name="T17" fmla="*/ 49 h 64"/>
                    <a:gd name="T18" fmla="*/ 0 w 67"/>
                    <a:gd name="T19" fmla="*/ 62 h 64"/>
                    <a:gd name="T20" fmla="*/ 2 w 67"/>
                    <a:gd name="T21" fmla="*/ 64 h 64"/>
                    <a:gd name="T22" fmla="*/ 23 w 67"/>
                    <a:gd name="T23" fmla="*/ 64 h 64"/>
                    <a:gd name="T24" fmla="*/ 44 w 67"/>
                    <a:gd name="T25" fmla="*/ 64 h 64"/>
                    <a:gd name="T26" fmla="*/ 65 w 67"/>
                    <a:gd name="T27" fmla="*/ 64 h 64"/>
                    <a:gd name="T28" fmla="*/ 67 w 67"/>
                    <a:gd name="T29" fmla="*/ 62 h 64"/>
                    <a:gd name="T30" fmla="*/ 67 w 67"/>
                    <a:gd name="T31" fmla="*/ 43 h 64"/>
                    <a:gd name="T32" fmla="*/ 65 w 67"/>
                    <a:gd name="T33" fmla="*/ 41 h 64"/>
                    <a:gd name="T34" fmla="*/ 45 w 67"/>
                    <a:gd name="T35" fmla="*/ 61 h 64"/>
                    <a:gd name="T36" fmla="*/ 45 w 67"/>
                    <a:gd name="T37" fmla="*/ 44 h 64"/>
                    <a:gd name="T38" fmla="*/ 64 w 67"/>
                    <a:gd name="T39" fmla="*/ 44 h 64"/>
                    <a:gd name="T40" fmla="*/ 64 w 67"/>
                    <a:gd name="T41" fmla="*/ 61 h 64"/>
                    <a:gd name="T42" fmla="*/ 45 w 67"/>
                    <a:gd name="T43" fmla="*/ 61 h 64"/>
                    <a:gd name="T44" fmla="*/ 24 w 67"/>
                    <a:gd name="T45" fmla="*/ 49 h 64"/>
                    <a:gd name="T46" fmla="*/ 24 w 67"/>
                    <a:gd name="T47" fmla="*/ 35 h 64"/>
                    <a:gd name="T48" fmla="*/ 43 w 67"/>
                    <a:gd name="T49" fmla="*/ 35 h 64"/>
                    <a:gd name="T50" fmla="*/ 43 w 67"/>
                    <a:gd name="T51" fmla="*/ 43 h 64"/>
                    <a:gd name="T52" fmla="*/ 43 w 67"/>
                    <a:gd name="T53" fmla="*/ 61 h 64"/>
                    <a:gd name="T54" fmla="*/ 24 w 67"/>
                    <a:gd name="T55" fmla="*/ 61 h 64"/>
                    <a:gd name="T56" fmla="*/ 24 w 67"/>
                    <a:gd name="T57" fmla="*/ 49 h 64"/>
                    <a:gd name="T58" fmla="*/ 22 w 67"/>
                    <a:gd name="T59" fmla="*/ 61 h 64"/>
                    <a:gd name="T60" fmla="*/ 3 w 67"/>
                    <a:gd name="T61" fmla="*/ 61 h 64"/>
                    <a:gd name="T62" fmla="*/ 3 w 67"/>
                    <a:gd name="T63" fmla="*/ 50 h 64"/>
                    <a:gd name="T64" fmla="*/ 22 w 67"/>
                    <a:gd name="T65" fmla="*/ 50 h 64"/>
                    <a:gd name="T66" fmla="*/ 22 w 67"/>
                    <a:gd name="T67" fmla="*/ 61 h 64"/>
                    <a:gd name="T68" fmla="*/ 32 w 67"/>
                    <a:gd name="T69" fmla="*/ 20 h 64"/>
                    <a:gd name="T70" fmla="*/ 32 w 67"/>
                    <a:gd name="T71" fmla="*/ 9 h 64"/>
                    <a:gd name="T72" fmla="*/ 30 w 67"/>
                    <a:gd name="T73" fmla="*/ 10 h 64"/>
                    <a:gd name="T74" fmla="*/ 29 w 67"/>
                    <a:gd name="T75" fmla="*/ 10 h 64"/>
                    <a:gd name="T76" fmla="*/ 29 w 67"/>
                    <a:gd name="T77" fmla="*/ 9 h 64"/>
                    <a:gd name="T78" fmla="*/ 33 w 67"/>
                    <a:gd name="T79" fmla="*/ 6 h 64"/>
                    <a:gd name="T80" fmla="*/ 34 w 67"/>
                    <a:gd name="T81" fmla="*/ 6 h 64"/>
                    <a:gd name="T82" fmla="*/ 34 w 67"/>
                    <a:gd name="T83" fmla="*/ 7 h 64"/>
                    <a:gd name="T84" fmla="*/ 34 w 67"/>
                    <a:gd name="T85" fmla="*/ 20 h 64"/>
                    <a:gd name="T86" fmla="*/ 37 w 67"/>
                    <a:gd name="T87" fmla="*/ 20 h 64"/>
                    <a:gd name="T88" fmla="*/ 38 w 67"/>
                    <a:gd name="T89" fmla="*/ 21 h 64"/>
                    <a:gd name="T90" fmla="*/ 37 w 67"/>
                    <a:gd name="T91" fmla="*/ 22 h 64"/>
                    <a:gd name="T92" fmla="*/ 30 w 67"/>
                    <a:gd name="T93" fmla="*/ 22 h 64"/>
                    <a:gd name="T94" fmla="*/ 29 w 67"/>
                    <a:gd name="T95" fmla="*/ 21 h 64"/>
                    <a:gd name="T96" fmla="*/ 30 w 67"/>
                    <a:gd name="T97" fmla="*/ 20 h 64"/>
                    <a:gd name="T98" fmla="*/ 32 w 67"/>
                    <a:gd name="T99" fmla="*/ 20 h 64"/>
                    <a:gd name="T100" fmla="*/ 33 w 67"/>
                    <a:gd name="T101" fmla="*/ 28 h 64"/>
                    <a:gd name="T102" fmla="*/ 47 w 67"/>
                    <a:gd name="T103" fmla="*/ 14 h 64"/>
                    <a:gd name="T104" fmla="*/ 33 w 67"/>
                    <a:gd name="T105" fmla="*/ 0 h 64"/>
                    <a:gd name="T106" fmla="*/ 20 w 67"/>
                    <a:gd name="T107" fmla="*/ 14 h 64"/>
                    <a:gd name="T108" fmla="*/ 33 w 67"/>
                    <a:gd name="T109" fmla="*/ 28 h 64"/>
                    <a:gd name="T110" fmla="*/ 33 w 67"/>
                    <a:gd name="T111" fmla="*/ 3 h 64"/>
                    <a:gd name="T112" fmla="*/ 44 w 67"/>
                    <a:gd name="T113" fmla="*/ 14 h 64"/>
                    <a:gd name="T114" fmla="*/ 33 w 67"/>
                    <a:gd name="T115" fmla="*/ 25 h 64"/>
                    <a:gd name="T116" fmla="*/ 23 w 67"/>
                    <a:gd name="T117" fmla="*/ 14 h 64"/>
                    <a:gd name="T118" fmla="*/ 33 w 67"/>
                    <a:gd name="T119" fmla="*/ 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67" h="64">
                      <a:moveTo>
                        <a:pt x="65" y="41"/>
                      </a:moveTo>
                      <a:cubicBezTo>
                        <a:pt x="46" y="41"/>
                        <a:pt x="46" y="41"/>
                        <a:pt x="46" y="41"/>
                      </a:cubicBezTo>
                      <a:cubicBezTo>
                        <a:pt x="46" y="34"/>
                        <a:pt x="46" y="34"/>
                        <a:pt x="46" y="34"/>
                      </a:cubicBezTo>
                      <a:cubicBezTo>
                        <a:pt x="46" y="32"/>
                        <a:pt x="45" y="32"/>
                        <a:pt x="44" y="32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2" y="32"/>
                        <a:pt x="21" y="32"/>
                        <a:pt x="21" y="34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" y="47"/>
                        <a:pt x="2" y="47"/>
                        <a:pt x="2" y="47"/>
                      </a:cubicBezTo>
                      <a:cubicBezTo>
                        <a:pt x="1" y="47"/>
                        <a:pt x="0" y="48"/>
                        <a:pt x="0" y="49"/>
                      </a:cubicBezTo>
                      <a:cubicBezTo>
                        <a:pt x="0" y="62"/>
                        <a:pt x="0" y="62"/>
                        <a:pt x="0" y="62"/>
                      </a:cubicBezTo>
                      <a:cubicBezTo>
                        <a:pt x="0" y="63"/>
                        <a:pt x="1" y="64"/>
                        <a:pt x="2" y="64"/>
                      </a:cubicBezTo>
                      <a:cubicBezTo>
                        <a:pt x="23" y="64"/>
                        <a:pt x="23" y="64"/>
                        <a:pt x="23" y="64"/>
                      </a:cubicBezTo>
                      <a:cubicBezTo>
                        <a:pt x="44" y="64"/>
                        <a:pt x="44" y="64"/>
                        <a:pt x="44" y="64"/>
                      </a:cubicBezTo>
                      <a:cubicBezTo>
                        <a:pt x="65" y="64"/>
                        <a:pt x="65" y="64"/>
                        <a:pt x="65" y="64"/>
                      </a:cubicBezTo>
                      <a:cubicBezTo>
                        <a:pt x="66" y="64"/>
                        <a:pt x="67" y="63"/>
                        <a:pt x="67" y="62"/>
                      </a:cubicBezTo>
                      <a:cubicBezTo>
                        <a:pt x="67" y="43"/>
                        <a:pt x="67" y="43"/>
                        <a:pt x="67" y="43"/>
                      </a:cubicBezTo>
                      <a:cubicBezTo>
                        <a:pt x="67" y="42"/>
                        <a:pt x="66" y="41"/>
                        <a:pt x="65" y="41"/>
                      </a:cubicBezTo>
                      <a:close/>
                      <a:moveTo>
                        <a:pt x="45" y="61"/>
                      </a:moveTo>
                      <a:cubicBezTo>
                        <a:pt x="45" y="44"/>
                        <a:pt x="45" y="44"/>
                        <a:pt x="45" y="44"/>
                      </a:cubicBezTo>
                      <a:cubicBezTo>
                        <a:pt x="64" y="44"/>
                        <a:pt x="64" y="44"/>
                        <a:pt x="64" y="44"/>
                      </a:cubicBezTo>
                      <a:cubicBezTo>
                        <a:pt x="64" y="61"/>
                        <a:pt x="64" y="61"/>
                        <a:pt x="64" y="61"/>
                      </a:cubicBezTo>
                      <a:lnTo>
                        <a:pt x="45" y="61"/>
                      </a:lnTo>
                      <a:close/>
                      <a:moveTo>
                        <a:pt x="24" y="49"/>
                      </a:move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3" y="61"/>
                        <a:pt x="43" y="61"/>
                        <a:pt x="43" y="61"/>
                      </a:cubicBezTo>
                      <a:cubicBezTo>
                        <a:pt x="24" y="61"/>
                        <a:pt x="24" y="61"/>
                        <a:pt x="24" y="61"/>
                      </a:cubicBezTo>
                      <a:lnTo>
                        <a:pt x="24" y="49"/>
                      </a:lnTo>
                      <a:close/>
                      <a:moveTo>
                        <a:pt x="22" y="61"/>
                      </a:moveTo>
                      <a:cubicBezTo>
                        <a:pt x="3" y="61"/>
                        <a:pt x="3" y="61"/>
                        <a:pt x="3" y="61"/>
                      </a:cubicBezTo>
                      <a:cubicBezTo>
                        <a:pt x="3" y="50"/>
                        <a:pt x="3" y="50"/>
                        <a:pt x="3" y="50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lnTo>
                        <a:pt x="22" y="61"/>
                      </a:lnTo>
                      <a:close/>
                      <a:moveTo>
                        <a:pt x="32" y="20"/>
                      </a:moveTo>
                      <a:cubicBezTo>
                        <a:pt x="32" y="9"/>
                        <a:pt x="32" y="9"/>
                        <a:pt x="32" y="9"/>
                      </a:cubicBezTo>
                      <a:cubicBezTo>
                        <a:pt x="30" y="10"/>
                        <a:pt x="30" y="10"/>
                        <a:pt x="30" y="10"/>
                      </a:cubicBezTo>
                      <a:cubicBezTo>
                        <a:pt x="30" y="11"/>
                        <a:pt x="29" y="11"/>
                        <a:pt x="29" y="10"/>
                      </a:cubicBezTo>
                      <a:cubicBezTo>
                        <a:pt x="29" y="10"/>
                        <a:pt x="29" y="9"/>
                        <a:pt x="29" y="9"/>
                      </a:cubicBezTo>
                      <a:cubicBezTo>
                        <a:pt x="33" y="6"/>
                        <a:pt x="33" y="6"/>
                        <a:pt x="33" y="6"/>
                      </a:cubicBezTo>
                      <a:cubicBezTo>
                        <a:pt x="33" y="6"/>
                        <a:pt x="33" y="6"/>
                        <a:pt x="34" y="6"/>
                      </a:cubicBezTo>
                      <a:cubicBezTo>
                        <a:pt x="34" y="6"/>
                        <a:pt x="34" y="7"/>
                        <a:pt x="34" y="7"/>
                      </a:cubicBezTo>
                      <a:cubicBezTo>
                        <a:pt x="34" y="20"/>
                        <a:pt x="34" y="20"/>
                        <a:pt x="34" y="20"/>
                      </a:cubicBez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37" y="20"/>
                        <a:pt x="38" y="21"/>
                        <a:pt x="38" y="21"/>
                      </a:cubicBezTo>
                      <a:cubicBezTo>
                        <a:pt x="38" y="22"/>
                        <a:pt x="37" y="22"/>
                        <a:pt x="37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29" y="22"/>
                        <a:pt x="29" y="22"/>
                        <a:pt x="29" y="21"/>
                      </a:cubicBezTo>
                      <a:cubicBezTo>
                        <a:pt x="29" y="21"/>
                        <a:pt x="29" y="20"/>
                        <a:pt x="30" y="20"/>
                      </a:cubicBezTo>
                      <a:lnTo>
                        <a:pt x="32" y="20"/>
                      </a:lnTo>
                      <a:close/>
                      <a:moveTo>
                        <a:pt x="33" y="28"/>
                      </a:moveTo>
                      <a:cubicBezTo>
                        <a:pt x="41" y="28"/>
                        <a:pt x="47" y="22"/>
                        <a:pt x="47" y="14"/>
                      </a:cubicBezTo>
                      <a:cubicBezTo>
                        <a:pt x="47" y="7"/>
                        <a:pt x="41" y="0"/>
                        <a:pt x="33" y="0"/>
                      </a:cubicBezTo>
                      <a:cubicBezTo>
                        <a:pt x="26" y="0"/>
                        <a:pt x="20" y="7"/>
                        <a:pt x="20" y="14"/>
                      </a:cubicBezTo>
                      <a:cubicBezTo>
                        <a:pt x="20" y="22"/>
                        <a:pt x="26" y="28"/>
                        <a:pt x="33" y="28"/>
                      </a:cubicBezTo>
                      <a:close/>
                      <a:moveTo>
                        <a:pt x="33" y="3"/>
                      </a:moveTo>
                      <a:cubicBezTo>
                        <a:pt x="39" y="3"/>
                        <a:pt x="44" y="8"/>
                        <a:pt x="44" y="14"/>
                      </a:cubicBezTo>
                      <a:cubicBezTo>
                        <a:pt x="44" y="20"/>
                        <a:pt x="39" y="25"/>
                        <a:pt x="33" y="25"/>
                      </a:cubicBezTo>
                      <a:cubicBezTo>
                        <a:pt x="27" y="25"/>
                        <a:pt x="23" y="20"/>
                        <a:pt x="23" y="14"/>
                      </a:cubicBezTo>
                      <a:cubicBezTo>
                        <a:pt x="23" y="8"/>
                        <a:pt x="27" y="3"/>
                        <a:pt x="33" y="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C27A6C78-8C20-4D0D-B106-BFF2671A59F6}"/>
                    </a:ext>
                  </a:extLst>
                </p:cNvPr>
                <p:cNvSpPr/>
                <p:nvPr/>
              </p:nvSpPr>
              <p:spPr bwMode="auto">
                <a:xfrm>
                  <a:off x="5622282" y="3973142"/>
                  <a:ext cx="492885" cy="438473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CE830F7F-A18A-458D-B9FB-DB1826BAA587}"/>
                    </a:ext>
                  </a:extLst>
                </p:cNvPr>
                <p:cNvSpPr/>
                <p:nvPr/>
              </p:nvSpPr>
              <p:spPr bwMode="auto">
                <a:xfrm>
                  <a:off x="5963131" y="2396806"/>
                  <a:ext cx="509846" cy="456490"/>
                </a:xfrm>
                <a:custGeom>
                  <a:avLst/>
                  <a:gdLst>
                    <a:gd name="T0" fmla="*/ 20 w 73"/>
                    <a:gd name="T1" fmla="*/ 52 h 65"/>
                    <a:gd name="T2" fmla="*/ 26 w 73"/>
                    <a:gd name="T3" fmla="*/ 46 h 65"/>
                    <a:gd name="T4" fmla="*/ 33 w 73"/>
                    <a:gd name="T5" fmla="*/ 42 h 65"/>
                    <a:gd name="T6" fmla="*/ 35 w 73"/>
                    <a:gd name="T7" fmla="*/ 37 h 65"/>
                    <a:gd name="T8" fmla="*/ 32 w 73"/>
                    <a:gd name="T9" fmla="*/ 30 h 65"/>
                    <a:gd name="T10" fmla="*/ 30 w 73"/>
                    <a:gd name="T11" fmla="*/ 22 h 65"/>
                    <a:gd name="T12" fmla="*/ 26 w 73"/>
                    <a:gd name="T13" fmla="*/ 19 h 65"/>
                    <a:gd name="T14" fmla="*/ 16 w 73"/>
                    <a:gd name="T15" fmla="*/ 18 h 65"/>
                    <a:gd name="T16" fmla="*/ 10 w 73"/>
                    <a:gd name="T17" fmla="*/ 20 h 65"/>
                    <a:gd name="T18" fmla="*/ 2 w 73"/>
                    <a:gd name="T19" fmla="*/ 26 h 65"/>
                    <a:gd name="T20" fmla="*/ 1 w 73"/>
                    <a:gd name="T21" fmla="*/ 32 h 65"/>
                    <a:gd name="T22" fmla="*/ 2 w 73"/>
                    <a:gd name="T23" fmla="*/ 38 h 65"/>
                    <a:gd name="T24" fmla="*/ 5 w 73"/>
                    <a:gd name="T25" fmla="*/ 47 h 65"/>
                    <a:gd name="T26" fmla="*/ 10 w 73"/>
                    <a:gd name="T27" fmla="*/ 50 h 65"/>
                    <a:gd name="T28" fmla="*/ 14 w 73"/>
                    <a:gd name="T29" fmla="*/ 50 h 65"/>
                    <a:gd name="T30" fmla="*/ 6 w 73"/>
                    <a:gd name="T31" fmla="*/ 38 h 65"/>
                    <a:gd name="T32" fmla="*/ 5 w 73"/>
                    <a:gd name="T33" fmla="*/ 26 h 65"/>
                    <a:gd name="T34" fmla="*/ 18 w 73"/>
                    <a:gd name="T35" fmla="*/ 22 h 65"/>
                    <a:gd name="T36" fmla="*/ 31 w 73"/>
                    <a:gd name="T37" fmla="*/ 26 h 65"/>
                    <a:gd name="T38" fmla="*/ 30 w 73"/>
                    <a:gd name="T39" fmla="*/ 38 h 65"/>
                    <a:gd name="T40" fmla="*/ 22 w 73"/>
                    <a:gd name="T41" fmla="*/ 50 h 65"/>
                    <a:gd name="T42" fmla="*/ 34 w 73"/>
                    <a:gd name="T43" fmla="*/ 8 h 65"/>
                    <a:gd name="T44" fmla="*/ 32 w 73"/>
                    <a:gd name="T45" fmla="*/ 13 h 65"/>
                    <a:gd name="T46" fmla="*/ 33 w 73"/>
                    <a:gd name="T47" fmla="*/ 16 h 65"/>
                    <a:gd name="T48" fmla="*/ 37 w 73"/>
                    <a:gd name="T49" fmla="*/ 19 h 65"/>
                    <a:gd name="T50" fmla="*/ 42 w 73"/>
                    <a:gd name="T51" fmla="*/ 22 h 65"/>
                    <a:gd name="T52" fmla="*/ 45 w 73"/>
                    <a:gd name="T53" fmla="*/ 23 h 65"/>
                    <a:gd name="T54" fmla="*/ 50 w 73"/>
                    <a:gd name="T55" fmla="*/ 19 h 65"/>
                    <a:gd name="T56" fmla="*/ 53 w 73"/>
                    <a:gd name="T57" fmla="*/ 15 h 65"/>
                    <a:gd name="T58" fmla="*/ 54 w 73"/>
                    <a:gd name="T59" fmla="*/ 11 h 65"/>
                    <a:gd name="T60" fmla="*/ 53 w 73"/>
                    <a:gd name="T61" fmla="*/ 7 h 65"/>
                    <a:gd name="T62" fmla="*/ 50 w 73"/>
                    <a:gd name="T63" fmla="*/ 4 h 65"/>
                    <a:gd name="T64" fmla="*/ 45 w 73"/>
                    <a:gd name="T65" fmla="*/ 0 h 65"/>
                    <a:gd name="T66" fmla="*/ 41 w 73"/>
                    <a:gd name="T67" fmla="*/ 0 h 65"/>
                    <a:gd name="T68" fmla="*/ 36 w 73"/>
                    <a:gd name="T69" fmla="*/ 4 h 65"/>
                    <a:gd name="T70" fmla="*/ 36 w 73"/>
                    <a:gd name="T71" fmla="*/ 9 h 65"/>
                    <a:gd name="T72" fmla="*/ 41 w 73"/>
                    <a:gd name="T73" fmla="*/ 2 h 65"/>
                    <a:gd name="T74" fmla="*/ 50 w 73"/>
                    <a:gd name="T75" fmla="*/ 6 h 65"/>
                    <a:gd name="T76" fmla="*/ 52 w 73"/>
                    <a:gd name="T77" fmla="*/ 12 h 65"/>
                    <a:gd name="T78" fmla="*/ 46 w 73"/>
                    <a:gd name="T79" fmla="*/ 20 h 65"/>
                    <a:gd name="T80" fmla="*/ 39 w 73"/>
                    <a:gd name="T81" fmla="*/ 17 h 65"/>
                    <a:gd name="T82" fmla="*/ 34 w 73"/>
                    <a:gd name="T83" fmla="*/ 11 h 65"/>
                    <a:gd name="T84" fmla="*/ 55 w 73"/>
                    <a:gd name="T85" fmla="*/ 65 h 65"/>
                    <a:gd name="T86" fmla="*/ 55 w 73"/>
                    <a:gd name="T87" fmla="*/ 32 h 65"/>
                    <a:gd name="T88" fmla="*/ 43 w 73"/>
                    <a:gd name="T89" fmla="*/ 5 h 65"/>
                    <a:gd name="T90" fmla="*/ 43 w 73"/>
                    <a:gd name="T91" fmla="*/ 15 h 65"/>
                    <a:gd name="T92" fmla="*/ 54 w 73"/>
                    <a:gd name="T93" fmla="*/ 54 h 65"/>
                    <a:gd name="T94" fmla="*/ 47 w 73"/>
                    <a:gd name="T95" fmla="*/ 45 h 65"/>
                    <a:gd name="T96" fmla="*/ 18 w 73"/>
                    <a:gd name="T97" fmla="*/ 25 h 65"/>
                    <a:gd name="T98" fmla="*/ 10 w 73"/>
                    <a:gd name="T99" fmla="*/ 35 h 65"/>
                    <a:gd name="T100" fmla="*/ 18 w 73"/>
                    <a:gd name="T101" fmla="*/ 38 h 65"/>
                    <a:gd name="T102" fmla="*/ 56 w 73"/>
                    <a:gd name="T103" fmla="*/ 11 h 65"/>
                    <a:gd name="T104" fmla="*/ 56 w 73"/>
                    <a:gd name="T105" fmla="*/ 14 h 65"/>
                    <a:gd name="T106" fmla="*/ 32 w 73"/>
                    <a:gd name="T107" fmla="*/ 5 h 65"/>
                    <a:gd name="T108" fmla="*/ 40 w 73"/>
                    <a:gd name="T109" fmla="*/ 59 h 65"/>
                    <a:gd name="T110" fmla="*/ 16 w 73"/>
                    <a:gd name="T111" fmla="*/ 53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73" h="65">
                      <a:moveTo>
                        <a:pt x="16" y="52"/>
                      </a:moveTo>
                      <a:cubicBezTo>
                        <a:pt x="16" y="51"/>
                        <a:pt x="16" y="51"/>
                        <a:pt x="16" y="51"/>
                      </a:cubicBezTo>
                      <a:cubicBezTo>
                        <a:pt x="16" y="50"/>
                        <a:pt x="17" y="49"/>
                        <a:pt x="18" y="49"/>
                      </a:cubicBezTo>
                      <a:cubicBezTo>
                        <a:pt x="19" y="49"/>
                        <a:pt x="20" y="50"/>
                        <a:pt x="20" y="51"/>
                      </a:cubicBezTo>
                      <a:cubicBezTo>
                        <a:pt x="20" y="51"/>
                        <a:pt x="20" y="51"/>
                        <a:pt x="20" y="52"/>
                      </a:cubicBezTo>
                      <a:cubicBezTo>
                        <a:pt x="20" y="52"/>
                        <a:pt x="21" y="52"/>
                        <a:pt x="21" y="52"/>
                      </a:cubicBezTo>
                      <a:cubicBezTo>
                        <a:pt x="23" y="52"/>
                        <a:pt x="24" y="51"/>
                        <a:pt x="26" y="50"/>
                      </a:cubicBezTo>
                      <a:cubicBezTo>
                        <a:pt x="26" y="50"/>
                        <a:pt x="26" y="50"/>
                        <a:pt x="26" y="50"/>
                      </a:cubicBezTo>
                      <a:cubicBezTo>
                        <a:pt x="26" y="50"/>
                        <a:pt x="26" y="49"/>
                        <a:pt x="26" y="49"/>
                      </a:cubicBezTo>
                      <a:cubicBezTo>
                        <a:pt x="25" y="48"/>
                        <a:pt x="26" y="47"/>
                        <a:pt x="26" y="46"/>
                      </a:cubicBezTo>
                      <a:cubicBezTo>
                        <a:pt x="27" y="46"/>
                        <a:pt x="28" y="46"/>
                        <a:pt x="29" y="47"/>
                      </a:cubicBezTo>
                      <a:cubicBezTo>
                        <a:pt x="29" y="47"/>
                        <a:pt x="30" y="47"/>
                        <a:pt x="30" y="47"/>
                      </a:cubicBezTo>
                      <a:cubicBezTo>
                        <a:pt x="30" y="47"/>
                        <a:pt x="30" y="47"/>
                        <a:pt x="31" y="47"/>
                      </a:cubicBezTo>
                      <a:cubicBezTo>
                        <a:pt x="32" y="46"/>
                        <a:pt x="33" y="44"/>
                        <a:pt x="33" y="43"/>
                      </a:cubicBezTo>
                      <a:cubicBezTo>
                        <a:pt x="33" y="43"/>
                        <a:pt x="34" y="42"/>
                        <a:pt x="33" y="42"/>
                      </a:cubicBezTo>
                      <a:cubicBezTo>
                        <a:pt x="33" y="42"/>
                        <a:pt x="33" y="42"/>
                        <a:pt x="33" y="42"/>
                      </a:cubicBezTo>
                      <a:cubicBezTo>
                        <a:pt x="32" y="41"/>
                        <a:pt x="31" y="40"/>
                        <a:pt x="32" y="39"/>
                      </a:cubicBezTo>
                      <a:cubicBezTo>
                        <a:pt x="32" y="38"/>
                        <a:pt x="33" y="38"/>
                        <a:pt x="34" y="38"/>
                      </a:cubicBezTo>
                      <a:cubicBezTo>
                        <a:pt x="34" y="38"/>
                        <a:pt x="35" y="38"/>
                        <a:pt x="35" y="38"/>
                      </a:cubicBezTo>
                      <a:cubicBezTo>
                        <a:pt x="35" y="37"/>
                        <a:pt x="35" y="37"/>
                        <a:pt x="35" y="37"/>
                      </a:cubicBezTo>
                      <a:cubicBezTo>
                        <a:pt x="35" y="36"/>
                        <a:pt x="35" y="35"/>
                        <a:pt x="35" y="35"/>
                      </a:cubicBezTo>
                      <a:cubicBezTo>
                        <a:pt x="35" y="34"/>
                        <a:pt x="35" y="33"/>
                        <a:pt x="35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cubicBezTo>
                        <a:pt x="35" y="31"/>
                        <a:pt x="34" y="31"/>
                        <a:pt x="34" y="31"/>
                      </a:cubicBezTo>
                      <a:cubicBezTo>
                        <a:pt x="33" y="32"/>
                        <a:pt x="32" y="31"/>
                        <a:pt x="32" y="30"/>
                      </a:cubicBezTo>
                      <a:cubicBezTo>
                        <a:pt x="31" y="29"/>
                        <a:pt x="32" y="28"/>
                        <a:pt x="33" y="28"/>
                      </a:cubicBezTo>
                      <a:cubicBezTo>
                        <a:pt x="33" y="28"/>
                        <a:pt x="33" y="27"/>
                        <a:pt x="33" y="27"/>
                      </a:cubicBezTo>
                      <a:cubicBezTo>
                        <a:pt x="34" y="27"/>
                        <a:pt x="33" y="27"/>
                        <a:pt x="33" y="26"/>
                      </a:cubicBezTo>
                      <a:cubicBezTo>
                        <a:pt x="33" y="25"/>
                        <a:pt x="32" y="24"/>
                        <a:pt x="31" y="22"/>
                      </a:cubicBezTo>
                      <a:cubicBezTo>
                        <a:pt x="30" y="22"/>
                        <a:pt x="30" y="22"/>
                        <a:pt x="30" y="22"/>
                      </a:cubicBezTo>
                      <a:cubicBezTo>
                        <a:pt x="30" y="22"/>
                        <a:pt x="29" y="22"/>
                        <a:pt x="29" y="22"/>
                      </a:cubicBezTo>
                      <a:cubicBezTo>
                        <a:pt x="28" y="23"/>
                        <a:pt x="27" y="23"/>
                        <a:pt x="26" y="23"/>
                      </a:cubicBezTo>
                      <a:cubicBezTo>
                        <a:pt x="26" y="22"/>
                        <a:pt x="25" y="21"/>
                        <a:pt x="26" y="20"/>
                      </a:cubicBezTo>
                      <a:cubicBezTo>
                        <a:pt x="26" y="20"/>
                        <a:pt x="26" y="20"/>
                        <a:pt x="26" y="19"/>
                      </a:cubicBezTo>
                      <a:cubicBezTo>
                        <a:pt x="26" y="19"/>
                        <a:pt x="26" y="19"/>
                        <a:pt x="26" y="19"/>
                      </a:cubicBezTo>
                      <a:cubicBezTo>
                        <a:pt x="24" y="18"/>
                        <a:pt x="23" y="18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9"/>
                        <a:pt x="19" y="20"/>
                        <a:pt x="18" y="20"/>
                      </a:cubicBezTo>
                      <a:cubicBezTo>
                        <a:pt x="17" y="20"/>
                        <a:pt x="16" y="19"/>
                        <a:pt x="16" y="18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5" y="17"/>
                        <a:pt x="15" y="17"/>
                        <a:pt x="15" y="17"/>
                      </a:cubicBezTo>
                      <a:cubicBezTo>
                        <a:pt x="13" y="18"/>
                        <a:pt x="12" y="18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10" y="21"/>
                        <a:pt x="10" y="22"/>
                        <a:pt x="9" y="23"/>
                      </a:cubicBezTo>
                      <a:cubicBezTo>
                        <a:pt x="9" y="23"/>
                        <a:pt x="7" y="23"/>
                        <a:pt x="7" y="22"/>
                      </a:cubicBezTo>
                      <a:cubicBezTo>
                        <a:pt x="7" y="22"/>
                        <a:pt x="6" y="22"/>
                        <a:pt x="6" y="22"/>
                      </a:cubicBezTo>
                      <a:cubicBezTo>
                        <a:pt x="6" y="22"/>
                        <a:pt x="5" y="22"/>
                        <a:pt x="5" y="22"/>
                      </a:cubicBezTo>
                      <a:cubicBezTo>
                        <a:pt x="4" y="24"/>
                        <a:pt x="3" y="25"/>
                        <a:pt x="2" y="26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7"/>
                        <a:pt x="3" y="28"/>
                        <a:pt x="3" y="28"/>
                      </a:cubicBezTo>
                      <a:cubicBezTo>
                        <a:pt x="4" y="28"/>
                        <a:pt x="4" y="29"/>
                        <a:pt x="4" y="30"/>
                      </a:cubicBezTo>
                      <a:cubicBezTo>
                        <a:pt x="4" y="31"/>
                        <a:pt x="3" y="32"/>
                        <a:pt x="2" y="31"/>
                      </a:cubicBezTo>
                      <a:cubicBezTo>
                        <a:pt x="1" y="31"/>
                        <a:pt x="1" y="31"/>
                        <a:pt x="1" y="32"/>
                      </a:cubicBezTo>
                      <a:cubicBezTo>
                        <a:pt x="1" y="32"/>
                        <a:pt x="1" y="32"/>
                        <a:pt x="1" y="32"/>
                      </a:cubicBezTo>
                      <a:cubicBezTo>
                        <a:pt x="0" y="33"/>
                        <a:pt x="0" y="34"/>
                        <a:pt x="0" y="35"/>
                      </a:cubicBezTo>
                      <a:cubicBezTo>
                        <a:pt x="0" y="35"/>
                        <a:pt x="0" y="36"/>
                        <a:pt x="1" y="37"/>
                      </a:cubicBezTo>
                      <a:cubicBezTo>
                        <a:pt x="1" y="37"/>
                        <a:pt x="1" y="37"/>
                        <a:pt x="1" y="38"/>
                      </a:cubicBezTo>
                      <a:cubicBezTo>
                        <a:pt x="1" y="38"/>
                        <a:pt x="1" y="38"/>
                        <a:pt x="2" y="38"/>
                      </a:cubicBezTo>
                      <a:cubicBezTo>
                        <a:pt x="3" y="38"/>
                        <a:pt x="4" y="38"/>
                        <a:pt x="4" y="39"/>
                      </a:cubicBezTo>
                      <a:cubicBezTo>
                        <a:pt x="4" y="40"/>
                        <a:pt x="4" y="41"/>
                        <a:pt x="3" y="42"/>
                      </a:cubicBezTo>
                      <a:cubicBezTo>
                        <a:pt x="3" y="42"/>
                        <a:pt x="2" y="42"/>
                        <a:pt x="2" y="42"/>
                      </a:cubicBezTo>
                      <a:cubicBezTo>
                        <a:pt x="2" y="42"/>
                        <a:pt x="2" y="43"/>
                        <a:pt x="2" y="43"/>
                      </a:cubicBezTo>
                      <a:cubicBezTo>
                        <a:pt x="3" y="44"/>
                        <a:pt x="4" y="46"/>
                        <a:pt x="5" y="47"/>
                      </a:cubicBezTo>
                      <a:cubicBezTo>
                        <a:pt x="5" y="47"/>
                        <a:pt x="6" y="47"/>
                        <a:pt x="6" y="47"/>
                      </a:cubicBezTo>
                      <a:cubicBezTo>
                        <a:pt x="6" y="47"/>
                        <a:pt x="7" y="47"/>
                        <a:pt x="7" y="47"/>
                      </a:cubicBezTo>
                      <a:cubicBezTo>
                        <a:pt x="7" y="46"/>
                        <a:pt x="9" y="46"/>
                        <a:pt x="9" y="46"/>
                      </a:cubicBezTo>
                      <a:cubicBezTo>
                        <a:pt x="10" y="47"/>
                        <a:pt x="10" y="48"/>
                        <a:pt x="10" y="49"/>
                      </a:cubicBezTo>
                      <a:cubicBezTo>
                        <a:pt x="10" y="49"/>
                        <a:pt x="10" y="50"/>
                        <a:pt x="10" y="50"/>
                      </a:cubicBezTo>
                      <a:cubicBezTo>
                        <a:pt x="10" y="50"/>
                        <a:pt x="10" y="50"/>
                        <a:pt x="10" y="50"/>
                      </a:cubicBezTo>
                      <a:cubicBezTo>
                        <a:pt x="12" y="51"/>
                        <a:pt x="13" y="52"/>
                        <a:pt x="15" y="52"/>
                      </a:cubicBezTo>
                      <a:cubicBezTo>
                        <a:pt x="15" y="52"/>
                        <a:pt x="15" y="52"/>
                        <a:pt x="15" y="52"/>
                      </a:cubicBezTo>
                      <a:cubicBezTo>
                        <a:pt x="15" y="52"/>
                        <a:pt x="15" y="52"/>
                        <a:pt x="16" y="52"/>
                      </a:cubicBezTo>
                      <a:close/>
                      <a:moveTo>
                        <a:pt x="14" y="50"/>
                      </a:moveTo>
                      <a:cubicBezTo>
                        <a:pt x="13" y="49"/>
                        <a:pt x="13" y="49"/>
                        <a:pt x="12" y="49"/>
                      </a:cubicBezTo>
                      <a:cubicBezTo>
                        <a:pt x="12" y="47"/>
                        <a:pt x="12" y="46"/>
                        <a:pt x="11" y="45"/>
                      </a:cubicBezTo>
                      <a:cubicBezTo>
                        <a:pt x="9" y="44"/>
                        <a:pt x="7" y="44"/>
                        <a:pt x="6" y="45"/>
                      </a:cubicBezTo>
                      <a:cubicBezTo>
                        <a:pt x="6" y="44"/>
                        <a:pt x="5" y="43"/>
                        <a:pt x="5" y="43"/>
                      </a:cubicBezTo>
                      <a:cubicBezTo>
                        <a:pt x="6" y="42"/>
                        <a:pt x="6" y="40"/>
                        <a:pt x="6" y="38"/>
                      </a:cubicBezTo>
                      <a:cubicBezTo>
                        <a:pt x="5" y="37"/>
                        <a:pt x="4" y="36"/>
                        <a:pt x="2" y="36"/>
                      </a:cubicBez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4"/>
                        <a:pt x="2" y="33"/>
                      </a:cubicBezTo>
                      <a:cubicBezTo>
                        <a:pt x="4" y="33"/>
                        <a:pt x="5" y="32"/>
                        <a:pt x="6" y="31"/>
                      </a:cubicBezTo>
                      <a:cubicBezTo>
                        <a:pt x="6" y="29"/>
                        <a:pt x="6" y="27"/>
                        <a:pt x="5" y="26"/>
                      </a:cubicBezTo>
                      <a:cubicBezTo>
                        <a:pt x="5" y="26"/>
                        <a:pt x="6" y="25"/>
                        <a:pt x="6" y="25"/>
                      </a:cubicBezTo>
                      <a:cubicBezTo>
                        <a:pt x="7" y="25"/>
                        <a:pt x="9" y="25"/>
                        <a:pt x="11" y="24"/>
                      </a:cubicBezTo>
                      <a:cubicBezTo>
                        <a:pt x="12" y="23"/>
                        <a:pt x="12" y="22"/>
                        <a:pt x="12" y="20"/>
                      </a:cubicBezTo>
                      <a:cubicBezTo>
                        <a:pt x="13" y="20"/>
                        <a:pt x="13" y="20"/>
                        <a:pt x="14" y="19"/>
                      </a:cubicBezTo>
                      <a:cubicBezTo>
                        <a:pt x="15" y="21"/>
                        <a:pt x="16" y="22"/>
                        <a:pt x="18" y="22"/>
                      </a:cubicBezTo>
                      <a:cubicBezTo>
                        <a:pt x="20" y="22"/>
                        <a:pt x="21" y="21"/>
                        <a:pt x="22" y="19"/>
                      </a:cubicBezTo>
                      <a:cubicBezTo>
                        <a:pt x="22" y="20"/>
                        <a:pt x="23" y="20"/>
                        <a:pt x="24" y="20"/>
                      </a:cubicBezTo>
                      <a:cubicBezTo>
                        <a:pt x="23" y="22"/>
                        <a:pt x="24" y="23"/>
                        <a:pt x="25" y="24"/>
                      </a:cubicBezTo>
                      <a:cubicBezTo>
                        <a:pt x="27" y="25"/>
                        <a:pt x="28" y="25"/>
                        <a:pt x="30" y="25"/>
                      </a:cubicBezTo>
                      <a:cubicBezTo>
                        <a:pt x="30" y="25"/>
                        <a:pt x="31" y="26"/>
                        <a:pt x="31" y="26"/>
                      </a:cubicBezTo>
                      <a:cubicBezTo>
                        <a:pt x="30" y="27"/>
                        <a:pt x="29" y="29"/>
                        <a:pt x="30" y="31"/>
                      </a:cubicBezTo>
                      <a:cubicBezTo>
                        <a:pt x="30" y="32"/>
                        <a:pt x="32" y="33"/>
                        <a:pt x="33" y="33"/>
                      </a:cubicBezTo>
                      <a:cubicBezTo>
                        <a:pt x="33" y="34"/>
                        <a:pt x="33" y="34"/>
                        <a:pt x="33" y="35"/>
                      </a:cubicBezTo>
                      <a:cubicBezTo>
                        <a:pt x="33" y="35"/>
                        <a:pt x="33" y="35"/>
                        <a:pt x="33" y="36"/>
                      </a:cubicBezTo>
                      <a:cubicBezTo>
                        <a:pt x="32" y="36"/>
                        <a:pt x="30" y="37"/>
                        <a:pt x="30" y="38"/>
                      </a:cubicBezTo>
                      <a:cubicBezTo>
                        <a:pt x="29" y="40"/>
                        <a:pt x="30" y="42"/>
                        <a:pt x="31" y="43"/>
                      </a:cubicBezTo>
                      <a:cubicBezTo>
                        <a:pt x="31" y="43"/>
                        <a:pt x="30" y="44"/>
                        <a:pt x="30" y="45"/>
                      </a:cubicBezTo>
                      <a:cubicBezTo>
                        <a:pt x="28" y="44"/>
                        <a:pt x="27" y="44"/>
                        <a:pt x="25" y="45"/>
                      </a:cubicBezTo>
                      <a:cubicBezTo>
                        <a:pt x="24" y="46"/>
                        <a:pt x="23" y="47"/>
                        <a:pt x="24" y="49"/>
                      </a:cubicBezTo>
                      <a:cubicBezTo>
                        <a:pt x="23" y="49"/>
                        <a:pt x="22" y="49"/>
                        <a:pt x="22" y="50"/>
                      </a:cubicBezTo>
                      <a:cubicBezTo>
                        <a:pt x="21" y="48"/>
                        <a:pt x="20" y="47"/>
                        <a:pt x="18" y="47"/>
                      </a:cubicBezTo>
                      <a:cubicBezTo>
                        <a:pt x="16" y="47"/>
                        <a:pt x="15" y="48"/>
                        <a:pt x="14" y="50"/>
                      </a:cubicBezTo>
                      <a:close/>
                      <a:moveTo>
                        <a:pt x="33" y="7"/>
                      </a:moveTo>
                      <a:cubicBezTo>
                        <a:pt x="33" y="7"/>
                        <a:pt x="33" y="7"/>
                        <a:pt x="34" y="7"/>
                      </a:cubicBezTo>
                      <a:cubicBezTo>
                        <a:pt x="34" y="8"/>
                        <a:pt x="34" y="8"/>
                        <a:pt x="34" y="8"/>
                      </a:cubicBezTo>
                      <a:cubicBezTo>
                        <a:pt x="34" y="9"/>
                        <a:pt x="34" y="9"/>
                        <a:pt x="33" y="9"/>
                      </a:cubicBezTo>
                      <a:cubicBezTo>
                        <a:pt x="33" y="9"/>
                        <a:pt x="32" y="9"/>
                        <a:pt x="32" y="9"/>
                      </a:cubicBezTo>
                      <a:cubicBezTo>
                        <a:pt x="32" y="9"/>
                        <a:pt x="32" y="10"/>
                        <a:pt x="32" y="10"/>
                      </a:cubicBezTo>
                      <a:cubicBezTo>
                        <a:pt x="32" y="10"/>
                        <a:pt x="32" y="11"/>
                        <a:pt x="32" y="11"/>
                      </a:cubicBezTo>
                      <a:cubicBezTo>
                        <a:pt x="32" y="12"/>
                        <a:pt x="32" y="12"/>
                        <a:pt x="32" y="13"/>
                      </a:cubicBezTo>
                      <a:cubicBezTo>
                        <a:pt x="32" y="13"/>
                        <a:pt x="32" y="13"/>
                        <a:pt x="32" y="14"/>
                      </a:cubicBezTo>
                      <a:cubicBezTo>
                        <a:pt x="33" y="14"/>
                        <a:pt x="33" y="14"/>
                        <a:pt x="33" y="14"/>
                      </a:cubicBezTo>
                      <a:cubicBezTo>
                        <a:pt x="34" y="14"/>
                        <a:pt x="34" y="14"/>
                        <a:pt x="34" y="14"/>
                      </a:cubicBezTo>
                      <a:cubicBezTo>
                        <a:pt x="34" y="15"/>
                        <a:pt x="34" y="15"/>
                        <a:pt x="34" y="15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6"/>
                        <a:pt x="33" y="17"/>
                        <a:pt x="33" y="17"/>
                      </a:cubicBezTo>
                      <a:cubicBezTo>
                        <a:pt x="34" y="18"/>
                        <a:pt x="34" y="18"/>
                        <a:pt x="35" y="19"/>
                      </a:cubicBezTo>
                      <a:cubicBezTo>
                        <a:pt x="35" y="19"/>
                        <a:pt x="35" y="20"/>
                        <a:pt x="36" y="20"/>
                      </a:cubicBezTo>
                      <a:cubicBezTo>
                        <a:pt x="36" y="20"/>
                        <a:pt x="36" y="19"/>
                        <a:pt x="36" y="19"/>
                      </a:cubicBezTo>
                      <a:cubicBezTo>
                        <a:pt x="37" y="19"/>
                        <a:pt x="37" y="19"/>
                        <a:pt x="37" y="19"/>
                      </a:cubicBezTo>
                      <a:cubicBezTo>
                        <a:pt x="38" y="19"/>
                        <a:pt x="38" y="20"/>
                        <a:pt x="38" y="20"/>
                      </a:cubicBezTo>
                      <a:cubicBezTo>
                        <a:pt x="38" y="20"/>
                        <a:pt x="38" y="21"/>
                        <a:pt x="38" y="21"/>
                      </a:cubicBezTo>
                      <a:cubicBezTo>
                        <a:pt x="38" y="21"/>
                        <a:pt x="38" y="21"/>
                        <a:pt x="38" y="22"/>
                      </a:cubicBezTo>
                      <a:cubicBezTo>
                        <a:pt x="39" y="22"/>
                        <a:pt x="40" y="22"/>
                        <a:pt x="41" y="23"/>
                      </a:cubicBezTo>
                      <a:cubicBezTo>
                        <a:pt x="41" y="23"/>
                        <a:pt x="42" y="23"/>
                        <a:pt x="42" y="22"/>
                      </a:cubicBezTo>
                      <a:cubicBezTo>
                        <a:pt x="42" y="22"/>
                        <a:pt x="42" y="22"/>
                        <a:pt x="42" y="22"/>
                      </a:cubicBezTo>
                      <a:cubicBezTo>
                        <a:pt x="42" y="21"/>
                        <a:pt x="44" y="21"/>
                        <a:pt x="44" y="22"/>
                      </a:cubicBezTo>
                      <a:cubicBezTo>
                        <a:pt x="44" y="22"/>
                        <a:pt x="44" y="22"/>
                        <a:pt x="44" y="22"/>
                      </a:cubicBezTo>
                      <a:cubicBezTo>
                        <a:pt x="44" y="22"/>
                        <a:pt x="45" y="23"/>
                        <a:pt x="45" y="23"/>
                      </a:cubicBezTo>
                      <a:cubicBezTo>
                        <a:pt x="45" y="23"/>
                        <a:pt x="45" y="23"/>
                        <a:pt x="45" y="23"/>
                      </a:cubicBezTo>
                      <a:cubicBezTo>
                        <a:pt x="46" y="22"/>
                        <a:pt x="47" y="22"/>
                        <a:pt x="48" y="22"/>
                      </a:cubicBezTo>
                      <a:cubicBezTo>
                        <a:pt x="48" y="21"/>
                        <a:pt x="48" y="21"/>
                        <a:pt x="48" y="21"/>
                      </a:cubicBezTo>
                      <a:cubicBezTo>
                        <a:pt x="49" y="21"/>
                        <a:pt x="49" y="20"/>
                        <a:pt x="48" y="20"/>
                      </a:cubicBezTo>
                      <a:cubicBezTo>
                        <a:pt x="48" y="20"/>
                        <a:pt x="48" y="19"/>
                        <a:pt x="49" y="19"/>
                      </a:cubicBezTo>
                      <a:cubicBezTo>
                        <a:pt x="49" y="19"/>
                        <a:pt x="49" y="19"/>
                        <a:pt x="50" y="19"/>
                      </a:cubicBezTo>
                      <a:cubicBezTo>
                        <a:pt x="50" y="19"/>
                        <a:pt x="50" y="20"/>
                        <a:pt x="50" y="20"/>
                      </a:cubicBezTo>
                      <a:cubicBezTo>
                        <a:pt x="51" y="20"/>
                        <a:pt x="51" y="19"/>
                        <a:pt x="51" y="19"/>
                      </a:cubicBezTo>
                      <a:cubicBezTo>
                        <a:pt x="52" y="18"/>
                        <a:pt x="53" y="18"/>
                        <a:pt x="53" y="17"/>
                      </a:cubicBezTo>
                      <a:cubicBezTo>
                        <a:pt x="53" y="17"/>
                        <a:pt x="53" y="16"/>
                        <a:pt x="53" y="16"/>
                      </a:cubicBezTo>
                      <a:cubicBezTo>
                        <a:pt x="53" y="16"/>
                        <a:pt x="53" y="15"/>
                        <a:pt x="53" y="15"/>
                      </a:cubicBezTo>
                      <a:cubicBezTo>
                        <a:pt x="52" y="15"/>
                        <a:pt x="52" y="15"/>
                        <a:pt x="52" y="14"/>
                      </a:cubicBezTo>
                      <a:cubicBezTo>
                        <a:pt x="52" y="14"/>
                        <a:pt x="53" y="14"/>
                        <a:pt x="53" y="14"/>
                      </a:cubicBezTo>
                      <a:cubicBezTo>
                        <a:pt x="53" y="14"/>
                        <a:pt x="54" y="14"/>
                        <a:pt x="54" y="14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2"/>
                        <a:pt x="54" y="12"/>
                        <a:pt x="54" y="11"/>
                      </a:cubicBezTo>
                      <a:cubicBezTo>
                        <a:pt x="54" y="11"/>
                        <a:pt x="54" y="10"/>
                        <a:pt x="54" y="10"/>
                      </a:cubicBezTo>
                      <a:cubicBezTo>
                        <a:pt x="54" y="10"/>
                        <a:pt x="54" y="9"/>
                        <a:pt x="54" y="9"/>
                      </a:cubicBezTo>
                      <a:cubicBezTo>
                        <a:pt x="54" y="9"/>
                        <a:pt x="53" y="9"/>
                        <a:pt x="53" y="9"/>
                      </a:cubicBezTo>
                      <a:cubicBezTo>
                        <a:pt x="52" y="9"/>
                        <a:pt x="52" y="9"/>
                        <a:pt x="52" y="8"/>
                      </a:cubicBezTo>
                      <a:cubicBezTo>
                        <a:pt x="52" y="8"/>
                        <a:pt x="52" y="8"/>
                        <a:pt x="53" y="7"/>
                      </a:cubicBezTo>
                      <a:cubicBezTo>
                        <a:pt x="53" y="7"/>
                        <a:pt x="53" y="7"/>
                        <a:pt x="53" y="7"/>
                      </a:cubicBezTo>
                      <a:cubicBezTo>
                        <a:pt x="53" y="7"/>
                        <a:pt x="53" y="6"/>
                        <a:pt x="53" y="6"/>
                      </a:cubicBezTo>
                      <a:cubicBezTo>
                        <a:pt x="53" y="5"/>
                        <a:pt x="52" y="4"/>
                        <a:pt x="51" y="4"/>
                      </a:cubicBezTo>
                      <a:cubicBezTo>
                        <a:pt x="51" y="3"/>
                        <a:pt x="51" y="3"/>
                        <a:pt x="50" y="3"/>
                      </a:cubicBezTo>
                      <a:cubicBezTo>
                        <a:pt x="50" y="3"/>
                        <a:pt x="50" y="3"/>
                        <a:pt x="50" y="4"/>
                      </a:cubicBezTo>
                      <a:cubicBezTo>
                        <a:pt x="49" y="4"/>
                        <a:pt x="49" y="4"/>
                        <a:pt x="49" y="4"/>
                      </a:cubicBezTo>
                      <a:cubicBezTo>
                        <a:pt x="48" y="3"/>
                        <a:pt x="48" y="3"/>
                        <a:pt x="48" y="3"/>
                      </a:cubicBezTo>
                      <a:cubicBezTo>
                        <a:pt x="49" y="2"/>
                        <a:pt x="49" y="2"/>
                        <a:pt x="48" y="2"/>
                      </a:cubicBezTo>
                      <a:cubicBezTo>
                        <a:pt x="48" y="2"/>
                        <a:pt x="48" y="1"/>
                        <a:pt x="48" y="1"/>
                      </a:cubicBezTo>
                      <a:cubicBezTo>
                        <a:pt x="47" y="1"/>
                        <a:pt x="46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4" y="1"/>
                        <a:pt x="44" y="1"/>
                        <a:pt x="44" y="1"/>
                      </a:cubicBezTo>
                      <a:cubicBezTo>
                        <a:pt x="44" y="2"/>
                        <a:pt x="42" y="2"/>
                        <a:pt x="42" y="1"/>
                      </a:cubicBezTo>
                      <a:cubicBezTo>
                        <a:pt x="42" y="1"/>
                        <a:pt x="42" y="1"/>
                        <a:pt x="42" y="0"/>
                      </a:cubicBezTo>
                      <a:cubicBezTo>
                        <a:pt x="42" y="0"/>
                        <a:pt x="41" y="0"/>
                        <a:pt x="41" y="0"/>
                      </a:cubicBezTo>
                      <a:cubicBezTo>
                        <a:pt x="40" y="0"/>
                        <a:pt x="39" y="1"/>
                        <a:pt x="38" y="1"/>
                      </a:cubicBezTo>
                      <a:cubicBezTo>
                        <a:pt x="38" y="1"/>
                        <a:pt x="38" y="2"/>
                        <a:pt x="38" y="2"/>
                      </a:cubicBezTo>
                      <a:cubicBezTo>
                        <a:pt x="38" y="2"/>
                        <a:pt x="38" y="2"/>
                        <a:pt x="38" y="3"/>
                      </a:cubicBezTo>
                      <a:cubicBezTo>
                        <a:pt x="38" y="3"/>
                        <a:pt x="38" y="3"/>
                        <a:pt x="37" y="4"/>
                      </a:cubicBezTo>
                      <a:cubicBezTo>
                        <a:pt x="37" y="4"/>
                        <a:pt x="37" y="4"/>
                        <a:pt x="36" y="4"/>
                      </a:cubicBezTo>
                      <a:cubicBezTo>
                        <a:pt x="36" y="3"/>
                        <a:pt x="36" y="3"/>
                        <a:pt x="36" y="3"/>
                      </a:cubicBezTo>
                      <a:cubicBezTo>
                        <a:pt x="35" y="3"/>
                        <a:pt x="35" y="3"/>
                        <a:pt x="35" y="4"/>
                      </a:cubicBezTo>
                      <a:cubicBezTo>
                        <a:pt x="34" y="4"/>
                        <a:pt x="34" y="5"/>
                        <a:pt x="33" y="6"/>
                      </a:cubicBezTo>
                      <a:cubicBezTo>
                        <a:pt x="33" y="6"/>
                        <a:pt x="33" y="7"/>
                        <a:pt x="33" y="7"/>
                      </a:cubicBezTo>
                      <a:close/>
                      <a:moveTo>
                        <a:pt x="36" y="9"/>
                      </a:moveTo>
                      <a:cubicBezTo>
                        <a:pt x="36" y="8"/>
                        <a:pt x="36" y="7"/>
                        <a:pt x="35" y="6"/>
                      </a:cubicBezTo>
                      <a:cubicBezTo>
                        <a:pt x="35" y="6"/>
                        <a:pt x="36" y="6"/>
                        <a:pt x="36" y="6"/>
                      </a:cubicBezTo>
                      <a:cubicBezTo>
                        <a:pt x="37" y="6"/>
                        <a:pt x="38" y="6"/>
                        <a:pt x="39" y="5"/>
                      </a:cubicBezTo>
                      <a:cubicBezTo>
                        <a:pt x="40" y="5"/>
                        <a:pt x="40" y="4"/>
                        <a:pt x="40" y="3"/>
                      </a:cubicBezTo>
                      <a:cubicBezTo>
                        <a:pt x="40" y="3"/>
                        <a:pt x="40" y="3"/>
                        <a:pt x="41" y="2"/>
                      </a:cubicBezTo>
                      <a:cubicBezTo>
                        <a:pt x="41" y="3"/>
                        <a:pt x="42" y="4"/>
                        <a:pt x="43" y="4"/>
                      </a:cubicBezTo>
                      <a:cubicBezTo>
                        <a:pt x="44" y="4"/>
                        <a:pt x="45" y="3"/>
                        <a:pt x="46" y="2"/>
                      </a:cubicBezTo>
                      <a:cubicBezTo>
                        <a:pt x="46" y="3"/>
                        <a:pt x="46" y="3"/>
                        <a:pt x="46" y="3"/>
                      </a:cubicBezTo>
                      <a:cubicBezTo>
                        <a:pt x="46" y="4"/>
                        <a:pt x="47" y="5"/>
                        <a:pt x="47" y="5"/>
                      </a:cubicBezTo>
                      <a:cubicBezTo>
                        <a:pt x="48" y="6"/>
                        <a:pt x="49" y="6"/>
                        <a:pt x="50" y="6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50" y="7"/>
                        <a:pt x="50" y="8"/>
                        <a:pt x="50" y="9"/>
                      </a:cubicBezTo>
                      <a:cubicBezTo>
                        <a:pt x="50" y="10"/>
                        <a:pt x="51" y="11"/>
                        <a:pt x="52" y="11"/>
                      </a:cubicBezTo>
                      <a:cubicBezTo>
                        <a:pt x="52" y="11"/>
                        <a:pt x="52" y="11"/>
                        <a:pt x="52" y="11"/>
                      </a:cubicBezTo>
                      <a:cubicBezTo>
                        <a:pt x="52" y="12"/>
                        <a:pt x="52" y="12"/>
                        <a:pt x="52" y="12"/>
                      </a:cubicBezTo>
                      <a:cubicBezTo>
                        <a:pt x="51" y="12"/>
                        <a:pt x="50" y="13"/>
                        <a:pt x="50" y="14"/>
                      </a:cubicBezTo>
                      <a:cubicBezTo>
                        <a:pt x="50" y="15"/>
                        <a:pt x="50" y="16"/>
                        <a:pt x="51" y="17"/>
                      </a:cubicBezTo>
                      <a:cubicBezTo>
                        <a:pt x="51" y="17"/>
                        <a:pt x="51" y="17"/>
                        <a:pt x="50" y="17"/>
                      </a:cubicBezTo>
                      <a:cubicBezTo>
                        <a:pt x="49" y="17"/>
                        <a:pt x="48" y="17"/>
                        <a:pt x="47" y="17"/>
                      </a:cubicBezTo>
                      <a:cubicBezTo>
                        <a:pt x="47" y="18"/>
                        <a:pt x="46" y="19"/>
                        <a:pt x="46" y="20"/>
                      </a:cubicBezTo>
                      <a:cubicBezTo>
                        <a:pt x="46" y="20"/>
                        <a:pt x="46" y="20"/>
                        <a:pt x="46" y="20"/>
                      </a:cubicBezTo>
                      <a:cubicBezTo>
                        <a:pt x="45" y="19"/>
                        <a:pt x="44" y="19"/>
                        <a:pt x="43" y="19"/>
                      </a:cubicBezTo>
                      <a:cubicBezTo>
                        <a:pt x="42" y="19"/>
                        <a:pt x="41" y="19"/>
                        <a:pt x="41" y="20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40" y="19"/>
                        <a:pt x="40" y="18"/>
                        <a:pt x="39" y="17"/>
                      </a:cubicBezTo>
                      <a:cubicBezTo>
                        <a:pt x="38" y="17"/>
                        <a:pt x="37" y="17"/>
                        <a:pt x="36" y="17"/>
                      </a:cubicBezTo>
                      <a:cubicBezTo>
                        <a:pt x="36" y="17"/>
                        <a:pt x="35" y="17"/>
                        <a:pt x="35" y="17"/>
                      </a:cubicBezTo>
                      <a:cubicBezTo>
                        <a:pt x="36" y="16"/>
                        <a:pt x="36" y="15"/>
                        <a:pt x="36" y="14"/>
                      </a:cubicBezTo>
                      <a:cubicBezTo>
                        <a:pt x="36" y="13"/>
                        <a:pt x="35" y="12"/>
                        <a:pt x="34" y="12"/>
                      </a:cubicBezTo>
                      <a:cubicBezTo>
                        <a:pt x="34" y="12"/>
                        <a:pt x="34" y="12"/>
                        <a:pt x="34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5" y="11"/>
                        <a:pt x="36" y="10"/>
                        <a:pt x="36" y="9"/>
                      </a:cubicBezTo>
                      <a:close/>
                      <a:moveTo>
                        <a:pt x="55" y="30"/>
                      </a:moveTo>
                      <a:cubicBezTo>
                        <a:pt x="45" y="30"/>
                        <a:pt x="37" y="38"/>
                        <a:pt x="37" y="47"/>
                      </a:cubicBezTo>
                      <a:cubicBezTo>
                        <a:pt x="37" y="57"/>
                        <a:pt x="45" y="65"/>
                        <a:pt x="55" y="65"/>
                      </a:cubicBezTo>
                      <a:cubicBezTo>
                        <a:pt x="65" y="65"/>
                        <a:pt x="73" y="57"/>
                        <a:pt x="73" y="47"/>
                      </a:cubicBezTo>
                      <a:cubicBezTo>
                        <a:pt x="73" y="38"/>
                        <a:pt x="65" y="30"/>
                        <a:pt x="55" y="30"/>
                      </a:cubicBezTo>
                      <a:close/>
                      <a:moveTo>
                        <a:pt x="55" y="63"/>
                      </a:moveTo>
                      <a:cubicBezTo>
                        <a:pt x="46" y="63"/>
                        <a:pt x="39" y="56"/>
                        <a:pt x="39" y="47"/>
                      </a:cubicBezTo>
                      <a:cubicBezTo>
                        <a:pt x="39" y="39"/>
                        <a:pt x="46" y="32"/>
                        <a:pt x="55" y="32"/>
                      </a:cubicBezTo>
                      <a:cubicBezTo>
                        <a:pt x="64" y="32"/>
                        <a:pt x="71" y="39"/>
                        <a:pt x="71" y="47"/>
                      </a:cubicBezTo>
                      <a:cubicBezTo>
                        <a:pt x="71" y="56"/>
                        <a:pt x="64" y="63"/>
                        <a:pt x="55" y="63"/>
                      </a:cubicBezTo>
                      <a:close/>
                      <a:moveTo>
                        <a:pt x="43" y="17"/>
                      </a:moveTo>
                      <a:cubicBezTo>
                        <a:pt x="46" y="17"/>
                        <a:pt x="49" y="15"/>
                        <a:pt x="49" y="11"/>
                      </a:cubicBezTo>
                      <a:cubicBezTo>
                        <a:pt x="49" y="8"/>
                        <a:pt x="46" y="5"/>
                        <a:pt x="43" y="5"/>
                      </a:cubicBezTo>
                      <a:cubicBezTo>
                        <a:pt x="40" y="5"/>
                        <a:pt x="37" y="8"/>
                        <a:pt x="37" y="11"/>
                      </a:cubicBezTo>
                      <a:cubicBezTo>
                        <a:pt x="37" y="15"/>
                        <a:pt x="40" y="17"/>
                        <a:pt x="43" y="17"/>
                      </a:cubicBezTo>
                      <a:close/>
                      <a:moveTo>
                        <a:pt x="43" y="7"/>
                      </a:moveTo>
                      <a:cubicBezTo>
                        <a:pt x="45" y="7"/>
                        <a:pt x="47" y="9"/>
                        <a:pt x="47" y="11"/>
                      </a:cubicBezTo>
                      <a:cubicBezTo>
                        <a:pt x="47" y="14"/>
                        <a:pt x="45" y="15"/>
                        <a:pt x="43" y="15"/>
                      </a:cubicBezTo>
                      <a:cubicBezTo>
                        <a:pt x="41" y="15"/>
                        <a:pt x="39" y="14"/>
                        <a:pt x="39" y="11"/>
                      </a:cubicBezTo>
                      <a:cubicBezTo>
                        <a:pt x="39" y="9"/>
                        <a:pt x="41" y="7"/>
                        <a:pt x="43" y="7"/>
                      </a:cubicBezTo>
                      <a:close/>
                      <a:moveTo>
                        <a:pt x="66" y="40"/>
                      </a:moveTo>
                      <a:cubicBezTo>
                        <a:pt x="66" y="41"/>
                        <a:pt x="66" y="42"/>
                        <a:pt x="66" y="43"/>
                      </a:cubicBezTo>
                      <a:cubicBezTo>
                        <a:pt x="54" y="54"/>
                        <a:pt x="54" y="54"/>
                        <a:pt x="54" y="54"/>
                      </a:cubicBezTo>
                      <a:cubicBezTo>
                        <a:pt x="53" y="55"/>
                        <a:pt x="53" y="55"/>
                        <a:pt x="53" y="55"/>
                      </a:cubicBezTo>
                      <a:cubicBezTo>
                        <a:pt x="52" y="55"/>
                        <a:pt x="52" y="55"/>
                        <a:pt x="52" y="54"/>
                      </a:cubicBezTo>
                      <a:cubicBezTo>
                        <a:pt x="45" y="47"/>
                        <a:pt x="45" y="47"/>
                        <a:pt x="45" y="47"/>
                      </a:cubicBezTo>
                      <a:cubicBezTo>
                        <a:pt x="44" y="47"/>
                        <a:pt x="44" y="46"/>
                        <a:pt x="45" y="45"/>
                      </a:cubicBezTo>
                      <a:cubicBezTo>
                        <a:pt x="45" y="45"/>
                        <a:pt x="46" y="45"/>
                        <a:pt x="47" y="45"/>
                      </a:cubicBezTo>
                      <a:cubicBezTo>
                        <a:pt x="53" y="51"/>
                        <a:pt x="53" y="51"/>
                        <a:pt x="53" y="5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4" y="40"/>
                        <a:pt x="65" y="40"/>
                        <a:pt x="66" y="40"/>
                      </a:cubicBezTo>
                      <a:close/>
                      <a:moveTo>
                        <a:pt x="27" y="35"/>
                      </a:moveTo>
                      <a:cubicBezTo>
                        <a:pt x="27" y="29"/>
                        <a:pt x="23" y="25"/>
                        <a:pt x="18" y="25"/>
                      </a:cubicBezTo>
                      <a:cubicBezTo>
                        <a:pt x="12" y="25"/>
                        <a:pt x="8" y="29"/>
                        <a:pt x="8" y="35"/>
                      </a:cubicBezTo>
                      <a:cubicBezTo>
                        <a:pt x="8" y="40"/>
                        <a:pt x="12" y="44"/>
                        <a:pt x="18" y="44"/>
                      </a:cubicBezTo>
                      <a:cubicBezTo>
                        <a:pt x="23" y="44"/>
                        <a:pt x="27" y="40"/>
                        <a:pt x="27" y="35"/>
                      </a:cubicBezTo>
                      <a:close/>
                      <a:moveTo>
                        <a:pt x="18" y="42"/>
                      </a:moveTo>
                      <a:cubicBezTo>
                        <a:pt x="14" y="42"/>
                        <a:pt x="10" y="39"/>
                        <a:pt x="10" y="35"/>
                      </a:cubicBezTo>
                      <a:cubicBezTo>
                        <a:pt x="10" y="31"/>
                        <a:pt x="14" y="27"/>
                        <a:pt x="18" y="27"/>
                      </a:cubicBezTo>
                      <a:cubicBezTo>
                        <a:pt x="22" y="27"/>
                        <a:pt x="25" y="31"/>
                        <a:pt x="25" y="35"/>
                      </a:cubicBezTo>
                      <a:cubicBezTo>
                        <a:pt x="25" y="39"/>
                        <a:pt x="22" y="42"/>
                        <a:pt x="18" y="42"/>
                      </a:cubicBezTo>
                      <a:close/>
                      <a:moveTo>
                        <a:pt x="21" y="35"/>
                      </a:moveTo>
                      <a:cubicBezTo>
                        <a:pt x="21" y="37"/>
                        <a:pt x="20" y="38"/>
                        <a:pt x="18" y="38"/>
                      </a:cubicBezTo>
                      <a:cubicBezTo>
                        <a:pt x="16" y="38"/>
                        <a:pt x="14" y="37"/>
                        <a:pt x="14" y="35"/>
                      </a:cubicBezTo>
                      <a:cubicBezTo>
                        <a:pt x="14" y="33"/>
                        <a:pt x="16" y="31"/>
                        <a:pt x="18" y="31"/>
                      </a:cubicBezTo>
                      <a:cubicBezTo>
                        <a:pt x="20" y="31"/>
                        <a:pt x="21" y="33"/>
                        <a:pt x="21" y="35"/>
                      </a:cubicBezTo>
                      <a:close/>
                      <a:moveTo>
                        <a:pt x="56" y="13"/>
                      </a:moveTo>
                      <a:cubicBezTo>
                        <a:pt x="56" y="13"/>
                        <a:pt x="56" y="12"/>
                        <a:pt x="56" y="11"/>
                      </a:cubicBezTo>
                      <a:cubicBezTo>
                        <a:pt x="56" y="11"/>
                        <a:pt x="56" y="10"/>
                        <a:pt x="56" y="10"/>
                      </a:cubicBezTo>
                      <a:cubicBezTo>
                        <a:pt x="56" y="10"/>
                        <a:pt x="56" y="10"/>
                        <a:pt x="56" y="10"/>
                      </a:cubicBezTo>
                      <a:cubicBezTo>
                        <a:pt x="62" y="15"/>
                        <a:pt x="66" y="23"/>
                        <a:pt x="67" y="32"/>
                      </a:cubicBezTo>
                      <a:cubicBezTo>
                        <a:pt x="66" y="31"/>
                        <a:pt x="65" y="31"/>
                        <a:pt x="63" y="30"/>
                      </a:cubicBezTo>
                      <a:cubicBezTo>
                        <a:pt x="63" y="24"/>
                        <a:pt x="60" y="18"/>
                        <a:pt x="56" y="14"/>
                      </a:cubicBezTo>
                      <a:cubicBezTo>
                        <a:pt x="56" y="13"/>
                        <a:pt x="56" y="13"/>
                        <a:pt x="56" y="13"/>
                      </a:cubicBezTo>
                      <a:close/>
                      <a:moveTo>
                        <a:pt x="14" y="16"/>
                      </a:moveTo>
                      <a:cubicBezTo>
                        <a:pt x="13" y="16"/>
                        <a:pt x="12" y="16"/>
                        <a:pt x="11" y="17"/>
                      </a:cubicBezTo>
                      <a:cubicBezTo>
                        <a:pt x="16" y="9"/>
                        <a:pt x="24" y="4"/>
                        <a:pt x="34" y="3"/>
                      </a:cubicBezTo>
                      <a:cubicBezTo>
                        <a:pt x="33" y="4"/>
                        <a:pt x="32" y="4"/>
                        <a:pt x="32" y="5"/>
                      </a:cubicBezTo>
                      <a:cubicBezTo>
                        <a:pt x="32" y="6"/>
                        <a:pt x="32" y="6"/>
                        <a:pt x="31" y="6"/>
                      </a:cubicBezTo>
                      <a:cubicBezTo>
                        <a:pt x="25" y="7"/>
                        <a:pt x="19" y="11"/>
                        <a:pt x="16" y="16"/>
                      </a:cubicBezTo>
                      <a:cubicBezTo>
                        <a:pt x="15" y="16"/>
                        <a:pt x="15" y="16"/>
                        <a:pt x="15" y="16"/>
                      </a:cubicBezTo>
                      <a:lnTo>
                        <a:pt x="14" y="16"/>
                      </a:lnTo>
                      <a:close/>
                      <a:moveTo>
                        <a:pt x="40" y="59"/>
                      </a:moveTo>
                      <a:cubicBezTo>
                        <a:pt x="41" y="60"/>
                        <a:pt x="42" y="61"/>
                        <a:pt x="43" y="62"/>
                      </a:cubicBezTo>
                      <a:cubicBezTo>
                        <a:pt x="41" y="63"/>
                        <a:pt x="39" y="63"/>
                        <a:pt x="37" y="63"/>
                      </a:cubicBezTo>
                      <a:cubicBezTo>
                        <a:pt x="28" y="63"/>
                        <a:pt x="20" y="59"/>
                        <a:pt x="15" y="53"/>
                      </a:cubicBezTo>
                      <a:cubicBezTo>
                        <a:pt x="15" y="53"/>
                        <a:pt x="15" y="53"/>
                        <a:pt x="15" y="53"/>
                      </a:cubicBezTo>
                      <a:cubicBezTo>
                        <a:pt x="15" y="53"/>
                        <a:pt x="16" y="53"/>
                        <a:pt x="16" y="53"/>
                      </a:cubicBezTo>
                      <a:cubicBezTo>
                        <a:pt x="17" y="53"/>
                        <a:pt x="17" y="52"/>
                        <a:pt x="17" y="52"/>
                      </a:cubicBezTo>
                      <a:cubicBezTo>
                        <a:pt x="22" y="57"/>
                        <a:pt x="29" y="60"/>
                        <a:pt x="37" y="60"/>
                      </a:cubicBezTo>
                      <a:cubicBezTo>
                        <a:pt x="38" y="60"/>
                        <a:pt x="39" y="60"/>
                        <a:pt x="40" y="5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74710EC8-4065-4158-BAC4-29AECA6F9F1D}"/>
                    </a:ext>
                  </a:extLst>
                </p:cNvPr>
                <p:cNvSpPr/>
                <p:nvPr/>
              </p:nvSpPr>
              <p:spPr bwMode="auto">
                <a:xfrm>
                  <a:off x="4600515" y="1769890"/>
                  <a:ext cx="500212" cy="544026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84D76EE7-CD14-4FAD-8675-8352D96B7592}"/>
                    </a:ext>
                  </a:extLst>
                </p:cNvPr>
                <p:cNvSpPr/>
                <p:nvPr/>
              </p:nvSpPr>
              <p:spPr bwMode="auto">
                <a:xfrm>
                  <a:off x="6563833" y="2615863"/>
                  <a:ext cx="323954" cy="377948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A7DEEC84-9123-4761-B91F-BE8D699EECAF}"/>
                    </a:ext>
                  </a:extLst>
                </p:cNvPr>
                <p:cNvSpPr/>
                <p:nvPr/>
              </p:nvSpPr>
              <p:spPr bwMode="auto">
                <a:xfrm>
                  <a:off x="5208936" y="3112888"/>
                  <a:ext cx="226136" cy="226138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4 w 35"/>
                    <a:gd name="T21" fmla="*/ 12 h 35"/>
                    <a:gd name="T22" fmla="*/ 19 w 35"/>
                    <a:gd name="T23" fmla="*/ 18 h 35"/>
                    <a:gd name="T24" fmla="*/ 24 w 35"/>
                    <a:gd name="T25" fmla="*/ 23 h 35"/>
                    <a:gd name="T26" fmla="*/ 24 w 35"/>
                    <a:gd name="T27" fmla="*/ 24 h 35"/>
                    <a:gd name="T28" fmla="*/ 24 w 35"/>
                    <a:gd name="T29" fmla="*/ 25 h 35"/>
                    <a:gd name="T30" fmla="*/ 23 w 35"/>
                    <a:gd name="T31" fmla="*/ 24 h 35"/>
                    <a:gd name="T32" fmla="*/ 18 w 35"/>
                    <a:gd name="T33" fmla="*/ 19 h 35"/>
                    <a:gd name="T34" fmla="*/ 12 w 35"/>
                    <a:gd name="T35" fmla="*/ 24 h 35"/>
                    <a:gd name="T36" fmla="*/ 12 w 35"/>
                    <a:gd name="T37" fmla="*/ 25 h 35"/>
                    <a:gd name="T38" fmla="*/ 11 w 35"/>
                    <a:gd name="T39" fmla="*/ 24 h 35"/>
                    <a:gd name="T40" fmla="*/ 11 w 35"/>
                    <a:gd name="T41" fmla="*/ 23 h 35"/>
                    <a:gd name="T42" fmla="*/ 16 w 35"/>
                    <a:gd name="T43" fmla="*/ 18 h 35"/>
                    <a:gd name="T44" fmla="*/ 11 w 35"/>
                    <a:gd name="T45" fmla="*/ 12 h 35"/>
                    <a:gd name="T46" fmla="*/ 11 w 35"/>
                    <a:gd name="T47" fmla="*/ 11 h 35"/>
                    <a:gd name="T48" fmla="*/ 12 w 35"/>
                    <a:gd name="T49" fmla="*/ 11 h 35"/>
                    <a:gd name="T50" fmla="*/ 18 w 35"/>
                    <a:gd name="T51" fmla="*/ 16 h 35"/>
                    <a:gd name="T52" fmla="*/ 23 w 35"/>
                    <a:gd name="T53" fmla="*/ 11 h 35"/>
                    <a:gd name="T54" fmla="*/ 24 w 35"/>
                    <a:gd name="T55" fmla="*/ 11 h 35"/>
                    <a:gd name="T56" fmla="*/ 24 w 35"/>
                    <a:gd name="T57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7" y="35"/>
                        <a:pt x="35" y="27"/>
                        <a:pt x="35" y="18"/>
                      </a:cubicBezTo>
                      <a:cubicBezTo>
                        <a:pt x="35" y="8"/>
                        <a:pt x="27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4" y="12"/>
                      </a:moveTo>
                      <a:cubicBezTo>
                        <a:pt x="19" y="18"/>
                        <a:pt x="19" y="18"/>
                        <a:pt x="19" y="18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5" y="23"/>
                        <a:pt x="25" y="24"/>
                        <a:pt x="24" y="24"/>
                      </a:cubicBezTo>
                      <a:cubicBezTo>
                        <a:pt x="24" y="24"/>
                        <a:pt x="24" y="25"/>
                        <a:pt x="24" y="25"/>
                      </a:cubicBezTo>
                      <a:cubicBezTo>
                        <a:pt x="23" y="25"/>
                        <a:pt x="23" y="24"/>
                        <a:pt x="23" y="24"/>
                      </a:cubicBezTo>
                      <a:cubicBezTo>
                        <a:pt x="18" y="19"/>
                        <a:pt x="18" y="19"/>
                        <a:pt x="18" y="19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24"/>
                        <a:pt x="12" y="25"/>
                        <a:pt x="12" y="25"/>
                      </a:cubicBezTo>
                      <a:cubicBezTo>
                        <a:pt x="11" y="25"/>
                        <a:pt x="11" y="24"/>
                        <a:pt x="11" y="24"/>
                      </a:cubicBezTo>
                      <a:cubicBezTo>
                        <a:pt x="11" y="24"/>
                        <a:pt x="11" y="23"/>
                        <a:pt x="11" y="23"/>
                      </a:cubicBezTo>
                      <a:cubicBezTo>
                        <a:pt x="16" y="18"/>
                        <a:pt x="16" y="18"/>
                        <a:pt x="16" y="18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1" y="12"/>
                        <a:pt x="11" y="11"/>
                        <a:pt x="11" y="11"/>
                      </a:cubicBezTo>
                      <a:cubicBezTo>
                        <a:pt x="11" y="10"/>
                        <a:pt x="12" y="10"/>
                        <a:pt x="12" y="11"/>
                      </a:cubicBezTo>
                      <a:cubicBezTo>
                        <a:pt x="18" y="16"/>
                        <a:pt x="18" y="16"/>
                        <a:pt x="18" y="16"/>
                      </a:cubicBezTo>
                      <a:cubicBezTo>
                        <a:pt x="23" y="11"/>
                        <a:pt x="23" y="11"/>
                        <a:pt x="23" y="11"/>
                      </a:cubicBezTo>
                      <a:cubicBezTo>
                        <a:pt x="23" y="10"/>
                        <a:pt x="24" y="10"/>
                        <a:pt x="24" y="11"/>
                      </a:cubicBezTo>
                      <a:cubicBezTo>
                        <a:pt x="25" y="11"/>
                        <a:pt x="25" y="12"/>
                        <a:pt x="24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5DB1376B-AEF7-4CA0-ACA7-63558036AB1C}"/>
                    </a:ext>
                  </a:extLst>
                </p:cNvPr>
                <p:cNvSpPr/>
                <p:nvPr/>
              </p:nvSpPr>
              <p:spPr bwMode="auto">
                <a:xfrm>
                  <a:off x="6157171" y="3367823"/>
                  <a:ext cx="387874" cy="387877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02155E7F-E33E-476D-83FB-CD12C4878659}"/>
                    </a:ext>
                  </a:extLst>
                </p:cNvPr>
                <p:cNvSpPr/>
                <p:nvPr/>
              </p:nvSpPr>
              <p:spPr bwMode="auto">
                <a:xfrm>
                  <a:off x="7485542" y="2010159"/>
                  <a:ext cx="273569" cy="273571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5BBAAA9A-214D-4387-9A12-4EF42033E830}"/>
                    </a:ext>
                  </a:extLst>
                </p:cNvPr>
                <p:cNvSpPr/>
                <p:nvPr/>
              </p:nvSpPr>
              <p:spPr bwMode="auto">
                <a:xfrm>
                  <a:off x="4188219" y="1601287"/>
                  <a:ext cx="497198" cy="415306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5" name="任意多边形: 形状 104">
                  <a:extLst>
                    <a:ext uri="{FF2B5EF4-FFF2-40B4-BE49-F238E27FC236}">
                      <a16:creationId xmlns:a16="http://schemas.microsoft.com/office/drawing/2014/main" id="{CF155661-E559-4CE3-98CC-9D2AFC92925E}"/>
                    </a:ext>
                  </a:extLst>
                </p:cNvPr>
                <p:cNvSpPr/>
                <p:nvPr/>
              </p:nvSpPr>
              <p:spPr bwMode="auto">
                <a:xfrm>
                  <a:off x="7879003" y="4405910"/>
                  <a:ext cx="383180" cy="361652"/>
                </a:xfrm>
                <a:custGeom>
                  <a:avLst/>
                  <a:gdLst>
                    <a:gd name="T0" fmla="*/ 13 w 75"/>
                    <a:gd name="T1" fmla="*/ 41 h 71"/>
                    <a:gd name="T2" fmla="*/ 13 w 75"/>
                    <a:gd name="T3" fmla="*/ 35 h 71"/>
                    <a:gd name="T4" fmla="*/ 65 w 75"/>
                    <a:gd name="T5" fmla="*/ 12 h 71"/>
                    <a:gd name="T6" fmla="*/ 36 w 75"/>
                    <a:gd name="T7" fmla="*/ 13 h 71"/>
                    <a:gd name="T8" fmla="*/ 65 w 75"/>
                    <a:gd name="T9" fmla="*/ 14 h 71"/>
                    <a:gd name="T10" fmla="*/ 65 w 75"/>
                    <a:gd name="T11" fmla="*/ 12 h 71"/>
                    <a:gd name="T12" fmla="*/ 22 w 75"/>
                    <a:gd name="T13" fmla="*/ 38 h 71"/>
                    <a:gd name="T14" fmla="*/ 27 w 75"/>
                    <a:gd name="T15" fmla="*/ 38 h 71"/>
                    <a:gd name="T16" fmla="*/ 36 w 75"/>
                    <a:gd name="T17" fmla="*/ 35 h 71"/>
                    <a:gd name="T18" fmla="*/ 36 w 75"/>
                    <a:gd name="T19" fmla="*/ 41 h 71"/>
                    <a:gd name="T20" fmla="*/ 36 w 75"/>
                    <a:gd name="T21" fmla="*/ 35 h 71"/>
                    <a:gd name="T22" fmla="*/ 75 w 75"/>
                    <a:gd name="T23" fmla="*/ 36 h 71"/>
                    <a:gd name="T24" fmla="*/ 67 w 75"/>
                    <a:gd name="T25" fmla="*/ 42 h 71"/>
                    <a:gd name="T26" fmla="*/ 71 w 75"/>
                    <a:gd name="T27" fmla="*/ 52 h 71"/>
                    <a:gd name="T28" fmla="*/ 67 w 75"/>
                    <a:gd name="T29" fmla="*/ 53 h 71"/>
                    <a:gd name="T30" fmla="*/ 49 w 75"/>
                    <a:gd name="T31" fmla="*/ 42 h 71"/>
                    <a:gd name="T32" fmla="*/ 43 w 75"/>
                    <a:gd name="T33" fmla="*/ 59 h 71"/>
                    <a:gd name="T34" fmla="*/ 8 w 75"/>
                    <a:gd name="T35" fmla="*/ 70 h 71"/>
                    <a:gd name="T36" fmla="*/ 6 w 75"/>
                    <a:gd name="T37" fmla="*/ 70 h 71"/>
                    <a:gd name="T38" fmla="*/ 9 w 75"/>
                    <a:gd name="T39" fmla="*/ 59 h 71"/>
                    <a:gd name="T40" fmla="*/ 0 w 75"/>
                    <a:gd name="T41" fmla="*/ 53 h 71"/>
                    <a:gd name="T42" fmla="*/ 6 w 75"/>
                    <a:gd name="T43" fmla="*/ 17 h 71"/>
                    <a:gd name="T44" fmla="*/ 26 w 75"/>
                    <a:gd name="T45" fmla="*/ 6 h 71"/>
                    <a:gd name="T46" fmla="*/ 69 w 75"/>
                    <a:gd name="T47" fmla="*/ 0 h 71"/>
                    <a:gd name="T48" fmla="*/ 72 w 75"/>
                    <a:gd name="T49" fmla="*/ 36 h 71"/>
                    <a:gd name="T50" fmla="*/ 69 w 75"/>
                    <a:gd name="T51" fmla="*/ 3 h 71"/>
                    <a:gd name="T52" fmla="*/ 29 w 75"/>
                    <a:gd name="T53" fmla="*/ 6 h 71"/>
                    <a:gd name="T54" fmla="*/ 43 w 75"/>
                    <a:gd name="T55" fmla="*/ 18 h 71"/>
                    <a:gd name="T56" fmla="*/ 48 w 75"/>
                    <a:gd name="T57" fmla="*/ 21 h 71"/>
                    <a:gd name="T58" fmla="*/ 66 w 75"/>
                    <a:gd name="T59" fmla="*/ 22 h 71"/>
                    <a:gd name="T60" fmla="*/ 48 w 75"/>
                    <a:gd name="T61" fmla="*/ 23 h 71"/>
                    <a:gd name="T62" fmla="*/ 65 w 75"/>
                    <a:gd name="T63" fmla="*/ 30 h 71"/>
                    <a:gd name="T64" fmla="*/ 65 w 75"/>
                    <a:gd name="T65" fmla="*/ 32 h 71"/>
                    <a:gd name="T66" fmla="*/ 48 w 75"/>
                    <a:gd name="T67" fmla="*/ 39 h 71"/>
                    <a:gd name="T68" fmla="*/ 56 w 75"/>
                    <a:gd name="T69" fmla="*/ 39 h 71"/>
                    <a:gd name="T70" fmla="*/ 63 w 75"/>
                    <a:gd name="T71" fmla="*/ 41 h 71"/>
                    <a:gd name="T72" fmla="*/ 64 w 75"/>
                    <a:gd name="T73" fmla="*/ 39 h 71"/>
                    <a:gd name="T74" fmla="*/ 72 w 75"/>
                    <a:gd name="T75" fmla="*/ 36 h 71"/>
                    <a:gd name="T76" fmla="*/ 46 w 75"/>
                    <a:gd name="T77" fmla="*/ 23 h 71"/>
                    <a:gd name="T78" fmla="*/ 6 w 75"/>
                    <a:gd name="T79" fmla="*/ 20 h 71"/>
                    <a:gd name="T80" fmla="*/ 3 w 75"/>
                    <a:gd name="T81" fmla="*/ 53 h 71"/>
                    <a:gd name="T82" fmla="*/ 12 w 75"/>
                    <a:gd name="T83" fmla="*/ 56 h 71"/>
                    <a:gd name="T84" fmla="*/ 13 w 75"/>
                    <a:gd name="T85" fmla="*/ 57 h 71"/>
                    <a:gd name="T86" fmla="*/ 20 w 75"/>
                    <a:gd name="T87" fmla="*/ 56 h 71"/>
                    <a:gd name="T88" fmla="*/ 43 w 75"/>
                    <a:gd name="T89" fmla="*/ 56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5" h="71">
                      <a:moveTo>
                        <a:pt x="16" y="38"/>
                      </a:moveTo>
                      <a:cubicBezTo>
                        <a:pt x="16" y="40"/>
                        <a:pt x="15" y="41"/>
                        <a:pt x="13" y="41"/>
                      </a:cubicBezTo>
                      <a:cubicBezTo>
                        <a:pt x="12" y="41"/>
                        <a:pt x="10" y="40"/>
                        <a:pt x="10" y="38"/>
                      </a:cubicBezTo>
                      <a:cubicBezTo>
                        <a:pt x="10" y="37"/>
                        <a:pt x="12" y="35"/>
                        <a:pt x="13" y="35"/>
                      </a:cubicBezTo>
                      <a:cubicBezTo>
                        <a:pt x="15" y="35"/>
                        <a:pt x="16" y="37"/>
                        <a:pt x="16" y="38"/>
                      </a:cubicBezTo>
                      <a:close/>
                      <a:moveTo>
                        <a:pt x="65" y="12"/>
                      </a:moveTo>
                      <a:cubicBezTo>
                        <a:pt x="37" y="12"/>
                        <a:pt x="37" y="12"/>
                        <a:pt x="37" y="12"/>
                      </a:cubicBezTo>
                      <a:cubicBezTo>
                        <a:pt x="36" y="12"/>
                        <a:pt x="36" y="12"/>
                        <a:pt x="36" y="13"/>
                      </a:cubicBezTo>
                      <a:cubicBezTo>
                        <a:pt x="36" y="14"/>
                        <a:pt x="36" y="14"/>
                        <a:pt x="37" y="14"/>
                      </a:cubicBezTo>
                      <a:cubicBezTo>
                        <a:pt x="65" y="14"/>
                        <a:pt x="65" y="14"/>
                        <a:pt x="65" y="14"/>
                      </a:cubicBezTo>
                      <a:cubicBezTo>
                        <a:pt x="65" y="14"/>
                        <a:pt x="66" y="14"/>
                        <a:pt x="66" y="13"/>
                      </a:cubicBezTo>
                      <a:cubicBezTo>
                        <a:pt x="66" y="12"/>
                        <a:pt x="65" y="12"/>
                        <a:pt x="65" y="12"/>
                      </a:cubicBezTo>
                      <a:close/>
                      <a:moveTo>
                        <a:pt x="24" y="35"/>
                      </a:moveTo>
                      <a:cubicBezTo>
                        <a:pt x="23" y="35"/>
                        <a:pt x="22" y="37"/>
                        <a:pt x="22" y="38"/>
                      </a:cubicBezTo>
                      <a:cubicBezTo>
                        <a:pt x="22" y="40"/>
                        <a:pt x="23" y="41"/>
                        <a:pt x="24" y="41"/>
                      </a:cubicBezTo>
                      <a:cubicBezTo>
                        <a:pt x="26" y="41"/>
                        <a:pt x="27" y="40"/>
                        <a:pt x="27" y="38"/>
                      </a:cubicBezTo>
                      <a:cubicBezTo>
                        <a:pt x="27" y="37"/>
                        <a:pt x="26" y="35"/>
                        <a:pt x="24" y="35"/>
                      </a:cubicBezTo>
                      <a:close/>
                      <a:moveTo>
                        <a:pt x="36" y="35"/>
                      </a:moveTo>
                      <a:cubicBezTo>
                        <a:pt x="34" y="35"/>
                        <a:pt x="33" y="37"/>
                        <a:pt x="33" y="38"/>
                      </a:cubicBezTo>
                      <a:cubicBezTo>
                        <a:pt x="33" y="40"/>
                        <a:pt x="34" y="41"/>
                        <a:pt x="36" y="41"/>
                      </a:cubicBezTo>
                      <a:cubicBezTo>
                        <a:pt x="37" y="41"/>
                        <a:pt x="39" y="40"/>
                        <a:pt x="39" y="38"/>
                      </a:cubicBezTo>
                      <a:cubicBezTo>
                        <a:pt x="39" y="37"/>
                        <a:pt x="37" y="35"/>
                        <a:pt x="36" y="35"/>
                      </a:cubicBezTo>
                      <a:close/>
                      <a:moveTo>
                        <a:pt x="75" y="6"/>
                      </a:moveTo>
                      <a:cubicBezTo>
                        <a:pt x="75" y="36"/>
                        <a:pt x="75" y="36"/>
                        <a:pt x="75" y="36"/>
                      </a:cubicBezTo>
                      <a:cubicBezTo>
                        <a:pt x="75" y="40"/>
                        <a:pt x="73" y="42"/>
                        <a:pt x="69" y="42"/>
                      </a:cubicBezTo>
                      <a:cubicBezTo>
                        <a:pt x="67" y="42"/>
                        <a:pt x="67" y="42"/>
                        <a:pt x="67" y="42"/>
                      </a:cubicBezTo>
                      <a:cubicBezTo>
                        <a:pt x="70" y="51"/>
                        <a:pt x="70" y="51"/>
                        <a:pt x="70" y="51"/>
                      </a:cubicBezTo>
                      <a:cubicBezTo>
                        <a:pt x="70" y="51"/>
                        <a:pt x="71" y="52"/>
                        <a:pt x="71" y="52"/>
                      </a:cubicBezTo>
                      <a:cubicBezTo>
                        <a:pt x="71" y="53"/>
                        <a:pt x="70" y="54"/>
                        <a:pt x="69" y="54"/>
                      </a:cubicBezTo>
                      <a:cubicBezTo>
                        <a:pt x="68" y="54"/>
                        <a:pt x="68" y="54"/>
                        <a:pt x="67" y="53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53"/>
                        <a:pt x="49" y="53"/>
                        <a:pt x="49" y="53"/>
                      </a:cubicBezTo>
                      <a:cubicBezTo>
                        <a:pt x="49" y="56"/>
                        <a:pt x="46" y="59"/>
                        <a:pt x="43" y="59"/>
                      </a:cubicBezTo>
                      <a:cubicBezTo>
                        <a:pt x="21" y="59"/>
                        <a:pt x="21" y="59"/>
                        <a:pt x="21" y="59"/>
                      </a:cubicBezTo>
                      <a:cubicBezTo>
                        <a:pt x="8" y="70"/>
                        <a:pt x="8" y="70"/>
                        <a:pt x="8" y="70"/>
                      </a:cubicBezTo>
                      <a:cubicBezTo>
                        <a:pt x="8" y="70"/>
                        <a:pt x="7" y="71"/>
                        <a:pt x="7" y="71"/>
                      </a:cubicBezTo>
                      <a:cubicBezTo>
                        <a:pt x="7" y="71"/>
                        <a:pt x="6" y="71"/>
                        <a:pt x="6" y="70"/>
                      </a:cubicBezTo>
                      <a:cubicBezTo>
                        <a:pt x="5" y="70"/>
                        <a:pt x="5" y="69"/>
                        <a:pt x="5" y="68"/>
                      </a:cubicBezTo>
                      <a:cubicBezTo>
                        <a:pt x="9" y="59"/>
                        <a:pt x="9" y="59"/>
                        <a:pt x="9" y="59"/>
                      </a:cubicBezTo>
                      <a:cubicBezTo>
                        <a:pt x="6" y="59"/>
                        <a:pt x="6" y="59"/>
                        <a:pt x="6" y="59"/>
                      </a:cubicBezTo>
                      <a:cubicBezTo>
                        <a:pt x="3" y="59"/>
                        <a:pt x="0" y="56"/>
                        <a:pt x="0" y="53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19"/>
                        <a:pt x="3" y="17"/>
                        <a:pt x="6" y="17"/>
                      </a:cubicBezTo>
                      <a:cubicBezTo>
                        <a:pt x="26" y="17"/>
                        <a:pt x="26" y="17"/>
                        <a:pt x="26" y="17"/>
                      </a:cubicBezTo>
                      <a:cubicBezTo>
                        <a:pt x="26" y="6"/>
                        <a:pt x="26" y="6"/>
                        <a:pt x="26" y="6"/>
                      </a:cubicBezTo>
                      <a:cubicBezTo>
                        <a:pt x="26" y="3"/>
                        <a:pt x="29" y="0"/>
                        <a:pt x="32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73" y="0"/>
                        <a:pt x="75" y="3"/>
                        <a:pt x="75" y="6"/>
                      </a:cubicBezTo>
                      <a:close/>
                      <a:moveTo>
                        <a:pt x="72" y="36"/>
                      </a:moveTo>
                      <a:cubicBezTo>
                        <a:pt x="72" y="6"/>
                        <a:pt x="72" y="6"/>
                        <a:pt x="72" y="6"/>
                      </a:cubicBezTo>
                      <a:cubicBezTo>
                        <a:pt x="72" y="4"/>
                        <a:pt x="71" y="3"/>
                        <a:pt x="69" y="3"/>
                      </a:cubicBezTo>
                      <a:cubicBezTo>
                        <a:pt x="32" y="3"/>
                        <a:pt x="32" y="3"/>
                        <a:pt x="32" y="3"/>
                      </a:cubicBezTo>
                      <a:cubicBezTo>
                        <a:pt x="31" y="3"/>
                        <a:pt x="29" y="4"/>
                        <a:pt x="29" y="6"/>
                      </a:cubicBezTo>
                      <a:cubicBezTo>
                        <a:pt x="29" y="18"/>
                        <a:pt x="29" y="18"/>
                        <a:pt x="29" y="18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46" y="18"/>
                        <a:pt x="48" y="20"/>
                        <a:pt x="48" y="23"/>
                      </a:cubicBezTo>
                      <a:cubicBezTo>
                        <a:pt x="48" y="22"/>
                        <a:pt x="48" y="22"/>
                        <a:pt x="48" y="21"/>
                      </a:cubicBezTo>
                      <a:cubicBezTo>
                        <a:pt x="65" y="21"/>
                        <a:pt x="65" y="21"/>
                        <a:pt x="65" y="21"/>
                      </a:cubicBezTo>
                      <a:cubicBezTo>
                        <a:pt x="65" y="21"/>
                        <a:pt x="66" y="22"/>
                        <a:pt x="66" y="22"/>
                      </a:cubicBezTo>
                      <a:cubicBezTo>
                        <a:pt x="66" y="23"/>
                        <a:pt x="65" y="23"/>
                        <a:pt x="65" y="23"/>
                      </a:cubicBezTo>
                      <a:cubicBezTo>
                        <a:pt x="48" y="23"/>
                        <a:pt x="48" y="23"/>
                        <a:pt x="48" y="23"/>
                      </a:cubicBezTo>
                      <a:cubicBezTo>
                        <a:pt x="48" y="30"/>
                        <a:pt x="48" y="30"/>
                        <a:pt x="48" y="30"/>
                      </a:cubicBezTo>
                      <a:cubicBezTo>
                        <a:pt x="65" y="30"/>
                        <a:pt x="65" y="30"/>
                        <a:pt x="65" y="30"/>
                      </a:cubicBezTo>
                      <a:cubicBezTo>
                        <a:pt x="65" y="30"/>
                        <a:pt x="66" y="31"/>
                        <a:pt x="66" y="31"/>
                      </a:cubicBezTo>
                      <a:cubicBezTo>
                        <a:pt x="66" y="32"/>
                        <a:pt x="65" y="32"/>
                        <a:pt x="65" y="32"/>
                      </a:cubicBezTo>
                      <a:cubicBezTo>
                        <a:pt x="48" y="32"/>
                        <a:pt x="48" y="32"/>
                        <a:pt x="48" y="32"/>
                      </a:cubicBez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55" y="39"/>
                        <a:pt x="55" y="39"/>
                        <a:pt x="55" y="39"/>
                      </a:cubicBezTo>
                      <a:cubicBezTo>
                        <a:pt x="55" y="39"/>
                        <a:pt x="56" y="39"/>
                        <a:pt x="56" y="39"/>
                      </a:cubicBezTo>
                      <a:cubicBezTo>
                        <a:pt x="66" y="48"/>
                        <a:pt x="66" y="48"/>
                        <a:pt x="66" y="48"/>
                      </a:cubicBezTo>
                      <a:cubicBezTo>
                        <a:pt x="63" y="41"/>
                        <a:pt x="63" y="41"/>
                        <a:pt x="63" y="41"/>
                      </a:cubicBezTo>
                      <a:cubicBezTo>
                        <a:pt x="63" y="40"/>
                        <a:pt x="63" y="40"/>
                        <a:pt x="63" y="40"/>
                      </a:cubicBezTo>
                      <a:cubicBezTo>
                        <a:pt x="63" y="39"/>
                        <a:pt x="64" y="39"/>
                        <a:pt x="64" y="39"/>
                      </a:cubicBezTo>
                      <a:cubicBezTo>
                        <a:pt x="69" y="39"/>
                        <a:pt x="69" y="39"/>
                        <a:pt x="69" y="39"/>
                      </a:cubicBezTo>
                      <a:cubicBezTo>
                        <a:pt x="71" y="39"/>
                        <a:pt x="72" y="38"/>
                        <a:pt x="72" y="36"/>
                      </a:cubicBezTo>
                      <a:close/>
                      <a:moveTo>
                        <a:pt x="46" y="53"/>
                      </a:moveTo>
                      <a:cubicBezTo>
                        <a:pt x="46" y="23"/>
                        <a:pt x="46" y="23"/>
                        <a:pt x="46" y="23"/>
                      </a:cubicBezTo>
                      <a:cubicBezTo>
                        <a:pt x="46" y="21"/>
                        <a:pt x="45" y="20"/>
                        <a:pt x="43" y="20"/>
                      </a:cubicBezTo>
                      <a:cubicBezTo>
                        <a:pt x="6" y="20"/>
                        <a:pt x="6" y="20"/>
                        <a:pt x="6" y="20"/>
                      </a:cubicBezTo>
                      <a:cubicBezTo>
                        <a:pt x="4" y="20"/>
                        <a:pt x="3" y="21"/>
                        <a:pt x="3" y="23"/>
                      </a:cubicBezTo>
                      <a:cubicBezTo>
                        <a:pt x="3" y="53"/>
                        <a:pt x="3" y="53"/>
                        <a:pt x="3" y="53"/>
                      </a:cubicBezTo>
                      <a:cubicBezTo>
                        <a:pt x="3" y="55"/>
                        <a:pt x="4" y="56"/>
                        <a:pt x="6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2" y="56"/>
                        <a:pt x="12" y="56"/>
                        <a:pt x="12" y="56"/>
                      </a:cubicBezTo>
                      <a:cubicBezTo>
                        <a:pt x="13" y="57"/>
                        <a:pt x="13" y="57"/>
                        <a:pt x="13" y="57"/>
                      </a:cubicBezTo>
                      <a:cubicBezTo>
                        <a:pt x="9" y="65"/>
                        <a:pt x="9" y="65"/>
                        <a:pt x="9" y="65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20" y="56"/>
                        <a:pt x="20" y="56"/>
                        <a:pt x="20" y="56"/>
                      </a:cubicBezTo>
                      <a:cubicBezTo>
                        <a:pt x="43" y="56"/>
                        <a:pt x="43" y="56"/>
                        <a:pt x="43" y="56"/>
                      </a:cubicBezTo>
                      <a:cubicBezTo>
                        <a:pt x="45" y="56"/>
                        <a:pt x="46" y="55"/>
                        <a:pt x="46" y="5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6" name="任意多边形: 形状 105">
                  <a:extLst>
                    <a:ext uri="{FF2B5EF4-FFF2-40B4-BE49-F238E27FC236}">
                      <a16:creationId xmlns:a16="http://schemas.microsoft.com/office/drawing/2014/main" id="{81007E20-F8A2-4C50-B279-156DCDDC2B56}"/>
                    </a:ext>
                  </a:extLst>
                </p:cNvPr>
                <p:cNvSpPr/>
                <p:nvPr/>
              </p:nvSpPr>
              <p:spPr bwMode="auto">
                <a:xfrm>
                  <a:off x="6976599" y="4802797"/>
                  <a:ext cx="421492" cy="444587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7" name="任意多边形: 形状 106">
                  <a:extLst>
                    <a:ext uri="{FF2B5EF4-FFF2-40B4-BE49-F238E27FC236}">
                      <a16:creationId xmlns:a16="http://schemas.microsoft.com/office/drawing/2014/main" id="{4C44F900-C01E-4476-83D5-C3DB172BCFA7}"/>
                    </a:ext>
                  </a:extLst>
                </p:cNvPr>
                <p:cNvSpPr/>
                <p:nvPr/>
              </p:nvSpPr>
              <p:spPr bwMode="auto">
                <a:xfrm>
                  <a:off x="7002614" y="2189021"/>
                  <a:ext cx="319377" cy="428433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8" name="任意多边形: 形状 107">
                  <a:extLst>
                    <a:ext uri="{FF2B5EF4-FFF2-40B4-BE49-F238E27FC236}">
                      <a16:creationId xmlns:a16="http://schemas.microsoft.com/office/drawing/2014/main" id="{E23C78F5-65B4-4AB9-85E4-406190C63FE1}"/>
                    </a:ext>
                  </a:extLst>
                </p:cNvPr>
                <p:cNvSpPr/>
                <p:nvPr/>
              </p:nvSpPr>
              <p:spPr bwMode="auto">
                <a:xfrm>
                  <a:off x="4812231" y="2453456"/>
                  <a:ext cx="282379" cy="28926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09" name="任意多边形: 形状 108">
                  <a:extLst>
                    <a:ext uri="{FF2B5EF4-FFF2-40B4-BE49-F238E27FC236}">
                      <a16:creationId xmlns:a16="http://schemas.microsoft.com/office/drawing/2014/main" id="{2384B5C0-5B8B-4F5E-A0E5-C6F662EEB77E}"/>
                    </a:ext>
                  </a:extLst>
                </p:cNvPr>
                <p:cNvSpPr/>
                <p:nvPr/>
              </p:nvSpPr>
              <p:spPr bwMode="auto">
                <a:xfrm>
                  <a:off x="4791592" y="3475849"/>
                  <a:ext cx="247895" cy="273319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0" name="任意多边形: 形状 109">
                  <a:extLst>
                    <a:ext uri="{FF2B5EF4-FFF2-40B4-BE49-F238E27FC236}">
                      <a16:creationId xmlns:a16="http://schemas.microsoft.com/office/drawing/2014/main" id="{A3E4F0F6-4B1B-4448-A6AD-E5775285C380}"/>
                    </a:ext>
                  </a:extLst>
                </p:cNvPr>
                <p:cNvSpPr/>
                <p:nvPr/>
              </p:nvSpPr>
              <p:spPr bwMode="auto">
                <a:xfrm>
                  <a:off x="8203883" y="4032951"/>
                  <a:ext cx="342765" cy="372789"/>
                </a:xfrm>
                <a:custGeom>
                  <a:avLst/>
                  <a:gdLst>
                    <a:gd name="T0" fmla="*/ 42 w 58"/>
                    <a:gd name="T1" fmla="*/ 4 h 63"/>
                    <a:gd name="T2" fmla="*/ 41 w 58"/>
                    <a:gd name="T3" fmla="*/ 10 h 63"/>
                    <a:gd name="T4" fmla="*/ 17 w 58"/>
                    <a:gd name="T5" fmla="*/ 47 h 63"/>
                    <a:gd name="T6" fmla="*/ 15 w 58"/>
                    <a:gd name="T7" fmla="*/ 54 h 63"/>
                    <a:gd name="T8" fmla="*/ 19 w 58"/>
                    <a:gd name="T9" fmla="*/ 47 h 63"/>
                    <a:gd name="T10" fmla="*/ 49 w 58"/>
                    <a:gd name="T11" fmla="*/ 19 h 63"/>
                    <a:gd name="T12" fmla="*/ 53 w 58"/>
                    <a:gd name="T13" fmla="*/ 14 h 63"/>
                    <a:gd name="T14" fmla="*/ 48 w 58"/>
                    <a:gd name="T15" fmla="*/ 19 h 63"/>
                    <a:gd name="T16" fmla="*/ 4 w 58"/>
                    <a:gd name="T17" fmla="*/ 43 h 63"/>
                    <a:gd name="T18" fmla="*/ 11 w 58"/>
                    <a:gd name="T19" fmla="*/ 41 h 63"/>
                    <a:gd name="T20" fmla="*/ 57 w 58"/>
                    <a:gd name="T21" fmla="*/ 28 h 63"/>
                    <a:gd name="T22" fmla="*/ 51 w 58"/>
                    <a:gd name="T23" fmla="*/ 30 h 63"/>
                    <a:gd name="T24" fmla="*/ 57 w 58"/>
                    <a:gd name="T25" fmla="*/ 28 h 63"/>
                    <a:gd name="T26" fmla="*/ 1 w 58"/>
                    <a:gd name="T27" fmla="*/ 28 h 63"/>
                    <a:gd name="T28" fmla="*/ 7 w 58"/>
                    <a:gd name="T29" fmla="*/ 30 h 63"/>
                    <a:gd name="T30" fmla="*/ 48 w 58"/>
                    <a:gd name="T31" fmla="*/ 39 h 63"/>
                    <a:gd name="T32" fmla="*/ 54 w 58"/>
                    <a:gd name="T33" fmla="*/ 44 h 63"/>
                    <a:gd name="T34" fmla="*/ 49 w 58"/>
                    <a:gd name="T35" fmla="*/ 39 h 63"/>
                    <a:gd name="T36" fmla="*/ 5 w 58"/>
                    <a:gd name="T37" fmla="*/ 16 h 63"/>
                    <a:gd name="T38" fmla="*/ 11 w 58"/>
                    <a:gd name="T39" fmla="*/ 18 h 63"/>
                    <a:gd name="T40" fmla="*/ 41 w 58"/>
                    <a:gd name="T41" fmla="*/ 47 h 63"/>
                    <a:gd name="T42" fmla="*/ 42 w 58"/>
                    <a:gd name="T43" fmla="*/ 54 h 63"/>
                    <a:gd name="T44" fmla="*/ 44 w 58"/>
                    <a:gd name="T45" fmla="*/ 53 h 63"/>
                    <a:gd name="T46" fmla="*/ 18 w 58"/>
                    <a:gd name="T47" fmla="*/ 11 h 63"/>
                    <a:gd name="T48" fmla="*/ 16 w 58"/>
                    <a:gd name="T49" fmla="*/ 4 h 63"/>
                    <a:gd name="T50" fmla="*/ 17 w 58"/>
                    <a:gd name="T51" fmla="*/ 10 h 63"/>
                    <a:gd name="T52" fmla="*/ 30 w 58"/>
                    <a:gd name="T53" fmla="*/ 1 h 63"/>
                    <a:gd name="T54" fmla="*/ 28 w 58"/>
                    <a:gd name="T55" fmla="*/ 7 h 63"/>
                    <a:gd name="T56" fmla="*/ 40 w 58"/>
                    <a:gd name="T57" fmla="*/ 41 h 63"/>
                    <a:gd name="T58" fmla="*/ 37 w 58"/>
                    <a:gd name="T59" fmla="*/ 51 h 63"/>
                    <a:gd name="T60" fmla="*/ 38 w 58"/>
                    <a:gd name="T61" fmla="*/ 55 h 63"/>
                    <a:gd name="T62" fmla="*/ 35 w 58"/>
                    <a:gd name="T63" fmla="*/ 60 h 63"/>
                    <a:gd name="T64" fmla="*/ 28 w 58"/>
                    <a:gd name="T65" fmla="*/ 63 h 63"/>
                    <a:gd name="T66" fmla="*/ 21 w 58"/>
                    <a:gd name="T67" fmla="*/ 58 h 63"/>
                    <a:gd name="T68" fmla="*/ 22 w 58"/>
                    <a:gd name="T69" fmla="*/ 53 h 63"/>
                    <a:gd name="T70" fmla="*/ 21 w 58"/>
                    <a:gd name="T71" fmla="*/ 49 h 63"/>
                    <a:gd name="T72" fmla="*/ 13 w 58"/>
                    <a:gd name="T73" fmla="*/ 29 h 63"/>
                    <a:gd name="T74" fmla="*/ 33 w 58"/>
                    <a:gd name="T75" fmla="*/ 61 h 63"/>
                    <a:gd name="T76" fmla="*/ 25 w 58"/>
                    <a:gd name="T77" fmla="*/ 61 h 63"/>
                    <a:gd name="T78" fmla="*/ 33 w 58"/>
                    <a:gd name="T79" fmla="*/ 61 h 63"/>
                    <a:gd name="T80" fmla="*/ 23 w 58"/>
                    <a:gd name="T81" fmla="*/ 58 h 63"/>
                    <a:gd name="T82" fmla="*/ 31 w 58"/>
                    <a:gd name="T83" fmla="*/ 58 h 63"/>
                    <a:gd name="T84" fmla="*/ 34 w 58"/>
                    <a:gd name="T85" fmla="*/ 57 h 63"/>
                    <a:gd name="T86" fmla="*/ 23 w 58"/>
                    <a:gd name="T87" fmla="*/ 55 h 63"/>
                    <a:gd name="T88" fmla="*/ 36 w 58"/>
                    <a:gd name="T89" fmla="*/ 55 h 63"/>
                    <a:gd name="T90" fmla="*/ 25 w 58"/>
                    <a:gd name="T91" fmla="*/ 52 h 63"/>
                    <a:gd name="T92" fmla="*/ 34 w 58"/>
                    <a:gd name="T93" fmla="*/ 52 h 63"/>
                    <a:gd name="T94" fmla="*/ 34 w 58"/>
                    <a:gd name="T95" fmla="*/ 50 h 63"/>
                    <a:gd name="T96" fmla="*/ 25 w 58"/>
                    <a:gd name="T97" fmla="*/ 49 h 63"/>
                    <a:gd name="T98" fmla="*/ 34 w 58"/>
                    <a:gd name="T99" fmla="*/ 50 h 63"/>
                    <a:gd name="T100" fmla="*/ 15 w 58"/>
                    <a:gd name="T101" fmla="*/ 29 h 63"/>
                    <a:gd name="T102" fmla="*/ 25 w 58"/>
                    <a:gd name="T103" fmla="*/ 47 h 63"/>
                    <a:gd name="T104" fmla="*/ 24 w 58"/>
                    <a:gd name="T105" fmla="*/ 31 h 63"/>
                    <a:gd name="T106" fmla="*/ 31 w 58"/>
                    <a:gd name="T107" fmla="*/ 47 h 63"/>
                    <a:gd name="T108" fmla="*/ 35 w 58"/>
                    <a:gd name="T109" fmla="*/ 32 h 63"/>
                    <a:gd name="T110" fmla="*/ 35 w 58"/>
                    <a:gd name="T111" fmla="*/ 47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8" h="63">
                      <a:moveTo>
                        <a:pt x="40" y="11"/>
                      </a:moveTo>
                      <a:cubicBezTo>
                        <a:pt x="39" y="10"/>
                        <a:pt x="39" y="10"/>
                        <a:pt x="39" y="9"/>
                      </a:cubicBezTo>
                      <a:cubicBezTo>
                        <a:pt x="42" y="4"/>
                        <a:pt x="42" y="4"/>
                        <a:pt x="42" y="4"/>
                      </a:cubicBezTo>
                      <a:cubicBezTo>
                        <a:pt x="43" y="4"/>
                        <a:pt x="43" y="3"/>
                        <a:pt x="44" y="4"/>
                      </a:cubicBezTo>
                      <a:cubicBezTo>
                        <a:pt x="44" y="4"/>
                        <a:pt x="44" y="5"/>
                        <a:pt x="44" y="5"/>
                      </a:cubicBezTo>
                      <a:cubicBezTo>
                        <a:pt x="41" y="10"/>
                        <a:pt x="41" y="10"/>
                        <a:pt x="41" y="10"/>
                      </a:cubicBezTo>
                      <a:cubicBezTo>
                        <a:pt x="41" y="10"/>
                        <a:pt x="41" y="11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lose/>
                      <a:moveTo>
                        <a:pt x="17" y="47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6" y="54"/>
                        <a:pt x="16" y="54"/>
                        <a:pt x="16" y="54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19" y="47"/>
                        <a:pt x="19" y="47"/>
                      </a:cubicBezTo>
                      <a:cubicBezTo>
                        <a:pt x="18" y="47"/>
                        <a:pt x="18" y="47"/>
                        <a:pt x="17" y="47"/>
                      </a:cubicBezTo>
                      <a:close/>
                      <a:moveTo>
                        <a:pt x="48" y="19"/>
                      </a:moveTo>
                      <a:cubicBezTo>
                        <a:pt x="49" y="19"/>
                        <a:pt x="49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5"/>
                        <a:pt x="55" y="15"/>
                        <a:pt x="54" y="14"/>
                      </a:cubicBezTo>
                      <a:cubicBezTo>
                        <a:pt x="54" y="14"/>
                        <a:pt x="54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8" y="18"/>
                      </a:cubicBezTo>
                      <a:cubicBezTo>
                        <a:pt x="48" y="19"/>
                        <a:pt x="48" y="19"/>
                        <a:pt x="48" y="19"/>
                      </a:cubicBezTo>
                      <a:close/>
                      <a:moveTo>
                        <a:pt x="10" y="39"/>
                      </a:moveTo>
                      <a:cubicBezTo>
                        <a:pt x="5" y="42"/>
                        <a:pt x="5" y="42"/>
                        <a:pt x="5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5" y="44"/>
                        <a:pt x="5" y="44"/>
                      </a:cubicBezTo>
                      <a:cubicBezTo>
                        <a:pt x="5" y="44"/>
                        <a:pt x="5" y="44"/>
                        <a:pt x="6" y="44"/>
                      </a:cubicBezTo>
                      <a:cubicBezTo>
                        <a:pt x="11" y="41"/>
                        <a:pt x="11" y="41"/>
                        <a:pt x="11" y="41"/>
                      </a:cubicBezTo>
                      <a:cubicBezTo>
                        <a:pt x="11" y="40"/>
                        <a:pt x="11" y="40"/>
                        <a:pt x="11" y="39"/>
                      </a:cubicBezTo>
                      <a:cubicBezTo>
                        <a:pt x="11" y="39"/>
                        <a:pt x="10" y="39"/>
                        <a:pt x="10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29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29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8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1" y="28"/>
                        <a:pt x="0" y="28"/>
                        <a:pt x="0" y="29"/>
                      </a:cubicBezTo>
                      <a:cubicBezTo>
                        <a:pt x="0" y="29"/>
                        <a:pt x="1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8" y="30"/>
                        <a:pt x="8" y="29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8" y="39"/>
                      </a:cubicBezTo>
                      <a:cubicBezTo>
                        <a:pt x="47" y="40"/>
                        <a:pt x="47" y="40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4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5" y="43"/>
                        <a:pt x="55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6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5"/>
                        <a:pt x="5" y="16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1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1" y="17"/>
                      </a:cubicBezTo>
                      <a:lnTo>
                        <a:pt x="6" y="14"/>
                      </a:lnTo>
                      <a:close/>
                      <a:moveTo>
                        <a:pt x="41" y="47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8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3" y="54"/>
                        <a:pt x="43" y="54"/>
                        <a:pt x="43" y="54"/>
                      </a:cubicBezTo>
                      <a:cubicBezTo>
                        <a:pt x="43" y="54"/>
                        <a:pt x="44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7"/>
                      </a:lnTo>
                      <a:close/>
                      <a:moveTo>
                        <a:pt x="17" y="10"/>
                      </a:moveTo>
                      <a:cubicBezTo>
                        <a:pt x="18" y="10"/>
                        <a:pt x="18" y="11"/>
                        <a:pt x="18" y="11"/>
                      </a:cubicBezTo>
                      <a:cubicBezTo>
                        <a:pt x="18" y="11"/>
                        <a:pt x="19" y="11"/>
                        <a:pt x="19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3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9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9" y="8"/>
                        <a:pt x="29" y="8"/>
                      </a:cubicBezTo>
                      <a:close/>
                      <a:moveTo>
                        <a:pt x="45" y="29"/>
                      </a:moveTo>
                      <a:cubicBezTo>
                        <a:pt x="45" y="33"/>
                        <a:pt x="44" y="38"/>
                        <a:pt x="40" y="41"/>
                      </a:cubicBezTo>
                      <a:cubicBezTo>
                        <a:pt x="38" y="43"/>
                        <a:pt x="37" y="46"/>
                        <a:pt x="37" y="47"/>
                      </a:cubicBezTo>
                      <a:cubicBezTo>
                        <a:pt x="38" y="48"/>
                        <a:pt x="38" y="48"/>
                        <a:pt x="38" y="49"/>
                      </a:cubicBezTo>
                      <a:cubicBezTo>
                        <a:pt x="38" y="50"/>
                        <a:pt x="38" y="50"/>
                        <a:pt x="37" y="51"/>
                      </a:cubicBezTo>
                      <a:cubicBezTo>
                        <a:pt x="38" y="51"/>
                        <a:pt x="38" y="51"/>
                        <a:pt x="38" y="52"/>
                      </a:cubicBezTo>
                      <a:cubicBezTo>
                        <a:pt x="38" y="53"/>
                        <a:pt x="38" y="53"/>
                        <a:pt x="37" y="53"/>
                      </a:cubicBezTo>
                      <a:cubicBezTo>
                        <a:pt x="38" y="54"/>
                        <a:pt x="38" y="54"/>
                        <a:pt x="38" y="55"/>
                      </a:cubicBezTo>
                      <a:cubicBezTo>
                        <a:pt x="38" y="56"/>
                        <a:pt x="38" y="56"/>
                        <a:pt x="37" y="56"/>
                      </a:cubicBezTo>
                      <a:cubicBezTo>
                        <a:pt x="38" y="57"/>
                        <a:pt x="38" y="57"/>
                        <a:pt x="38" y="58"/>
                      </a:cubicBezTo>
                      <a:cubicBezTo>
                        <a:pt x="38" y="59"/>
                        <a:pt x="37" y="60"/>
                        <a:pt x="35" y="60"/>
                      </a:cubicBezTo>
                      <a:cubicBezTo>
                        <a:pt x="35" y="60"/>
                        <a:pt x="35" y="61"/>
                        <a:pt x="35" y="61"/>
                      </a:cubicBezTo>
                      <a:cubicBezTo>
                        <a:pt x="35" y="63"/>
                        <a:pt x="33" y="63"/>
                        <a:pt x="31" y="63"/>
                      </a:cubicBezTo>
                      <a:cubicBezTo>
                        <a:pt x="28" y="63"/>
                        <a:pt x="28" y="63"/>
                        <a:pt x="28" y="63"/>
                      </a:cubicBezTo>
                      <a:cubicBezTo>
                        <a:pt x="26" y="63"/>
                        <a:pt x="23" y="63"/>
                        <a:pt x="23" y="61"/>
                      </a:cubicBezTo>
                      <a:cubicBezTo>
                        <a:pt x="23" y="61"/>
                        <a:pt x="23" y="60"/>
                        <a:pt x="23" y="60"/>
                      </a:cubicBezTo>
                      <a:cubicBezTo>
                        <a:pt x="22" y="60"/>
                        <a:pt x="21" y="59"/>
                        <a:pt x="21" y="58"/>
                      </a:cubicBezTo>
                      <a:cubicBezTo>
                        <a:pt x="21" y="57"/>
                        <a:pt x="21" y="57"/>
                        <a:pt x="22" y="56"/>
                      </a:cubicBezTo>
                      <a:cubicBezTo>
                        <a:pt x="21" y="56"/>
                        <a:pt x="21" y="56"/>
                        <a:pt x="21" y="55"/>
                      </a:cubicBezTo>
                      <a:cubicBezTo>
                        <a:pt x="21" y="54"/>
                        <a:pt x="21" y="54"/>
                        <a:pt x="22" y="53"/>
                      </a:cubicBezTo>
                      <a:cubicBezTo>
                        <a:pt x="21" y="53"/>
                        <a:pt x="21" y="53"/>
                        <a:pt x="21" y="52"/>
                      </a:cubicBezTo>
                      <a:cubicBezTo>
                        <a:pt x="21" y="51"/>
                        <a:pt x="21" y="51"/>
                        <a:pt x="22" y="51"/>
                      </a:cubicBezTo>
                      <a:cubicBezTo>
                        <a:pt x="21" y="50"/>
                        <a:pt x="21" y="50"/>
                        <a:pt x="21" y="49"/>
                      </a:cubicBezTo>
                      <a:cubicBezTo>
                        <a:pt x="21" y="48"/>
                        <a:pt x="21" y="48"/>
                        <a:pt x="22" y="47"/>
                      </a:cubicBezTo>
                      <a:cubicBezTo>
                        <a:pt x="22" y="46"/>
                        <a:pt x="21" y="43"/>
                        <a:pt x="18" y="41"/>
                      </a:cubicBezTo>
                      <a:cubicBezTo>
                        <a:pt x="15" y="38"/>
                        <a:pt x="13" y="33"/>
                        <a:pt x="13" y="29"/>
                      </a:cubicBezTo>
                      <a:cubicBezTo>
                        <a:pt x="13" y="20"/>
                        <a:pt x="20" y="13"/>
                        <a:pt x="29" y="13"/>
                      </a:cubicBezTo>
                      <a:cubicBezTo>
                        <a:pt x="38" y="13"/>
                        <a:pt x="45" y="20"/>
                        <a:pt x="45" y="29"/>
                      </a:cubicBezTo>
                      <a:close/>
                      <a:moveTo>
                        <a:pt x="33" y="61"/>
                      </a:moveTo>
                      <a:cubicBezTo>
                        <a:pt x="33" y="61"/>
                        <a:pt x="32" y="60"/>
                        <a:pt x="31" y="60"/>
                      </a:cubicBezTo>
                      <a:cubicBezTo>
                        <a:pt x="28" y="60"/>
                        <a:pt x="28" y="60"/>
                        <a:pt x="28" y="60"/>
                      </a:cubicBezTo>
                      <a:cubicBezTo>
                        <a:pt x="26" y="60"/>
                        <a:pt x="26" y="61"/>
                        <a:pt x="25" y="61"/>
                      </a:cubicBezTo>
                      <a:cubicBezTo>
                        <a:pt x="26" y="61"/>
                        <a:pt x="26" y="61"/>
                        <a:pt x="28" y="61"/>
                      </a:cubicBezTo>
                      <a:cubicBezTo>
                        <a:pt x="31" y="61"/>
                        <a:pt x="31" y="61"/>
                        <a:pt x="31" y="61"/>
                      </a:cubicBezTo>
                      <a:cubicBezTo>
                        <a:pt x="32" y="61"/>
                        <a:pt x="33" y="61"/>
                        <a:pt x="33" y="61"/>
                      </a:cubicBezTo>
                      <a:close/>
                      <a:moveTo>
                        <a:pt x="34" y="57"/>
                      </a:moveTo>
                      <a:cubicBezTo>
                        <a:pt x="25" y="57"/>
                        <a:pt x="25" y="57"/>
                        <a:pt x="25" y="57"/>
                      </a:cubicBezTo>
                      <a:cubicBezTo>
                        <a:pt x="24" y="57"/>
                        <a:pt x="23" y="58"/>
                        <a:pt x="23" y="58"/>
                      </a:cubicBezTo>
                      <a:cubicBezTo>
                        <a:pt x="23" y="58"/>
                        <a:pt x="24" y="58"/>
                        <a:pt x="25" y="58"/>
                      </a:cubicBezTo>
                      <a:cubicBezTo>
                        <a:pt x="28" y="58"/>
                        <a:pt x="28" y="58"/>
                        <a:pt x="28" y="58"/>
                      </a:cubicBezTo>
                      <a:cubicBezTo>
                        <a:pt x="31" y="58"/>
                        <a:pt x="31" y="58"/>
                        <a:pt x="31" y="58"/>
                      </a:cubicBezTo>
                      <a:cubicBezTo>
                        <a:pt x="34" y="58"/>
                        <a:pt x="34" y="58"/>
                        <a:pt x="34" y="58"/>
                      </a:cubicBezTo>
                      <a:cubicBezTo>
                        <a:pt x="35" y="58"/>
                        <a:pt x="35" y="58"/>
                        <a:pt x="36" y="58"/>
                      </a:cubicBezTo>
                      <a:cubicBezTo>
                        <a:pt x="35" y="58"/>
                        <a:pt x="35" y="57"/>
                        <a:pt x="34" y="57"/>
                      </a:cubicBezTo>
                      <a:close/>
                      <a:moveTo>
                        <a:pt x="34" y="54"/>
                      </a:moveTo>
                      <a:cubicBezTo>
                        <a:pt x="25" y="54"/>
                        <a:pt x="25" y="54"/>
                        <a:pt x="25" y="54"/>
                      </a:cubicBezTo>
                      <a:cubicBezTo>
                        <a:pt x="24" y="54"/>
                        <a:pt x="23" y="55"/>
                        <a:pt x="23" y="55"/>
                      </a:cubicBezTo>
                      <a:cubicBezTo>
                        <a:pt x="23" y="55"/>
                        <a:pt x="24" y="55"/>
                        <a:pt x="25" y="55"/>
                      </a:cubicBezTo>
                      <a:cubicBezTo>
                        <a:pt x="34" y="55"/>
                        <a:pt x="34" y="55"/>
                        <a:pt x="34" y="55"/>
                      </a:cubicBezTo>
                      <a:cubicBezTo>
                        <a:pt x="35" y="55"/>
                        <a:pt x="35" y="55"/>
                        <a:pt x="36" y="55"/>
                      </a:cubicBezTo>
                      <a:cubicBezTo>
                        <a:pt x="35" y="55"/>
                        <a:pt x="35" y="54"/>
                        <a:pt x="34" y="54"/>
                      </a:cubicBezTo>
                      <a:close/>
                      <a:moveTo>
                        <a:pt x="34" y="52"/>
                      </a:moveTo>
                      <a:cubicBezTo>
                        <a:pt x="25" y="52"/>
                        <a:pt x="25" y="52"/>
                        <a:pt x="25" y="52"/>
                      </a:cubicBezTo>
                      <a:cubicBezTo>
                        <a:pt x="24" y="52"/>
                        <a:pt x="23" y="52"/>
                        <a:pt x="23" y="52"/>
                      </a:cubicBezTo>
                      <a:cubicBezTo>
                        <a:pt x="23" y="52"/>
                        <a:pt x="24" y="52"/>
                        <a:pt x="25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5" y="52"/>
                        <a:pt x="35" y="52"/>
                        <a:pt x="36" y="52"/>
                      </a:cubicBezTo>
                      <a:cubicBezTo>
                        <a:pt x="35" y="52"/>
                        <a:pt x="35" y="52"/>
                        <a:pt x="34" y="52"/>
                      </a:cubicBezTo>
                      <a:close/>
                      <a:moveTo>
                        <a:pt x="34" y="50"/>
                      </a:moveTo>
                      <a:cubicBezTo>
                        <a:pt x="35" y="50"/>
                        <a:pt x="35" y="49"/>
                        <a:pt x="36" y="49"/>
                      </a:cubicBezTo>
                      <a:cubicBezTo>
                        <a:pt x="35" y="49"/>
                        <a:pt x="35" y="49"/>
                        <a:pt x="34" y="49"/>
                      </a:cubicBezTo>
                      <a:cubicBezTo>
                        <a:pt x="25" y="49"/>
                        <a:pt x="25" y="49"/>
                        <a:pt x="25" y="49"/>
                      </a:cubicBezTo>
                      <a:cubicBezTo>
                        <a:pt x="24" y="49"/>
                        <a:pt x="23" y="49"/>
                        <a:pt x="23" y="49"/>
                      </a:cubicBezTo>
                      <a:cubicBezTo>
                        <a:pt x="23" y="49"/>
                        <a:pt x="24" y="50"/>
                        <a:pt x="25" y="50"/>
                      </a:cubicBezTo>
                      <a:lnTo>
                        <a:pt x="34" y="50"/>
                      </a:lnTo>
                      <a:close/>
                      <a:moveTo>
                        <a:pt x="43" y="29"/>
                      </a:moveTo>
                      <a:cubicBezTo>
                        <a:pt x="43" y="21"/>
                        <a:pt x="37" y="15"/>
                        <a:pt x="29" y="15"/>
                      </a:cubicBezTo>
                      <a:cubicBezTo>
                        <a:pt x="22" y="15"/>
                        <a:pt x="15" y="21"/>
                        <a:pt x="15" y="29"/>
                      </a:cubicBezTo>
                      <a:cubicBezTo>
                        <a:pt x="15" y="33"/>
                        <a:pt x="17" y="36"/>
                        <a:pt x="20" y="39"/>
                      </a:cubicBezTo>
                      <a:cubicBezTo>
                        <a:pt x="22" y="42"/>
                        <a:pt x="23" y="44"/>
                        <a:pt x="24" y="47"/>
                      </a:cubicBezTo>
                      <a:cubicBezTo>
                        <a:pt x="25" y="47"/>
                        <a:pt x="25" y="47"/>
                        <a:pt x="25" y="47"/>
                      </a:cubicBezTo>
                      <a:cubicBezTo>
                        <a:pt x="26" y="47"/>
                        <a:pt x="26" y="47"/>
                        <a:pt x="26" y="47"/>
                      </a:cubicBezTo>
                      <a:cubicBezTo>
                        <a:pt x="23" y="32"/>
                        <a:pt x="23" y="32"/>
                        <a:pt x="23" y="32"/>
                      </a:cubicBezTo>
                      <a:cubicBezTo>
                        <a:pt x="23" y="32"/>
                        <a:pt x="24" y="31"/>
                        <a:pt x="24" y="31"/>
                      </a:cubicBezTo>
                      <a:cubicBezTo>
                        <a:pt x="25" y="31"/>
                        <a:pt x="25" y="31"/>
                        <a:pt x="25" y="32"/>
                      </a:cubicBezTo>
                      <a:cubicBezTo>
                        <a:pt x="28" y="47"/>
                        <a:pt x="28" y="47"/>
                        <a:pt x="28" y="47"/>
                      </a:cubicBezTo>
                      <a:cubicBezTo>
                        <a:pt x="31" y="47"/>
                        <a:pt x="31" y="47"/>
                        <a:pt x="31" y="4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3" y="31"/>
                        <a:pt x="34" y="31"/>
                        <a:pt x="35" y="31"/>
                      </a:cubicBezTo>
                      <a:cubicBezTo>
                        <a:pt x="35" y="31"/>
                        <a:pt x="35" y="32"/>
                        <a:pt x="35" y="32"/>
                      </a:cubicBezTo>
                      <a:cubicBezTo>
                        <a:pt x="33" y="47"/>
                        <a:pt x="33" y="47"/>
                        <a:pt x="33" y="47"/>
                      </a:cubicBezTo>
                      <a:cubicBezTo>
                        <a:pt x="34" y="47"/>
                        <a:pt x="34" y="47"/>
                        <a:pt x="34" y="47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35" y="44"/>
                        <a:pt x="37" y="42"/>
                        <a:pt x="39" y="39"/>
                      </a:cubicBezTo>
                      <a:cubicBezTo>
                        <a:pt x="42" y="36"/>
                        <a:pt x="43" y="33"/>
                        <a:pt x="43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1" name="任意多边形: 形状 110">
                  <a:extLst>
                    <a:ext uri="{FF2B5EF4-FFF2-40B4-BE49-F238E27FC236}">
                      <a16:creationId xmlns:a16="http://schemas.microsoft.com/office/drawing/2014/main" id="{2B65B6B5-9545-4EC4-A7BB-F084571AC8E4}"/>
                    </a:ext>
                  </a:extLst>
                </p:cNvPr>
                <p:cNvSpPr/>
                <p:nvPr/>
              </p:nvSpPr>
              <p:spPr bwMode="auto">
                <a:xfrm>
                  <a:off x="5779699" y="1773493"/>
                  <a:ext cx="295713" cy="222221"/>
                </a:xfrm>
                <a:custGeom>
                  <a:avLst/>
                  <a:gdLst>
                    <a:gd name="T0" fmla="*/ 53 w 71"/>
                    <a:gd name="T1" fmla="*/ 5 h 51"/>
                    <a:gd name="T2" fmla="*/ 0 w 71"/>
                    <a:gd name="T3" fmla="*/ 12 h 51"/>
                    <a:gd name="T4" fmla="*/ 8 w 71"/>
                    <a:gd name="T5" fmla="*/ 33 h 51"/>
                    <a:gd name="T6" fmla="*/ 12 w 71"/>
                    <a:gd name="T7" fmla="*/ 43 h 51"/>
                    <a:gd name="T8" fmla="*/ 46 w 71"/>
                    <a:gd name="T9" fmla="*/ 40 h 51"/>
                    <a:gd name="T10" fmla="*/ 11 w 71"/>
                    <a:gd name="T11" fmla="*/ 35 h 51"/>
                    <a:gd name="T12" fmla="*/ 48 w 71"/>
                    <a:gd name="T13" fmla="*/ 31 h 51"/>
                    <a:gd name="T14" fmla="*/ 56 w 71"/>
                    <a:gd name="T15" fmla="*/ 6 h 51"/>
                    <a:gd name="T16" fmla="*/ 71 w 71"/>
                    <a:gd name="T17" fmla="*/ 2 h 51"/>
                    <a:gd name="T18" fmla="*/ 45 w 71"/>
                    <a:gd name="T19" fmla="*/ 18 h 51"/>
                    <a:gd name="T20" fmla="*/ 49 w 71"/>
                    <a:gd name="T21" fmla="*/ 18 h 51"/>
                    <a:gd name="T22" fmla="*/ 45 w 71"/>
                    <a:gd name="T23" fmla="*/ 20 h 51"/>
                    <a:gd name="T24" fmla="*/ 9 w 71"/>
                    <a:gd name="T25" fmla="*/ 30 h 51"/>
                    <a:gd name="T26" fmla="*/ 12 w 71"/>
                    <a:gd name="T27" fmla="*/ 32 h 51"/>
                    <a:gd name="T28" fmla="*/ 28 w 71"/>
                    <a:gd name="T29" fmla="*/ 18 h 51"/>
                    <a:gd name="T30" fmla="*/ 35 w 71"/>
                    <a:gd name="T31" fmla="*/ 18 h 51"/>
                    <a:gd name="T32" fmla="*/ 43 w 71"/>
                    <a:gd name="T33" fmla="*/ 18 h 51"/>
                    <a:gd name="T34" fmla="*/ 28 w 71"/>
                    <a:gd name="T35" fmla="*/ 20 h 51"/>
                    <a:gd name="T36" fmla="*/ 28 w 71"/>
                    <a:gd name="T37" fmla="*/ 25 h 51"/>
                    <a:gd name="T38" fmla="*/ 21 w 71"/>
                    <a:gd name="T39" fmla="*/ 25 h 51"/>
                    <a:gd name="T40" fmla="*/ 26 w 71"/>
                    <a:gd name="T41" fmla="*/ 25 h 51"/>
                    <a:gd name="T42" fmla="*/ 20 w 71"/>
                    <a:gd name="T43" fmla="*/ 13 h 51"/>
                    <a:gd name="T44" fmla="*/ 18 w 71"/>
                    <a:gd name="T45" fmla="*/ 18 h 51"/>
                    <a:gd name="T46" fmla="*/ 18 w 71"/>
                    <a:gd name="T47" fmla="*/ 13 h 51"/>
                    <a:gd name="T48" fmla="*/ 19 w 71"/>
                    <a:gd name="T49" fmla="*/ 25 h 51"/>
                    <a:gd name="T50" fmla="*/ 18 w 71"/>
                    <a:gd name="T51" fmla="*/ 20 h 51"/>
                    <a:gd name="T52" fmla="*/ 5 w 71"/>
                    <a:gd name="T53" fmla="*/ 20 h 51"/>
                    <a:gd name="T54" fmla="*/ 13 w 71"/>
                    <a:gd name="T55" fmla="*/ 27 h 51"/>
                    <a:gd name="T56" fmla="*/ 14 w 71"/>
                    <a:gd name="T57" fmla="*/ 32 h 51"/>
                    <a:gd name="T58" fmla="*/ 26 w 71"/>
                    <a:gd name="T59" fmla="*/ 27 h 51"/>
                    <a:gd name="T60" fmla="*/ 21 w 71"/>
                    <a:gd name="T61" fmla="*/ 27 h 51"/>
                    <a:gd name="T62" fmla="*/ 33 w 71"/>
                    <a:gd name="T63" fmla="*/ 32 h 51"/>
                    <a:gd name="T64" fmla="*/ 36 w 71"/>
                    <a:gd name="T65" fmla="*/ 27 h 51"/>
                    <a:gd name="T66" fmla="*/ 35 w 71"/>
                    <a:gd name="T67" fmla="*/ 32 h 51"/>
                    <a:gd name="T68" fmla="*/ 37 w 71"/>
                    <a:gd name="T69" fmla="*/ 20 h 51"/>
                    <a:gd name="T70" fmla="*/ 36 w 71"/>
                    <a:gd name="T71" fmla="*/ 25 h 51"/>
                    <a:gd name="T72" fmla="*/ 9 w 71"/>
                    <a:gd name="T73" fmla="*/ 13 h 51"/>
                    <a:gd name="T74" fmla="*/ 3 w 71"/>
                    <a:gd name="T75" fmla="*/ 14 h 51"/>
                    <a:gd name="T76" fmla="*/ 42 w 71"/>
                    <a:gd name="T77" fmla="*/ 32 h 51"/>
                    <a:gd name="T78" fmla="*/ 46 w 71"/>
                    <a:gd name="T79" fmla="*/ 27 h 51"/>
                    <a:gd name="T80" fmla="*/ 13 w 71"/>
                    <a:gd name="T81" fmla="*/ 44 h 51"/>
                    <a:gd name="T82" fmla="*/ 17 w 71"/>
                    <a:gd name="T83" fmla="*/ 48 h 51"/>
                    <a:gd name="T84" fmla="*/ 12 w 71"/>
                    <a:gd name="T85" fmla="*/ 48 h 51"/>
                    <a:gd name="T86" fmla="*/ 13 w 71"/>
                    <a:gd name="T87" fmla="*/ 49 h 51"/>
                    <a:gd name="T88" fmla="*/ 40 w 71"/>
                    <a:gd name="T89" fmla="*/ 51 h 51"/>
                    <a:gd name="T90" fmla="*/ 40 w 71"/>
                    <a:gd name="T91" fmla="*/ 49 h 51"/>
                    <a:gd name="T92" fmla="*/ 42 w 71"/>
                    <a:gd name="T93" fmla="*/ 48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1" h="51">
                      <a:moveTo>
                        <a:pt x="70" y="0"/>
                      </a:moveTo>
                      <a:cubicBezTo>
                        <a:pt x="59" y="0"/>
                        <a:pt x="59" y="0"/>
                        <a:pt x="59" y="0"/>
                      </a:cubicBezTo>
                      <a:cubicBezTo>
                        <a:pt x="56" y="0"/>
                        <a:pt x="54" y="2"/>
                        <a:pt x="53" y="5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4" y="10"/>
                        <a:pt x="4" y="10"/>
                        <a:pt x="4" y="10"/>
                      </a:cubicBezTo>
                      <a:cubicBezTo>
                        <a:pt x="2" y="10"/>
                        <a:pt x="1" y="11"/>
                        <a:pt x="0" y="12"/>
                      </a:cubicBezTo>
                      <a:cubicBezTo>
                        <a:pt x="0" y="13"/>
                        <a:pt x="0" y="14"/>
                        <a:pt x="0" y="16"/>
                      </a:cubicBezTo>
                      <a:cubicBezTo>
                        <a:pt x="6" y="31"/>
                        <a:pt x="6" y="31"/>
                        <a:pt x="6" y="31"/>
                      </a:cubicBezTo>
                      <a:cubicBezTo>
                        <a:pt x="7" y="32"/>
                        <a:pt x="7" y="32"/>
                        <a:pt x="8" y="33"/>
                      </a:cubicBezTo>
                      <a:cubicBezTo>
                        <a:pt x="8" y="33"/>
                        <a:pt x="8" y="33"/>
                        <a:pt x="8" y="34"/>
                      </a:cubicBezTo>
                      <a:cubicBezTo>
                        <a:pt x="8" y="38"/>
                        <a:pt x="8" y="38"/>
                        <a:pt x="8" y="38"/>
                      </a:cubicBezTo>
                      <a:cubicBezTo>
                        <a:pt x="8" y="41"/>
                        <a:pt x="10" y="43"/>
                        <a:pt x="12" y="43"/>
                      </a:cubicBezTo>
                      <a:cubicBezTo>
                        <a:pt x="46" y="43"/>
                        <a:pt x="46" y="43"/>
                        <a:pt x="46" y="43"/>
                      </a:cubicBezTo>
                      <a:cubicBezTo>
                        <a:pt x="46" y="43"/>
                        <a:pt x="47" y="42"/>
                        <a:pt x="47" y="41"/>
                      </a:cubicBezTo>
                      <a:cubicBezTo>
                        <a:pt x="47" y="41"/>
                        <a:pt x="46" y="40"/>
                        <a:pt x="46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1" y="40"/>
                        <a:pt x="11" y="39"/>
                        <a:pt x="11" y="38"/>
                      </a:cubicBezTo>
                      <a:cubicBezTo>
                        <a:pt x="11" y="35"/>
                        <a:pt x="11" y="35"/>
                        <a:pt x="11" y="35"/>
                      </a:cubicBezTo>
                      <a:cubicBezTo>
                        <a:pt x="11" y="35"/>
                        <a:pt x="12" y="35"/>
                        <a:pt x="12" y="35"/>
                      </a:cubicBezTo>
                      <a:cubicBezTo>
                        <a:pt x="42" y="35"/>
                        <a:pt x="42" y="35"/>
                        <a:pt x="42" y="35"/>
                      </a:cubicBezTo>
                      <a:cubicBezTo>
                        <a:pt x="45" y="35"/>
                        <a:pt x="47" y="33"/>
                        <a:pt x="48" y="31"/>
                      </a:cubicBezTo>
                      <a:cubicBezTo>
                        <a:pt x="54" y="13"/>
                        <a:pt x="54" y="13"/>
                        <a:pt x="54" y="13"/>
                      </a:cubicBezTo>
                      <a:cubicBezTo>
                        <a:pt x="54" y="13"/>
                        <a:pt x="54" y="12"/>
                        <a:pt x="54" y="12"/>
                      </a:cubicBezTo>
                      <a:cubicBezTo>
                        <a:pt x="56" y="6"/>
                        <a:pt x="56" y="6"/>
                        <a:pt x="56" y="6"/>
                      </a:cubicBezTo>
                      <a:cubicBezTo>
                        <a:pt x="56" y="4"/>
                        <a:pt x="58" y="3"/>
                        <a:pt x="59" y="3"/>
                      </a:cubicBezTo>
                      <a:cubicBezTo>
                        <a:pt x="70" y="3"/>
                        <a:pt x="70" y="3"/>
                        <a:pt x="70" y="3"/>
                      </a:cubicBezTo>
                      <a:cubicBezTo>
                        <a:pt x="70" y="3"/>
                        <a:pt x="71" y="3"/>
                        <a:pt x="71" y="2"/>
                      </a:cubicBezTo>
                      <a:cubicBezTo>
                        <a:pt x="71" y="1"/>
                        <a:pt x="70" y="0"/>
                        <a:pt x="70" y="0"/>
                      </a:cubicBezTo>
                      <a:close/>
                      <a:moveTo>
                        <a:pt x="49" y="18"/>
                      </a:moveTo>
                      <a:cubicBezTo>
                        <a:pt x="45" y="18"/>
                        <a:pt x="45" y="18"/>
                        <a:pt x="45" y="18"/>
                      </a:cubicBezTo>
                      <a:cubicBezTo>
                        <a:pt x="46" y="13"/>
                        <a:pt x="46" y="13"/>
                        <a:pt x="46" y="13"/>
                      </a:cubicBezTo>
                      <a:cubicBezTo>
                        <a:pt x="50" y="13"/>
                        <a:pt x="50" y="13"/>
                        <a:pt x="50" y="13"/>
                      </a:cubicBezTo>
                      <a:lnTo>
                        <a:pt x="49" y="18"/>
                      </a:lnTo>
                      <a:close/>
                      <a:moveTo>
                        <a:pt x="47" y="25"/>
                      </a:moveTo>
                      <a:cubicBezTo>
                        <a:pt x="44" y="25"/>
                        <a:pt x="44" y="25"/>
                        <a:pt x="44" y="25"/>
                      </a:cubicBezTo>
                      <a:cubicBezTo>
                        <a:pt x="45" y="20"/>
                        <a:pt x="45" y="20"/>
                        <a:pt x="45" y="20"/>
                      </a:cubicBezTo>
                      <a:cubicBezTo>
                        <a:pt x="48" y="20"/>
                        <a:pt x="48" y="20"/>
                        <a:pt x="48" y="20"/>
                      </a:cubicBezTo>
                      <a:lnTo>
                        <a:pt x="47" y="25"/>
                      </a:lnTo>
                      <a:close/>
                      <a:moveTo>
                        <a:pt x="9" y="30"/>
                      </a:move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11" y="27"/>
                        <a:pt x="11" y="27"/>
                        <a:pt x="11" y="27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1" y="32"/>
                        <a:pt x="10" y="31"/>
                        <a:pt x="9" y="30"/>
                      </a:cubicBezTo>
                      <a:close/>
                      <a:moveTo>
                        <a:pt x="35" y="18"/>
                      </a:moveTo>
                      <a:cubicBezTo>
                        <a:pt x="28" y="18"/>
                        <a:pt x="28" y="18"/>
                        <a:pt x="28" y="18"/>
                      </a:cubicBezTo>
                      <a:cubicBezTo>
                        <a:pt x="29" y="13"/>
                        <a:pt x="29" y="13"/>
                        <a:pt x="29" y="13"/>
                      </a:cubicBezTo>
                      <a:cubicBezTo>
                        <a:pt x="35" y="13"/>
                        <a:pt x="35" y="13"/>
                        <a:pt x="35" y="13"/>
                      </a:cubicBezTo>
                      <a:lnTo>
                        <a:pt x="35" y="18"/>
                      </a:lnTo>
                      <a:close/>
                      <a:moveTo>
                        <a:pt x="37" y="13"/>
                      </a:moveTo>
                      <a:cubicBezTo>
                        <a:pt x="44" y="13"/>
                        <a:pt x="44" y="13"/>
                        <a:pt x="44" y="13"/>
                      </a:cubicBezTo>
                      <a:cubicBezTo>
                        <a:pt x="43" y="18"/>
                        <a:pt x="43" y="18"/>
                        <a:pt x="43" y="18"/>
                      </a:cubicBezTo>
                      <a:cubicBezTo>
                        <a:pt x="37" y="18"/>
                        <a:pt x="37" y="18"/>
                        <a:pt x="37" y="18"/>
                      </a:cubicBezTo>
                      <a:lnTo>
                        <a:pt x="37" y="13"/>
                      </a:lnTo>
                      <a:close/>
                      <a:moveTo>
                        <a:pt x="28" y="20"/>
                      </a:moveTo>
                      <a:cubicBezTo>
                        <a:pt x="35" y="20"/>
                        <a:pt x="35" y="20"/>
                        <a:pt x="35" y="20"/>
                      </a:cubicBezTo>
                      <a:cubicBezTo>
                        <a:pt x="34" y="25"/>
                        <a:pt x="34" y="25"/>
                        <a:pt x="34" y="25"/>
                      </a:cubicBezTo>
                      <a:cubicBezTo>
                        <a:pt x="28" y="25"/>
                        <a:pt x="28" y="25"/>
                        <a:pt x="28" y="25"/>
                      </a:cubicBezTo>
                      <a:lnTo>
                        <a:pt x="28" y="20"/>
                      </a:lnTo>
                      <a:close/>
                      <a:moveTo>
                        <a:pt x="26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0" y="20"/>
                        <a:pt x="20" y="20"/>
                        <a:pt x="20" y="20"/>
                      </a:cubicBezTo>
                      <a:cubicBezTo>
                        <a:pt x="26" y="20"/>
                        <a:pt x="26" y="20"/>
                        <a:pt x="26" y="20"/>
                      </a:cubicBezTo>
                      <a:lnTo>
                        <a:pt x="26" y="25"/>
                      </a:lnTo>
                      <a:close/>
                      <a:moveTo>
                        <a:pt x="26" y="18"/>
                      </a:moveTo>
                      <a:cubicBezTo>
                        <a:pt x="20" y="18"/>
                        <a:pt x="20" y="18"/>
                        <a:pt x="20" y="18"/>
                      </a:cubicBezTo>
                      <a:cubicBezTo>
                        <a:pt x="20" y="13"/>
                        <a:pt x="20" y="13"/>
                        <a:pt x="20" y="13"/>
                      </a:cubicBezTo>
                      <a:cubicBezTo>
                        <a:pt x="27" y="13"/>
                        <a:pt x="27" y="13"/>
                        <a:pt x="27" y="13"/>
                      </a:cubicBezTo>
                      <a:lnTo>
                        <a:pt x="26" y="18"/>
                      </a:lnTo>
                      <a:close/>
                      <a:moveTo>
                        <a:pt x="18" y="18"/>
                      </a:moveTo>
                      <a:cubicBezTo>
                        <a:pt x="12" y="18"/>
                        <a:pt x="12" y="18"/>
                        <a:pt x="12" y="18"/>
                      </a:cubicBezTo>
                      <a:cubicBezTo>
                        <a:pt x="11" y="13"/>
                        <a:pt x="11" y="13"/>
                        <a:pt x="11" y="13"/>
                      </a:cubicBezTo>
                      <a:cubicBezTo>
                        <a:pt x="18" y="13"/>
                        <a:pt x="18" y="13"/>
                        <a:pt x="18" y="13"/>
                      </a:cubicBezTo>
                      <a:lnTo>
                        <a:pt x="18" y="18"/>
                      </a:lnTo>
                      <a:close/>
                      <a:moveTo>
                        <a:pt x="18" y="20"/>
                      </a:moveTo>
                      <a:cubicBezTo>
                        <a:pt x="19" y="25"/>
                        <a:pt x="19" y="25"/>
                        <a:pt x="19" y="25"/>
                      </a:cubicBezTo>
                      <a:cubicBezTo>
                        <a:pt x="13" y="25"/>
                        <a:pt x="13" y="25"/>
                        <a:pt x="13" y="25"/>
                      </a:cubicBezTo>
                      <a:cubicBezTo>
                        <a:pt x="12" y="20"/>
                        <a:pt x="12" y="20"/>
                        <a:pt x="12" y="20"/>
                      </a:cubicBezTo>
                      <a:lnTo>
                        <a:pt x="18" y="20"/>
                      </a:lnTo>
                      <a:close/>
                      <a:moveTo>
                        <a:pt x="11" y="25"/>
                      </a:moveTo>
                      <a:cubicBezTo>
                        <a:pt x="7" y="25"/>
                        <a:pt x="7" y="25"/>
                        <a:pt x="7" y="25"/>
                      </a:cubicBezTo>
                      <a:cubicBezTo>
                        <a:pt x="5" y="20"/>
                        <a:pt x="5" y="20"/>
                        <a:pt x="5" y="20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lnTo>
                        <a:pt x="11" y="25"/>
                      </a:lnTo>
                      <a:close/>
                      <a:moveTo>
                        <a:pt x="13" y="27"/>
                      </a:move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9" y="32"/>
                        <a:pt x="19" y="32"/>
                        <a:pt x="19" y="32"/>
                      </a:cubicBezTo>
                      <a:cubicBezTo>
                        <a:pt x="14" y="32"/>
                        <a:pt x="14" y="32"/>
                        <a:pt x="14" y="32"/>
                      </a:cubicBezTo>
                      <a:lnTo>
                        <a:pt x="13" y="27"/>
                      </a:lnTo>
                      <a:close/>
                      <a:moveTo>
                        <a:pt x="21" y="27"/>
                      </a:moveTo>
                      <a:cubicBezTo>
                        <a:pt x="26" y="27"/>
                        <a:pt x="26" y="27"/>
                        <a:pt x="26" y="27"/>
                      </a:cubicBezTo>
                      <a:cubicBezTo>
                        <a:pt x="26" y="32"/>
                        <a:pt x="26" y="32"/>
                        <a:pt x="26" y="32"/>
                      </a:cubicBezTo>
                      <a:cubicBezTo>
                        <a:pt x="21" y="32"/>
                        <a:pt x="21" y="32"/>
                        <a:pt x="21" y="32"/>
                      </a:cubicBezTo>
                      <a:lnTo>
                        <a:pt x="21" y="27"/>
                      </a:lnTo>
                      <a:close/>
                      <a:moveTo>
                        <a:pt x="28" y="27"/>
                      </a:moveTo>
                      <a:cubicBezTo>
                        <a:pt x="34" y="27"/>
                        <a:pt x="34" y="27"/>
                        <a:pt x="34" y="27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28" y="32"/>
                        <a:pt x="28" y="32"/>
                        <a:pt x="28" y="32"/>
                      </a:cubicBezTo>
                      <a:lnTo>
                        <a:pt x="28" y="27"/>
                      </a:lnTo>
                      <a:close/>
                      <a:moveTo>
                        <a:pt x="36" y="27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40" y="32"/>
                        <a:pt x="40" y="32"/>
                        <a:pt x="40" y="32"/>
                      </a:cubicBezTo>
                      <a:cubicBezTo>
                        <a:pt x="35" y="32"/>
                        <a:pt x="35" y="32"/>
                        <a:pt x="35" y="32"/>
                      </a:cubicBezTo>
                      <a:lnTo>
                        <a:pt x="36" y="27"/>
                      </a:lnTo>
                      <a:close/>
                      <a:moveTo>
                        <a:pt x="36" y="25"/>
                      </a:moveTo>
                      <a:cubicBezTo>
                        <a:pt x="37" y="20"/>
                        <a:pt x="37" y="20"/>
                        <a:pt x="37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25"/>
                        <a:pt x="42" y="25"/>
                        <a:pt x="42" y="25"/>
                      </a:cubicBezTo>
                      <a:lnTo>
                        <a:pt x="36" y="25"/>
                      </a:lnTo>
                      <a:close/>
                      <a:moveTo>
                        <a:pt x="4" y="13"/>
                      </a:moveTo>
                      <a:cubicBezTo>
                        <a:pt x="4" y="13"/>
                        <a:pt x="4" y="13"/>
                        <a:pt x="4" y="13"/>
                      </a:cubicBezTo>
                      <a:cubicBezTo>
                        <a:pt x="9" y="13"/>
                        <a:pt x="9" y="13"/>
                        <a:pt x="9" y="13"/>
                      </a:cubicBezTo>
                      <a:cubicBezTo>
                        <a:pt x="10" y="18"/>
                        <a:pt x="10" y="18"/>
                        <a:pt x="10" y="18"/>
                      </a:cubicBezTo>
                      <a:cubicBezTo>
                        <a:pt x="4" y="18"/>
                        <a:pt x="4" y="18"/>
                        <a:pt x="4" y="18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3"/>
                        <a:pt x="3" y="13"/>
                        <a:pt x="4" y="13"/>
                      </a:cubicBezTo>
                      <a:close/>
                      <a:moveTo>
                        <a:pt x="42" y="32"/>
                      </a:moveTo>
                      <a:cubicBezTo>
                        <a:pt x="42" y="32"/>
                        <a:pt x="42" y="32"/>
                        <a:pt x="42" y="32"/>
                      </a:cubicBezTo>
                      <a:cubicBezTo>
                        <a:pt x="43" y="27"/>
                        <a:pt x="43" y="27"/>
                        <a:pt x="43" y="27"/>
                      </a:cubicBezTo>
                      <a:cubicBezTo>
                        <a:pt x="46" y="27"/>
                        <a:pt x="46" y="27"/>
                        <a:pt x="46" y="27"/>
                      </a:cubicBezTo>
                      <a:cubicBezTo>
                        <a:pt x="45" y="30"/>
                        <a:pt x="45" y="30"/>
                        <a:pt x="45" y="30"/>
                      </a:cubicBezTo>
                      <a:cubicBezTo>
                        <a:pt x="45" y="31"/>
                        <a:pt x="43" y="32"/>
                        <a:pt x="42" y="32"/>
                      </a:cubicBezTo>
                      <a:close/>
                      <a:moveTo>
                        <a:pt x="13" y="44"/>
                      </a:moveTo>
                      <a:cubicBezTo>
                        <a:pt x="11" y="44"/>
                        <a:pt x="10" y="46"/>
                        <a:pt x="10" y="48"/>
                      </a:cubicBezTo>
                      <a:cubicBezTo>
                        <a:pt x="10" y="50"/>
                        <a:pt x="11" y="51"/>
                        <a:pt x="13" y="51"/>
                      </a:cubicBezTo>
                      <a:cubicBezTo>
                        <a:pt x="15" y="51"/>
                        <a:pt x="17" y="50"/>
                        <a:pt x="17" y="48"/>
                      </a:cubicBezTo>
                      <a:cubicBezTo>
                        <a:pt x="17" y="46"/>
                        <a:pt x="15" y="44"/>
                        <a:pt x="13" y="44"/>
                      </a:cubicBezTo>
                      <a:close/>
                      <a:moveTo>
                        <a:pt x="13" y="49"/>
                      </a:moveTo>
                      <a:cubicBezTo>
                        <a:pt x="13" y="49"/>
                        <a:pt x="12" y="48"/>
                        <a:pt x="12" y="48"/>
                      </a:cubicBezTo>
                      <a:cubicBezTo>
                        <a:pt x="12" y="47"/>
                        <a:pt x="13" y="46"/>
                        <a:pt x="13" y="46"/>
                      </a:cubicBezTo>
                      <a:cubicBezTo>
                        <a:pt x="14" y="46"/>
                        <a:pt x="15" y="47"/>
                        <a:pt x="15" y="48"/>
                      </a:cubicBezTo>
                      <a:cubicBezTo>
                        <a:pt x="15" y="48"/>
                        <a:pt x="14" y="49"/>
                        <a:pt x="13" y="49"/>
                      </a:cubicBezTo>
                      <a:close/>
                      <a:moveTo>
                        <a:pt x="40" y="44"/>
                      </a:moveTo>
                      <a:cubicBezTo>
                        <a:pt x="38" y="44"/>
                        <a:pt x="37" y="46"/>
                        <a:pt x="37" y="48"/>
                      </a:cubicBezTo>
                      <a:cubicBezTo>
                        <a:pt x="37" y="50"/>
                        <a:pt x="38" y="51"/>
                        <a:pt x="40" y="51"/>
                      </a:cubicBezTo>
                      <a:cubicBezTo>
                        <a:pt x="42" y="51"/>
                        <a:pt x="44" y="50"/>
                        <a:pt x="44" y="48"/>
                      </a:cubicBezTo>
                      <a:cubicBezTo>
                        <a:pt x="44" y="46"/>
                        <a:pt x="42" y="44"/>
                        <a:pt x="40" y="44"/>
                      </a:cubicBezTo>
                      <a:close/>
                      <a:moveTo>
                        <a:pt x="40" y="49"/>
                      </a:moveTo>
                      <a:cubicBezTo>
                        <a:pt x="39" y="49"/>
                        <a:pt x="39" y="48"/>
                        <a:pt x="39" y="48"/>
                      </a:cubicBezTo>
                      <a:cubicBezTo>
                        <a:pt x="39" y="47"/>
                        <a:pt x="39" y="46"/>
                        <a:pt x="40" y="46"/>
                      </a:cubicBezTo>
                      <a:cubicBezTo>
                        <a:pt x="41" y="46"/>
                        <a:pt x="42" y="47"/>
                        <a:pt x="42" y="48"/>
                      </a:cubicBezTo>
                      <a:cubicBezTo>
                        <a:pt x="42" y="48"/>
                        <a:pt x="41" y="49"/>
                        <a:pt x="40" y="4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2" name="任意多边形: 形状 111">
                  <a:extLst>
                    <a:ext uri="{FF2B5EF4-FFF2-40B4-BE49-F238E27FC236}">
                      <a16:creationId xmlns:a16="http://schemas.microsoft.com/office/drawing/2014/main" id="{54B3AE53-1487-4DD8-B84B-3D7B2AAA04F5}"/>
                    </a:ext>
                  </a:extLst>
                </p:cNvPr>
                <p:cNvSpPr/>
                <p:nvPr/>
              </p:nvSpPr>
              <p:spPr bwMode="auto">
                <a:xfrm>
                  <a:off x="7545929" y="2301511"/>
                  <a:ext cx="380947" cy="401820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3" name="任意多边形: 形状 112">
                  <a:extLst>
                    <a:ext uri="{FF2B5EF4-FFF2-40B4-BE49-F238E27FC236}">
                      <a16:creationId xmlns:a16="http://schemas.microsoft.com/office/drawing/2014/main" id="{92DDC0F3-E7BC-4670-9981-F50A7B36C186}"/>
                    </a:ext>
                  </a:extLst>
                </p:cNvPr>
                <p:cNvSpPr/>
                <p:nvPr/>
              </p:nvSpPr>
              <p:spPr bwMode="auto">
                <a:xfrm>
                  <a:off x="4204125" y="2089346"/>
                  <a:ext cx="353417" cy="33544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4" name="任意多边形: 形状 113">
                  <a:extLst>
                    <a:ext uri="{FF2B5EF4-FFF2-40B4-BE49-F238E27FC236}">
                      <a16:creationId xmlns:a16="http://schemas.microsoft.com/office/drawing/2014/main" id="{060AF3CF-2246-48A4-A56D-EBB5D265F99E}"/>
                    </a:ext>
                  </a:extLst>
                </p:cNvPr>
                <p:cNvSpPr/>
                <p:nvPr/>
              </p:nvSpPr>
              <p:spPr bwMode="auto">
                <a:xfrm>
                  <a:off x="4776710" y="5313306"/>
                  <a:ext cx="353417" cy="335445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5" name="任意多边形: 形状 114">
                  <a:extLst>
                    <a:ext uri="{FF2B5EF4-FFF2-40B4-BE49-F238E27FC236}">
                      <a16:creationId xmlns:a16="http://schemas.microsoft.com/office/drawing/2014/main" id="{D8586A01-07A5-4908-9069-C1307ABB6BF3}"/>
                    </a:ext>
                  </a:extLst>
                </p:cNvPr>
                <p:cNvSpPr/>
                <p:nvPr/>
              </p:nvSpPr>
              <p:spPr bwMode="auto">
                <a:xfrm>
                  <a:off x="6775218" y="5322271"/>
                  <a:ext cx="366715" cy="40946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6" name="任意多边形: 形状 115">
                  <a:extLst>
                    <a:ext uri="{FF2B5EF4-FFF2-40B4-BE49-F238E27FC236}">
                      <a16:creationId xmlns:a16="http://schemas.microsoft.com/office/drawing/2014/main" id="{8A51C1BC-6783-4F33-BE11-F98E78512F9B}"/>
                    </a:ext>
                  </a:extLst>
                </p:cNvPr>
                <p:cNvSpPr/>
                <p:nvPr/>
              </p:nvSpPr>
              <p:spPr bwMode="auto">
                <a:xfrm>
                  <a:off x="5930698" y="5566280"/>
                  <a:ext cx="391197" cy="456397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7" name="任意多边形: 形状 116">
                  <a:extLst>
                    <a:ext uri="{FF2B5EF4-FFF2-40B4-BE49-F238E27FC236}">
                      <a16:creationId xmlns:a16="http://schemas.microsoft.com/office/drawing/2014/main" id="{C8894B94-406B-4759-AC6A-54C37BBC9565}"/>
                    </a:ext>
                  </a:extLst>
                </p:cNvPr>
                <p:cNvSpPr/>
                <p:nvPr/>
              </p:nvSpPr>
              <p:spPr bwMode="auto">
                <a:xfrm>
                  <a:off x="8303919" y="3078519"/>
                  <a:ext cx="387166" cy="374261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8" name="任意多边形: 形状 117">
                  <a:extLst>
                    <a:ext uri="{FF2B5EF4-FFF2-40B4-BE49-F238E27FC236}">
                      <a16:creationId xmlns:a16="http://schemas.microsoft.com/office/drawing/2014/main" id="{1EDA7CB5-927D-4CF3-A3E7-560759DE2BFF}"/>
                    </a:ext>
                  </a:extLst>
                </p:cNvPr>
                <p:cNvSpPr/>
                <p:nvPr/>
              </p:nvSpPr>
              <p:spPr bwMode="auto">
                <a:xfrm>
                  <a:off x="4178020" y="3982432"/>
                  <a:ext cx="417163" cy="353362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19" name="任意多边形: 形状 118">
                  <a:extLst>
                    <a:ext uri="{FF2B5EF4-FFF2-40B4-BE49-F238E27FC236}">
                      <a16:creationId xmlns:a16="http://schemas.microsoft.com/office/drawing/2014/main" id="{780B3D1D-9307-4C3F-8262-06F66A86B77D}"/>
                    </a:ext>
                  </a:extLst>
                </p:cNvPr>
                <p:cNvSpPr/>
                <p:nvPr/>
              </p:nvSpPr>
              <p:spPr bwMode="auto">
                <a:xfrm>
                  <a:off x="6955280" y="4157427"/>
                  <a:ext cx="503902" cy="474086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0" name="任意多边形: 形状 119">
                  <a:extLst>
                    <a:ext uri="{FF2B5EF4-FFF2-40B4-BE49-F238E27FC236}">
                      <a16:creationId xmlns:a16="http://schemas.microsoft.com/office/drawing/2014/main" id="{1B55581F-FC5E-4AAC-9B17-C99BA71D6D29}"/>
                    </a:ext>
                  </a:extLst>
                </p:cNvPr>
                <p:cNvSpPr/>
                <p:nvPr/>
              </p:nvSpPr>
              <p:spPr bwMode="auto">
                <a:xfrm>
                  <a:off x="7146975" y="3226027"/>
                  <a:ext cx="497198" cy="415306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1" name="任意多边形: 形状 120">
                  <a:extLst>
                    <a:ext uri="{FF2B5EF4-FFF2-40B4-BE49-F238E27FC236}">
                      <a16:creationId xmlns:a16="http://schemas.microsoft.com/office/drawing/2014/main" id="{0FE509DF-F545-465C-AC39-DCEC0CB27C49}"/>
                    </a:ext>
                  </a:extLst>
                </p:cNvPr>
                <p:cNvSpPr/>
                <p:nvPr/>
              </p:nvSpPr>
              <p:spPr bwMode="auto">
                <a:xfrm>
                  <a:off x="5376252" y="793925"/>
                  <a:ext cx="339510" cy="358112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2" name="任意多边形: 形状 121">
                  <a:extLst>
                    <a:ext uri="{FF2B5EF4-FFF2-40B4-BE49-F238E27FC236}">
                      <a16:creationId xmlns:a16="http://schemas.microsoft.com/office/drawing/2014/main" id="{4F8A37CA-2EE8-48B7-9055-E208F8886FBB}"/>
                    </a:ext>
                  </a:extLst>
                </p:cNvPr>
                <p:cNvSpPr/>
                <p:nvPr/>
              </p:nvSpPr>
              <p:spPr bwMode="auto">
                <a:xfrm>
                  <a:off x="6922261" y="2690039"/>
                  <a:ext cx="489011" cy="570509"/>
                </a:xfrm>
                <a:custGeom>
                  <a:avLst/>
                  <a:gdLst>
                    <a:gd name="T0" fmla="*/ 18 w 58"/>
                    <a:gd name="T1" fmla="*/ 37 h 68"/>
                    <a:gd name="T2" fmla="*/ 17 w 58"/>
                    <a:gd name="T3" fmla="*/ 31 h 68"/>
                    <a:gd name="T4" fmla="*/ 40 w 58"/>
                    <a:gd name="T5" fmla="*/ 16 h 68"/>
                    <a:gd name="T6" fmla="*/ 17 w 58"/>
                    <a:gd name="T7" fmla="*/ 30 h 68"/>
                    <a:gd name="T8" fmla="*/ 44 w 58"/>
                    <a:gd name="T9" fmla="*/ 18 h 68"/>
                    <a:gd name="T10" fmla="*/ 17 w 58"/>
                    <a:gd name="T11" fmla="*/ 23 h 68"/>
                    <a:gd name="T12" fmla="*/ 30 w 58"/>
                    <a:gd name="T13" fmla="*/ 16 h 68"/>
                    <a:gd name="T14" fmla="*/ 14 w 58"/>
                    <a:gd name="T15" fmla="*/ 21 h 68"/>
                    <a:gd name="T16" fmla="*/ 34 w 58"/>
                    <a:gd name="T17" fmla="*/ 66 h 68"/>
                    <a:gd name="T18" fmla="*/ 28 w 58"/>
                    <a:gd name="T19" fmla="*/ 68 h 68"/>
                    <a:gd name="T20" fmla="*/ 20 w 58"/>
                    <a:gd name="T21" fmla="*/ 62 h 68"/>
                    <a:gd name="T22" fmla="*/ 23 w 58"/>
                    <a:gd name="T23" fmla="*/ 50 h 68"/>
                    <a:gd name="T24" fmla="*/ 17 w 58"/>
                    <a:gd name="T25" fmla="*/ 44 h 68"/>
                    <a:gd name="T26" fmla="*/ 40 w 58"/>
                    <a:gd name="T27" fmla="*/ 30 h 68"/>
                    <a:gd name="T28" fmla="*/ 25 w 58"/>
                    <a:gd name="T29" fmla="*/ 41 h 68"/>
                    <a:gd name="T30" fmla="*/ 29 w 58"/>
                    <a:gd name="T31" fmla="*/ 50 h 68"/>
                    <a:gd name="T32" fmla="*/ 40 w 58"/>
                    <a:gd name="T33" fmla="*/ 39 h 68"/>
                    <a:gd name="T34" fmla="*/ 35 w 58"/>
                    <a:gd name="T35" fmla="*/ 50 h 68"/>
                    <a:gd name="T36" fmla="*/ 34 w 58"/>
                    <a:gd name="T37" fmla="*/ 52 h 68"/>
                    <a:gd name="T38" fmla="*/ 33 w 58"/>
                    <a:gd name="T39" fmla="*/ 52 h 68"/>
                    <a:gd name="T40" fmla="*/ 28 w 58"/>
                    <a:gd name="T41" fmla="*/ 52 h 68"/>
                    <a:gd name="T42" fmla="*/ 22 w 58"/>
                    <a:gd name="T43" fmla="*/ 54 h 68"/>
                    <a:gd name="T44" fmla="*/ 25 w 58"/>
                    <a:gd name="T45" fmla="*/ 64 h 68"/>
                    <a:gd name="T46" fmla="*/ 36 w 58"/>
                    <a:gd name="T47" fmla="*/ 62 h 68"/>
                    <a:gd name="T48" fmla="*/ 39 w 58"/>
                    <a:gd name="T49" fmla="*/ 9 h 68"/>
                    <a:gd name="T50" fmla="*/ 41 w 58"/>
                    <a:gd name="T51" fmla="*/ 10 h 68"/>
                    <a:gd name="T52" fmla="*/ 42 w 58"/>
                    <a:gd name="T53" fmla="*/ 4 h 68"/>
                    <a:gd name="T54" fmla="*/ 15 w 58"/>
                    <a:gd name="T55" fmla="*/ 54 h 68"/>
                    <a:gd name="T56" fmla="*/ 19 w 58"/>
                    <a:gd name="T57" fmla="*/ 49 h 68"/>
                    <a:gd name="T58" fmla="*/ 48 w 58"/>
                    <a:gd name="T59" fmla="*/ 19 h 68"/>
                    <a:gd name="T60" fmla="*/ 54 w 58"/>
                    <a:gd name="T61" fmla="*/ 14 h 68"/>
                    <a:gd name="T62" fmla="*/ 47 w 58"/>
                    <a:gd name="T63" fmla="*/ 18 h 68"/>
                    <a:gd name="T64" fmla="*/ 4 w 58"/>
                    <a:gd name="T65" fmla="*/ 42 h 68"/>
                    <a:gd name="T66" fmla="*/ 5 w 58"/>
                    <a:gd name="T67" fmla="*/ 44 h 68"/>
                    <a:gd name="T68" fmla="*/ 9 w 58"/>
                    <a:gd name="T69" fmla="*/ 39 h 68"/>
                    <a:gd name="T70" fmla="*/ 50 w 58"/>
                    <a:gd name="T71" fmla="*/ 29 h 68"/>
                    <a:gd name="T72" fmla="*/ 58 w 58"/>
                    <a:gd name="T73" fmla="*/ 29 h 68"/>
                    <a:gd name="T74" fmla="*/ 7 w 58"/>
                    <a:gd name="T75" fmla="*/ 28 h 68"/>
                    <a:gd name="T76" fmla="*/ 1 w 58"/>
                    <a:gd name="T77" fmla="*/ 30 h 68"/>
                    <a:gd name="T78" fmla="*/ 49 w 58"/>
                    <a:gd name="T79" fmla="*/ 39 h 68"/>
                    <a:gd name="T80" fmla="*/ 53 w 58"/>
                    <a:gd name="T81" fmla="*/ 44 h 68"/>
                    <a:gd name="T82" fmla="*/ 54 w 58"/>
                    <a:gd name="T83" fmla="*/ 42 h 68"/>
                    <a:gd name="T84" fmla="*/ 4 w 58"/>
                    <a:gd name="T85" fmla="*/ 14 h 68"/>
                    <a:gd name="T86" fmla="*/ 10 w 58"/>
                    <a:gd name="T87" fmla="*/ 19 h 68"/>
                    <a:gd name="T88" fmla="*/ 5 w 58"/>
                    <a:gd name="T89" fmla="*/ 14 h 68"/>
                    <a:gd name="T90" fmla="*/ 39 w 58"/>
                    <a:gd name="T91" fmla="*/ 49 h 68"/>
                    <a:gd name="T92" fmla="*/ 44 w 58"/>
                    <a:gd name="T93" fmla="*/ 54 h 68"/>
                    <a:gd name="T94" fmla="*/ 17 w 58"/>
                    <a:gd name="T95" fmla="*/ 10 h 68"/>
                    <a:gd name="T96" fmla="*/ 19 w 58"/>
                    <a:gd name="T97" fmla="*/ 9 h 68"/>
                    <a:gd name="T98" fmla="*/ 14 w 58"/>
                    <a:gd name="T99" fmla="*/ 5 h 68"/>
                    <a:gd name="T100" fmla="*/ 30 w 58"/>
                    <a:gd name="T101" fmla="*/ 7 h 68"/>
                    <a:gd name="T102" fmla="*/ 28 w 58"/>
                    <a:gd name="T103" fmla="*/ 1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58" h="68">
                      <a:moveTo>
                        <a:pt x="44" y="25"/>
                      </a:moveTo>
                      <a:cubicBezTo>
                        <a:pt x="44" y="26"/>
                        <a:pt x="42" y="28"/>
                        <a:pt x="41" y="28"/>
                      </a:cubicBezTo>
                      <a:cubicBezTo>
                        <a:pt x="18" y="37"/>
                        <a:pt x="18" y="37"/>
                        <a:pt x="18" y="37"/>
                      </a:cubicBezTo>
                      <a:cubicBezTo>
                        <a:pt x="18" y="37"/>
                        <a:pt x="17" y="37"/>
                        <a:pt x="17" y="37"/>
                      </a:cubicBezTo>
                      <a:cubicBezTo>
                        <a:pt x="15" y="37"/>
                        <a:pt x="14" y="36"/>
                        <a:pt x="14" y="35"/>
                      </a:cubicBezTo>
                      <a:cubicBezTo>
                        <a:pt x="14" y="33"/>
                        <a:pt x="16" y="32"/>
                        <a:pt x="17" y="31"/>
                      </a:cubicBezTo>
                      <a:cubicBezTo>
                        <a:pt x="40" y="23"/>
                        <a:pt x="40" y="23"/>
                        <a:pt x="40" y="23"/>
                      </a:cubicBezTo>
                      <a:cubicBezTo>
                        <a:pt x="42" y="22"/>
                        <a:pt x="44" y="23"/>
                        <a:pt x="44" y="25"/>
                      </a:cubicBezTo>
                      <a:close/>
                      <a:moveTo>
                        <a:pt x="40" y="16"/>
                      </a:move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6" y="25"/>
                        <a:pt x="14" y="26"/>
                        <a:pt x="14" y="28"/>
                      </a:cubicBezTo>
                      <a:cubicBezTo>
                        <a:pt x="14" y="29"/>
                        <a:pt x="15" y="30"/>
                        <a:pt x="17" y="30"/>
                      </a:cubicBezTo>
                      <a:cubicBezTo>
                        <a:pt x="17" y="30"/>
                        <a:pt x="18" y="30"/>
                        <a:pt x="18" y="30"/>
                      </a:cubicBez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21"/>
                        <a:pt x="44" y="19"/>
                        <a:pt x="44" y="18"/>
                      </a:cubicBezTo>
                      <a:cubicBezTo>
                        <a:pt x="44" y="16"/>
                        <a:pt x="42" y="15"/>
                        <a:pt x="40" y="16"/>
                      </a:cubicBezTo>
                      <a:close/>
                      <a:moveTo>
                        <a:pt x="14" y="21"/>
                      </a:moveTo>
                      <a:cubicBezTo>
                        <a:pt x="14" y="22"/>
                        <a:pt x="15" y="23"/>
                        <a:pt x="17" y="23"/>
                      </a:cubicBezTo>
                      <a:cubicBezTo>
                        <a:pt x="17" y="23"/>
                        <a:pt x="18" y="23"/>
                        <a:pt x="18" y="23"/>
                      </a:cubicBezTo>
                      <a:cubicBezTo>
                        <a:pt x="27" y="19"/>
                        <a:pt x="27" y="19"/>
                        <a:pt x="27" y="19"/>
                      </a:cubicBezTo>
                      <a:cubicBezTo>
                        <a:pt x="29" y="19"/>
                        <a:pt x="30" y="17"/>
                        <a:pt x="30" y="16"/>
                      </a:cubicBezTo>
                      <a:cubicBezTo>
                        <a:pt x="30" y="14"/>
                        <a:pt x="28" y="13"/>
                        <a:pt x="26" y="14"/>
                      </a:cubicBezTo>
                      <a:cubicBezTo>
                        <a:pt x="17" y="17"/>
                        <a:pt x="17" y="17"/>
                        <a:pt x="17" y="17"/>
                      </a:cubicBezTo>
                      <a:cubicBezTo>
                        <a:pt x="16" y="18"/>
                        <a:pt x="14" y="19"/>
                        <a:pt x="14" y="21"/>
                      </a:cubicBezTo>
                      <a:close/>
                      <a:moveTo>
                        <a:pt x="38" y="54"/>
                      </a:move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38" y="64"/>
                        <a:pt x="36" y="66"/>
                        <a:pt x="34" y="66"/>
                      </a:cubicBezTo>
                      <a:cubicBezTo>
                        <a:pt x="33" y="66"/>
                        <a:pt x="33" y="66"/>
                        <a:pt x="33" y="66"/>
                      </a:cubicBezTo>
                      <a:cubicBezTo>
                        <a:pt x="33" y="67"/>
                        <a:pt x="32" y="68"/>
                        <a:pt x="30" y="68"/>
                      </a:cubicBez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26" y="68"/>
                        <a:pt x="25" y="67"/>
                        <a:pt x="25" y="66"/>
                      </a:cubicBezTo>
                      <a:cubicBezTo>
                        <a:pt x="24" y="66"/>
                        <a:pt x="24" y="66"/>
                        <a:pt x="24" y="66"/>
                      </a:cubicBezTo>
                      <a:cubicBezTo>
                        <a:pt x="22" y="66"/>
                        <a:pt x="20" y="64"/>
                        <a:pt x="20" y="62"/>
                      </a:cubicBezTo>
                      <a:cubicBezTo>
                        <a:pt x="20" y="54"/>
                        <a:pt x="20" y="54"/>
                        <a:pt x="20" y="54"/>
                      </a:cubicBezTo>
                      <a:cubicBezTo>
                        <a:pt x="20" y="52"/>
                        <a:pt x="22" y="51"/>
                        <a:pt x="23" y="50"/>
                      </a:cubicBezTo>
                      <a:cubicBezTo>
                        <a:pt x="23" y="50"/>
                        <a:pt x="23" y="50"/>
                        <a:pt x="23" y="50"/>
                      </a:cubicBezTo>
                      <a:cubicBezTo>
                        <a:pt x="23" y="47"/>
                        <a:pt x="21" y="44"/>
                        <a:pt x="20" y="43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5" y="44"/>
                        <a:pt x="14" y="43"/>
                        <a:pt x="14" y="42"/>
                      </a:cubicBezTo>
                      <a:cubicBezTo>
                        <a:pt x="14" y="40"/>
                        <a:pt x="16" y="39"/>
                        <a:pt x="17" y="38"/>
                      </a:cubicBezTo>
                      <a:cubicBezTo>
                        <a:pt x="40" y="30"/>
                        <a:pt x="40" y="30"/>
                        <a:pt x="40" y="30"/>
                      </a:cubicBezTo>
                      <a:cubicBezTo>
                        <a:pt x="42" y="29"/>
                        <a:pt x="44" y="30"/>
                        <a:pt x="44" y="32"/>
                      </a:cubicBezTo>
                      <a:cubicBezTo>
                        <a:pt x="44" y="33"/>
                        <a:pt x="42" y="35"/>
                        <a:pt x="41" y="36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27" y="43"/>
                        <a:pt x="29" y="46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50"/>
                        <a:pt x="29" y="50"/>
                        <a:pt x="29" y="50"/>
                      </a:cubicBezTo>
                      <a:cubicBezTo>
                        <a:pt x="29" y="43"/>
                        <a:pt x="36" y="38"/>
                        <a:pt x="37" y="38"/>
                      </a:cubicBezTo>
                      <a:cubicBezTo>
                        <a:pt x="38" y="37"/>
                        <a:pt x="39" y="38"/>
                        <a:pt x="40" y="39"/>
                      </a:cubicBezTo>
                      <a:cubicBezTo>
                        <a:pt x="41" y="40"/>
                        <a:pt x="41" y="42"/>
                        <a:pt x="39" y="43"/>
                      </a:cubicBezTo>
                      <a:cubicBezTo>
                        <a:pt x="39" y="43"/>
                        <a:pt x="35" y="46"/>
                        <a:pt x="35" y="50"/>
                      </a:cubicBezTo>
                      <a:cubicBezTo>
                        <a:pt x="35" y="50"/>
                        <a:pt x="35" y="50"/>
                        <a:pt x="35" y="50"/>
                      </a:cubicBezTo>
                      <a:cubicBezTo>
                        <a:pt x="36" y="51"/>
                        <a:pt x="38" y="52"/>
                        <a:pt x="38" y="54"/>
                      </a:cubicBezTo>
                      <a:close/>
                      <a:moveTo>
                        <a:pt x="36" y="54"/>
                      </a:moveTo>
                      <a:cubicBezTo>
                        <a:pt x="36" y="53"/>
                        <a:pt x="35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4" y="52"/>
                      </a:cubicBezTo>
                      <a:cubicBezTo>
                        <a:pt x="34" y="52"/>
                        <a:pt x="34" y="52"/>
                        <a:pt x="33" y="52"/>
                      </a:cubicBezTo>
                      <a:cubicBezTo>
                        <a:pt x="33" y="52"/>
                        <a:pt x="33" y="52"/>
                        <a:pt x="33" y="52"/>
                      </a:cubicBezTo>
                      <a:cubicBezTo>
                        <a:pt x="30" y="52"/>
                        <a:pt x="30" y="52"/>
                        <a:pt x="30" y="52"/>
                      </a:cubicBezTo>
                      <a:cubicBezTo>
                        <a:pt x="28" y="52"/>
                        <a:pt x="28" y="52"/>
                        <a:pt x="28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4" y="52"/>
                        <a:pt x="24" y="52"/>
                        <a:pt x="24" y="52"/>
                      </a:cubicBezTo>
                      <a:cubicBezTo>
                        <a:pt x="23" y="52"/>
                        <a:pt x="22" y="53"/>
                        <a:pt x="22" y="54"/>
                      </a:cubicBezTo>
                      <a:cubicBezTo>
                        <a:pt x="22" y="62"/>
                        <a:pt x="22" y="62"/>
                        <a:pt x="22" y="62"/>
                      </a:cubicBezTo>
                      <a:cubicBezTo>
                        <a:pt x="22" y="63"/>
                        <a:pt x="23" y="64"/>
                        <a:pt x="24" y="64"/>
                      </a:cubicBezTo>
                      <a:cubicBezTo>
                        <a:pt x="25" y="64"/>
                        <a:pt x="25" y="64"/>
                        <a:pt x="25" y="64"/>
                      </a:cubicBezTo>
                      <a:cubicBezTo>
                        <a:pt x="33" y="64"/>
                        <a:pt x="33" y="64"/>
                        <a:pt x="33" y="64"/>
                      </a:cubicBezTo>
                      <a:cubicBezTo>
                        <a:pt x="34" y="64"/>
                        <a:pt x="34" y="64"/>
                        <a:pt x="34" y="64"/>
                      </a:cubicBezTo>
                      <a:cubicBezTo>
                        <a:pt x="35" y="64"/>
                        <a:pt x="36" y="63"/>
                        <a:pt x="36" y="62"/>
                      </a:cubicBezTo>
                      <a:lnTo>
                        <a:pt x="36" y="54"/>
                      </a:lnTo>
                      <a:close/>
                      <a:moveTo>
                        <a:pt x="42" y="4"/>
                      </a:move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9" y="10"/>
                        <a:pt x="39" y="10"/>
                        <a:pt x="40" y="11"/>
                      </a:cubicBezTo>
                      <a:cubicBezTo>
                        <a:pt x="40" y="11"/>
                        <a:pt x="40" y="11"/>
                        <a:pt x="40" y="11"/>
                      </a:cubicBezTo>
                      <a:cubicBezTo>
                        <a:pt x="40" y="11"/>
                        <a:pt x="41" y="11"/>
                        <a:pt x="41" y="10"/>
                      </a:cubicBezTo>
                      <a:cubicBezTo>
                        <a:pt x="44" y="5"/>
                        <a:pt x="44" y="5"/>
                        <a:pt x="44" y="5"/>
                      </a:cubicBezTo>
                      <a:cubicBezTo>
                        <a:pt x="44" y="5"/>
                        <a:pt x="44" y="4"/>
                        <a:pt x="44" y="4"/>
                      </a:cubicBezTo>
                      <a:cubicBezTo>
                        <a:pt x="43" y="4"/>
                        <a:pt x="42" y="4"/>
                        <a:pt x="42" y="4"/>
                      </a:cubicBezTo>
                      <a:close/>
                      <a:moveTo>
                        <a:pt x="17" y="48"/>
                      </a:moveTo>
                      <a:cubicBezTo>
                        <a:pt x="14" y="53"/>
                        <a:pt x="14" y="53"/>
                        <a:pt x="14" y="53"/>
                      </a:cubicBezTo>
                      <a:cubicBezTo>
                        <a:pt x="14" y="53"/>
                        <a:pt x="14" y="54"/>
                        <a:pt x="15" y="54"/>
                      </a:cubicBezTo>
                      <a:cubicBezTo>
                        <a:pt x="15" y="54"/>
                        <a:pt x="15" y="54"/>
                        <a:pt x="15" y="54"/>
                      </a:cubicBezTo>
                      <a:cubicBezTo>
                        <a:pt x="15" y="54"/>
                        <a:pt x="16" y="54"/>
                        <a:pt x="16" y="54"/>
                      </a:cubicBezTo>
                      <a:cubicBezTo>
                        <a:pt x="19" y="49"/>
                        <a:pt x="19" y="49"/>
                        <a:pt x="19" y="49"/>
                      </a:cubicBezTo>
                      <a:cubicBezTo>
                        <a:pt x="19" y="48"/>
                        <a:pt x="19" y="47"/>
                        <a:pt x="18" y="47"/>
                      </a:cubicBezTo>
                      <a:cubicBezTo>
                        <a:pt x="18" y="47"/>
                        <a:pt x="17" y="47"/>
                        <a:pt x="17" y="48"/>
                      </a:cubicBezTo>
                      <a:close/>
                      <a:moveTo>
                        <a:pt x="48" y="19"/>
                      </a:moveTo>
                      <a:cubicBezTo>
                        <a:pt x="48" y="19"/>
                        <a:pt x="48" y="19"/>
                        <a:pt x="49" y="19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4" y="16"/>
                        <a:pt x="54" y="15"/>
                        <a:pt x="54" y="14"/>
                      </a:cubicBezTo>
                      <a:cubicBezTo>
                        <a:pt x="54" y="14"/>
                        <a:pt x="53" y="14"/>
                        <a:pt x="53" y="14"/>
                      </a:cubicBezTo>
                      <a:cubicBezTo>
                        <a:pt x="48" y="17"/>
                        <a:pt x="48" y="17"/>
                        <a:pt x="48" y="17"/>
                      </a:cubicBezTo>
                      <a:cubicBezTo>
                        <a:pt x="47" y="17"/>
                        <a:pt x="47" y="18"/>
                        <a:pt x="47" y="18"/>
                      </a:cubicBezTo>
                      <a:cubicBezTo>
                        <a:pt x="47" y="19"/>
                        <a:pt x="48" y="19"/>
                        <a:pt x="48" y="19"/>
                      </a:cubicBezTo>
                      <a:close/>
                      <a:moveTo>
                        <a:pt x="9" y="39"/>
                      </a:moveTo>
                      <a:cubicBezTo>
                        <a:pt x="4" y="42"/>
                        <a:pt x="4" y="42"/>
                        <a:pt x="4" y="42"/>
                      </a:cubicBezTo>
                      <a:cubicBezTo>
                        <a:pt x="4" y="42"/>
                        <a:pt x="4" y="43"/>
                        <a:pt x="4" y="43"/>
                      </a:cubicBezTo>
                      <a:cubicBezTo>
                        <a:pt x="4" y="44"/>
                        <a:pt x="4" y="44"/>
                        <a:pt x="5" y="44"/>
                      </a:cubicBezTo>
                      <a:cubicBezTo>
                        <a:pt x="5" y="44"/>
                        <a:pt x="5" y="44"/>
                        <a:pt x="5" y="4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1"/>
                        <a:pt x="11" y="40"/>
                        <a:pt x="11" y="40"/>
                      </a:cubicBezTo>
                      <a:cubicBezTo>
                        <a:pt x="10" y="39"/>
                        <a:pt x="10" y="39"/>
                        <a:pt x="9" y="39"/>
                      </a:cubicBezTo>
                      <a:close/>
                      <a:moveTo>
                        <a:pt x="57" y="28"/>
                      </a:moveTo>
                      <a:cubicBezTo>
                        <a:pt x="51" y="28"/>
                        <a:pt x="51" y="28"/>
                        <a:pt x="51" y="28"/>
                      </a:cubicBezTo>
                      <a:cubicBezTo>
                        <a:pt x="51" y="28"/>
                        <a:pt x="50" y="28"/>
                        <a:pt x="50" y="29"/>
                      </a:cubicBezTo>
                      <a:cubicBezTo>
                        <a:pt x="50" y="30"/>
                        <a:pt x="51" y="30"/>
                        <a:pt x="51" y="30"/>
                      </a:cubicBezTo>
                      <a:cubicBezTo>
                        <a:pt x="57" y="30"/>
                        <a:pt x="57" y="30"/>
                        <a:pt x="57" y="30"/>
                      </a:cubicBezTo>
                      <a:cubicBezTo>
                        <a:pt x="58" y="30"/>
                        <a:pt x="58" y="30"/>
                        <a:pt x="58" y="29"/>
                      </a:cubicBezTo>
                      <a:cubicBezTo>
                        <a:pt x="58" y="28"/>
                        <a:pt x="58" y="28"/>
                        <a:pt x="57" y="28"/>
                      </a:cubicBezTo>
                      <a:close/>
                      <a:moveTo>
                        <a:pt x="8" y="29"/>
                      </a:moveTo>
                      <a:cubicBezTo>
                        <a:pt x="8" y="28"/>
                        <a:pt x="7" y="28"/>
                        <a:pt x="7" y="28"/>
                      </a:cubicBezTo>
                      <a:cubicBezTo>
                        <a:pt x="1" y="28"/>
                        <a:pt x="1" y="28"/>
                        <a:pt x="1" y="28"/>
                      </a:cubicBezTo>
                      <a:cubicBezTo>
                        <a:pt x="0" y="28"/>
                        <a:pt x="0" y="28"/>
                        <a:pt x="0" y="29"/>
                      </a:cubicBezTo>
                      <a:cubicBezTo>
                        <a:pt x="0" y="30"/>
                        <a:pt x="0" y="30"/>
                        <a:pt x="1" y="30"/>
                      </a:cubicBezTo>
                      <a:cubicBezTo>
                        <a:pt x="7" y="30"/>
                        <a:pt x="7" y="30"/>
                        <a:pt x="7" y="30"/>
                      </a:cubicBezTo>
                      <a:cubicBezTo>
                        <a:pt x="7" y="30"/>
                        <a:pt x="8" y="30"/>
                        <a:pt x="8" y="29"/>
                      </a:cubicBezTo>
                      <a:close/>
                      <a:moveTo>
                        <a:pt x="49" y="39"/>
                      </a:moveTo>
                      <a:cubicBezTo>
                        <a:pt x="48" y="39"/>
                        <a:pt x="48" y="39"/>
                        <a:pt x="47" y="40"/>
                      </a:cubicBezTo>
                      <a:cubicBezTo>
                        <a:pt x="47" y="40"/>
                        <a:pt x="47" y="41"/>
                        <a:pt x="48" y="41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3" y="44"/>
                        <a:pt x="53" y="44"/>
                        <a:pt x="53" y="44"/>
                      </a:cubicBezTo>
                      <a:cubicBezTo>
                        <a:pt x="54" y="44"/>
                        <a:pt x="54" y="44"/>
                        <a:pt x="54" y="43"/>
                      </a:cubicBezTo>
                      <a:cubicBezTo>
                        <a:pt x="54" y="43"/>
                        <a:pt x="54" y="42"/>
                        <a:pt x="54" y="42"/>
                      </a:cubicBezTo>
                      <a:lnTo>
                        <a:pt x="49" y="39"/>
                      </a:lnTo>
                      <a:close/>
                      <a:moveTo>
                        <a:pt x="5" y="14"/>
                      </a:moveTo>
                      <a:cubicBezTo>
                        <a:pt x="5" y="14"/>
                        <a:pt x="4" y="14"/>
                        <a:pt x="4" y="14"/>
                      </a:cubicBezTo>
                      <a:cubicBezTo>
                        <a:pt x="4" y="15"/>
                        <a:pt x="4" y="16"/>
                        <a:pt x="4" y="16"/>
                      </a:cubicBezTo>
                      <a:cubicBezTo>
                        <a:pt x="9" y="19"/>
                        <a:pt x="9" y="19"/>
                        <a:pt x="9" y="19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19"/>
                        <a:pt x="11" y="19"/>
                        <a:pt x="11" y="18"/>
                      </a:cubicBezTo>
                      <a:cubicBezTo>
                        <a:pt x="11" y="18"/>
                        <a:pt x="11" y="17"/>
                        <a:pt x="10" y="17"/>
                      </a:cubicBezTo>
                      <a:lnTo>
                        <a:pt x="5" y="14"/>
                      </a:lnTo>
                      <a:close/>
                      <a:moveTo>
                        <a:pt x="41" y="48"/>
                      </a:moveTo>
                      <a:cubicBezTo>
                        <a:pt x="41" y="47"/>
                        <a:pt x="40" y="47"/>
                        <a:pt x="40" y="47"/>
                      </a:cubicBezTo>
                      <a:cubicBezTo>
                        <a:pt x="39" y="47"/>
                        <a:pt x="39" y="48"/>
                        <a:pt x="39" y="49"/>
                      </a:cubicBezTo>
                      <a:cubicBezTo>
                        <a:pt x="42" y="54"/>
                        <a:pt x="42" y="54"/>
                        <a:pt x="42" y="54"/>
                      </a:cubicBezTo>
                      <a:cubicBezTo>
                        <a:pt x="42" y="54"/>
                        <a:pt x="43" y="54"/>
                        <a:pt x="43" y="54"/>
                      </a:cubicBezTo>
                      <a:cubicBezTo>
                        <a:pt x="43" y="54"/>
                        <a:pt x="43" y="54"/>
                        <a:pt x="44" y="54"/>
                      </a:cubicBezTo>
                      <a:cubicBezTo>
                        <a:pt x="44" y="54"/>
                        <a:pt x="44" y="53"/>
                        <a:pt x="44" y="53"/>
                      </a:cubicBezTo>
                      <a:lnTo>
                        <a:pt x="41" y="48"/>
                      </a:lnTo>
                      <a:close/>
                      <a:moveTo>
                        <a:pt x="17" y="10"/>
                      </a:moveTo>
                      <a:cubicBezTo>
                        <a:pt x="17" y="11"/>
                        <a:pt x="18" y="11"/>
                        <a:pt x="18" y="11"/>
                      </a:cubicBezTo>
                      <a:cubicBezTo>
                        <a:pt x="18" y="11"/>
                        <a:pt x="18" y="11"/>
                        <a:pt x="18" y="11"/>
                      </a:cubicBezTo>
                      <a:cubicBezTo>
                        <a:pt x="19" y="10"/>
                        <a:pt x="19" y="10"/>
                        <a:pt x="19" y="9"/>
                      </a:cubicBezTo>
                      <a:cubicBezTo>
                        <a:pt x="16" y="4"/>
                        <a:pt x="16" y="4"/>
                        <a:pt x="16" y="4"/>
                      </a:cubicBezTo>
                      <a:cubicBezTo>
                        <a:pt x="16" y="4"/>
                        <a:pt x="15" y="4"/>
                        <a:pt x="15" y="4"/>
                      </a:cubicBezTo>
                      <a:cubicBezTo>
                        <a:pt x="14" y="4"/>
                        <a:pt x="14" y="5"/>
                        <a:pt x="14" y="5"/>
                      </a:cubicBezTo>
                      <a:lnTo>
                        <a:pt x="17" y="10"/>
                      </a:lnTo>
                      <a:close/>
                      <a:moveTo>
                        <a:pt x="29" y="8"/>
                      </a:moveTo>
                      <a:cubicBezTo>
                        <a:pt x="30" y="8"/>
                        <a:pt x="30" y="7"/>
                        <a:pt x="30" y="7"/>
                      </a:cubicBezTo>
                      <a:cubicBezTo>
                        <a:pt x="30" y="1"/>
                        <a:pt x="30" y="1"/>
                        <a:pt x="30" y="1"/>
                      </a:cubicBezTo>
                      <a:cubicBezTo>
                        <a:pt x="30" y="0"/>
                        <a:pt x="30" y="0"/>
                        <a:pt x="29" y="0"/>
                      </a:cubicBezTo>
                      <a:cubicBezTo>
                        <a:pt x="28" y="0"/>
                        <a:pt x="28" y="0"/>
                        <a:pt x="28" y="1"/>
                      </a:cubicBezTo>
                      <a:cubicBezTo>
                        <a:pt x="28" y="7"/>
                        <a:pt x="28" y="7"/>
                        <a:pt x="28" y="7"/>
                      </a:cubicBezTo>
                      <a:cubicBezTo>
                        <a:pt x="28" y="7"/>
                        <a:pt x="28" y="8"/>
                        <a:pt x="29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3" name="任意多边形: 形状 122">
                  <a:extLst>
                    <a:ext uri="{FF2B5EF4-FFF2-40B4-BE49-F238E27FC236}">
                      <a16:creationId xmlns:a16="http://schemas.microsoft.com/office/drawing/2014/main" id="{E1EFB32C-65BE-4A0D-B7E3-6A311AF27CEE}"/>
                    </a:ext>
                  </a:extLst>
                </p:cNvPr>
                <p:cNvSpPr/>
                <p:nvPr/>
              </p:nvSpPr>
              <p:spPr bwMode="auto">
                <a:xfrm>
                  <a:off x="4357037" y="4939020"/>
                  <a:ext cx="387857" cy="450518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4" name="任意多边形: 形状 123">
                  <a:extLst>
                    <a:ext uri="{FF2B5EF4-FFF2-40B4-BE49-F238E27FC236}">
                      <a16:creationId xmlns:a16="http://schemas.microsoft.com/office/drawing/2014/main" id="{94C54E05-817D-415B-8DA4-95984C025A42}"/>
                    </a:ext>
                  </a:extLst>
                </p:cNvPr>
                <p:cNvSpPr/>
                <p:nvPr/>
              </p:nvSpPr>
              <p:spPr bwMode="auto">
                <a:xfrm>
                  <a:off x="8232693" y="3470386"/>
                  <a:ext cx="400760" cy="439295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5" name="任意多边形: 形状 124">
                  <a:extLst>
                    <a:ext uri="{FF2B5EF4-FFF2-40B4-BE49-F238E27FC236}">
                      <a16:creationId xmlns:a16="http://schemas.microsoft.com/office/drawing/2014/main" id="{80E8180A-471F-423C-9677-25B5D513BD85}"/>
                    </a:ext>
                  </a:extLst>
                </p:cNvPr>
                <p:cNvSpPr/>
                <p:nvPr/>
              </p:nvSpPr>
              <p:spPr bwMode="auto">
                <a:xfrm>
                  <a:off x="3862042" y="1626330"/>
                  <a:ext cx="315978" cy="346360"/>
                </a:xfrm>
                <a:custGeom>
                  <a:avLst/>
                  <a:gdLst>
                    <a:gd name="T0" fmla="*/ 31 w 63"/>
                    <a:gd name="T1" fmla="*/ 45 h 67"/>
                    <a:gd name="T2" fmla="*/ 42 w 63"/>
                    <a:gd name="T3" fmla="*/ 33 h 67"/>
                    <a:gd name="T4" fmla="*/ 52 w 63"/>
                    <a:gd name="T5" fmla="*/ 33 h 67"/>
                    <a:gd name="T6" fmla="*/ 52 w 63"/>
                    <a:gd name="T7" fmla="*/ 0 h 67"/>
                    <a:gd name="T8" fmla="*/ 11 w 63"/>
                    <a:gd name="T9" fmla="*/ 0 h 67"/>
                    <a:gd name="T10" fmla="*/ 11 w 63"/>
                    <a:gd name="T11" fmla="*/ 33 h 67"/>
                    <a:gd name="T12" fmla="*/ 21 w 63"/>
                    <a:gd name="T13" fmla="*/ 33 h 67"/>
                    <a:gd name="T14" fmla="*/ 31 w 63"/>
                    <a:gd name="T15" fmla="*/ 45 h 67"/>
                    <a:gd name="T16" fmla="*/ 15 w 63"/>
                    <a:gd name="T17" fmla="*/ 29 h 67"/>
                    <a:gd name="T18" fmla="*/ 15 w 63"/>
                    <a:gd name="T19" fmla="*/ 4 h 67"/>
                    <a:gd name="T20" fmla="*/ 48 w 63"/>
                    <a:gd name="T21" fmla="*/ 4 h 67"/>
                    <a:gd name="T22" fmla="*/ 48 w 63"/>
                    <a:gd name="T23" fmla="*/ 29 h 67"/>
                    <a:gd name="T24" fmla="*/ 45 w 63"/>
                    <a:gd name="T25" fmla="*/ 29 h 67"/>
                    <a:gd name="T26" fmla="*/ 17 w 63"/>
                    <a:gd name="T27" fmla="*/ 29 h 67"/>
                    <a:gd name="T28" fmla="*/ 15 w 63"/>
                    <a:gd name="T29" fmla="*/ 29 h 67"/>
                    <a:gd name="T30" fmla="*/ 25 w 63"/>
                    <a:gd name="T31" fmla="*/ 47 h 67"/>
                    <a:gd name="T32" fmla="*/ 29 w 63"/>
                    <a:gd name="T33" fmla="*/ 45 h 67"/>
                    <a:gd name="T34" fmla="*/ 30 w 63"/>
                    <a:gd name="T35" fmla="*/ 46 h 67"/>
                    <a:gd name="T36" fmla="*/ 31 w 63"/>
                    <a:gd name="T37" fmla="*/ 47 h 67"/>
                    <a:gd name="T38" fmla="*/ 33 w 63"/>
                    <a:gd name="T39" fmla="*/ 46 h 67"/>
                    <a:gd name="T40" fmla="*/ 34 w 63"/>
                    <a:gd name="T41" fmla="*/ 45 h 67"/>
                    <a:gd name="T42" fmla="*/ 37 w 63"/>
                    <a:gd name="T43" fmla="*/ 47 h 67"/>
                    <a:gd name="T44" fmla="*/ 31 w 63"/>
                    <a:gd name="T45" fmla="*/ 50 h 67"/>
                    <a:gd name="T46" fmla="*/ 25 w 63"/>
                    <a:gd name="T47" fmla="*/ 47 h 67"/>
                    <a:gd name="T48" fmla="*/ 8 w 63"/>
                    <a:gd name="T49" fmla="*/ 50 h 67"/>
                    <a:gd name="T50" fmla="*/ 31 w 63"/>
                    <a:gd name="T51" fmla="*/ 59 h 67"/>
                    <a:gd name="T52" fmla="*/ 54 w 63"/>
                    <a:gd name="T53" fmla="*/ 50 h 67"/>
                    <a:gd name="T54" fmla="*/ 37 w 63"/>
                    <a:gd name="T55" fmla="*/ 41 h 67"/>
                    <a:gd name="T56" fmla="*/ 34 w 63"/>
                    <a:gd name="T57" fmla="*/ 44 h 67"/>
                    <a:gd name="T58" fmla="*/ 44 w 63"/>
                    <a:gd name="T59" fmla="*/ 48 h 67"/>
                    <a:gd name="T60" fmla="*/ 31 w 63"/>
                    <a:gd name="T61" fmla="*/ 51 h 67"/>
                    <a:gd name="T62" fmla="*/ 18 w 63"/>
                    <a:gd name="T63" fmla="*/ 48 h 67"/>
                    <a:gd name="T64" fmla="*/ 28 w 63"/>
                    <a:gd name="T65" fmla="*/ 44 h 67"/>
                    <a:gd name="T66" fmla="*/ 25 w 63"/>
                    <a:gd name="T67" fmla="*/ 41 h 67"/>
                    <a:gd name="T68" fmla="*/ 8 w 63"/>
                    <a:gd name="T69" fmla="*/ 50 h 67"/>
                    <a:gd name="T70" fmla="*/ 16 w 63"/>
                    <a:gd name="T71" fmla="*/ 48 h 67"/>
                    <a:gd name="T72" fmla="*/ 31 w 63"/>
                    <a:gd name="T73" fmla="*/ 53 h 67"/>
                    <a:gd name="T74" fmla="*/ 46 w 63"/>
                    <a:gd name="T75" fmla="*/ 48 h 67"/>
                    <a:gd name="T76" fmla="*/ 42 w 63"/>
                    <a:gd name="T77" fmla="*/ 44 h 67"/>
                    <a:gd name="T78" fmla="*/ 52 w 63"/>
                    <a:gd name="T79" fmla="*/ 50 h 67"/>
                    <a:gd name="T80" fmla="*/ 31 w 63"/>
                    <a:gd name="T81" fmla="*/ 57 h 67"/>
                    <a:gd name="T82" fmla="*/ 10 w 63"/>
                    <a:gd name="T83" fmla="*/ 50 h 67"/>
                    <a:gd name="T84" fmla="*/ 20 w 63"/>
                    <a:gd name="T85" fmla="*/ 44 h 67"/>
                    <a:gd name="T86" fmla="*/ 16 w 63"/>
                    <a:gd name="T87" fmla="*/ 48 h 67"/>
                    <a:gd name="T88" fmla="*/ 63 w 63"/>
                    <a:gd name="T89" fmla="*/ 52 h 67"/>
                    <a:gd name="T90" fmla="*/ 31 w 63"/>
                    <a:gd name="T91" fmla="*/ 67 h 67"/>
                    <a:gd name="T92" fmla="*/ 0 w 63"/>
                    <a:gd name="T93" fmla="*/ 52 h 67"/>
                    <a:gd name="T94" fmla="*/ 22 w 63"/>
                    <a:gd name="T95" fmla="*/ 38 h 67"/>
                    <a:gd name="T96" fmla="*/ 25 w 63"/>
                    <a:gd name="T97" fmla="*/ 40 h 67"/>
                    <a:gd name="T98" fmla="*/ 3 w 63"/>
                    <a:gd name="T99" fmla="*/ 52 h 67"/>
                    <a:gd name="T100" fmla="*/ 31 w 63"/>
                    <a:gd name="T101" fmla="*/ 64 h 67"/>
                    <a:gd name="T102" fmla="*/ 60 w 63"/>
                    <a:gd name="T103" fmla="*/ 52 h 67"/>
                    <a:gd name="T104" fmla="*/ 38 w 63"/>
                    <a:gd name="T105" fmla="*/ 40 h 67"/>
                    <a:gd name="T106" fmla="*/ 40 w 63"/>
                    <a:gd name="T107" fmla="*/ 38 h 67"/>
                    <a:gd name="T108" fmla="*/ 63 w 63"/>
                    <a:gd name="T109" fmla="*/ 52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63" h="67">
                      <a:moveTo>
                        <a:pt x="31" y="45"/>
                      </a:moveTo>
                      <a:cubicBezTo>
                        <a:pt x="42" y="33"/>
                        <a:pt x="42" y="33"/>
                        <a:pt x="42" y="33"/>
                      </a:cubicBezTo>
                      <a:cubicBezTo>
                        <a:pt x="52" y="33"/>
                        <a:pt x="52" y="33"/>
                        <a:pt x="52" y="33"/>
                      </a:cubicBezTo>
                      <a:cubicBezTo>
                        <a:pt x="52" y="0"/>
                        <a:pt x="52" y="0"/>
                        <a:pt x="52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11" y="33"/>
                        <a:pt x="11" y="33"/>
                        <a:pt x="11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lnTo>
                        <a:pt x="31" y="45"/>
                      </a:lnTo>
                      <a:close/>
                      <a:moveTo>
                        <a:pt x="15" y="29"/>
                      </a:moveTo>
                      <a:cubicBezTo>
                        <a:pt x="15" y="4"/>
                        <a:pt x="15" y="4"/>
                        <a:pt x="15" y="4"/>
                      </a:cubicBezTo>
                      <a:cubicBezTo>
                        <a:pt x="48" y="4"/>
                        <a:pt x="48" y="4"/>
                        <a:pt x="48" y="4"/>
                      </a:cubicBezTo>
                      <a:cubicBezTo>
                        <a:pt x="48" y="29"/>
                        <a:pt x="48" y="29"/>
                        <a:pt x="48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17" y="29"/>
                        <a:pt x="17" y="29"/>
                        <a:pt x="17" y="29"/>
                      </a:cubicBezTo>
                      <a:lnTo>
                        <a:pt x="15" y="29"/>
                      </a:lnTo>
                      <a:close/>
                      <a:moveTo>
                        <a:pt x="25" y="47"/>
                      </a:moveTo>
                      <a:cubicBezTo>
                        <a:pt x="25" y="46"/>
                        <a:pt x="27" y="45"/>
                        <a:pt x="29" y="45"/>
                      </a:cubicBezTo>
                      <a:cubicBezTo>
                        <a:pt x="30" y="46"/>
                        <a:pt x="30" y="46"/>
                        <a:pt x="30" y="46"/>
                      </a:cubicBezTo>
                      <a:cubicBezTo>
                        <a:pt x="30" y="46"/>
                        <a:pt x="31" y="47"/>
                        <a:pt x="31" y="47"/>
                      </a:cubicBezTo>
                      <a:cubicBezTo>
                        <a:pt x="32" y="47"/>
                        <a:pt x="32" y="46"/>
                        <a:pt x="33" y="46"/>
                      </a:cubicBezTo>
                      <a:cubicBezTo>
                        <a:pt x="34" y="45"/>
                        <a:pt x="34" y="45"/>
                        <a:pt x="34" y="45"/>
                      </a:cubicBezTo>
                      <a:cubicBezTo>
                        <a:pt x="36" y="45"/>
                        <a:pt x="37" y="46"/>
                        <a:pt x="37" y="47"/>
                      </a:cubicBezTo>
                      <a:cubicBezTo>
                        <a:pt x="37" y="49"/>
                        <a:pt x="34" y="50"/>
                        <a:pt x="31" y="50"/>
                      </a:cubicBezTo>
                      <a:cubicBezTo>
                        <a:pt x="28" y="50"/>
                        <a:pt x="25" y="49"/>
                        <a:pt x="25" y="47"/>
                      </a:cubicBezTo>
                      <a:close/>
                      <a:moveTo>
                        <a:pt x="8" y="50"/>
                      </a:moveTo>
                      <a:cubicBezTo>
                        <a:pt x="8" y="55"/>
                        <a:pt x="18" y="59"/>
                        <a:pt x="31" y="59"/>
                      </a:cubicBezTo>
                      <a:cubicBezTo>
                        <a:pt x="44" y="59"/>
                        <a:pt x="54" y="55"/>
                        <a:pt x="54" y="50"/>
                      </a:cubicBezTo>
                      <a:cubicBezTo>
                        <a:pt x="54" y="45"/>
                        <a:pt x="47" y="42"/>
                        <a:pt x="37" y="41"/>
                      </a:cubicBezTo>
                      <a:cubicBezTo>
                        <a:pt x="34" y="44"/>
                        <a:pt x="34" y="44"/>
                        <a:pt x="34" y="44"/>
                      </a:cubicBezTo>
                      <a:cubicBezTo>
                        <a:pt x="41" y="45"/>
                        <a:pt x="44" y="46"/>
                        <a:pt x="44" y="48"/>
                      </a:cubicBezTo>
                      <a:cubicBezTo>
                        <a:pt x="44" y="49"/>
                        <a:pt x="39" y="51"/>
                        <a:pt x="31" y="51"/>
                      </a:cubicBezTo>
                      <a:cubicBezTo>
                        <a:pt x="23" y="51"/>
                        <a:pt x="18" y="49"/>
                        <a:pt x="18" y="48"/>
                      </a:cubicBezTo>
                      <a:cubicBezTo>
                        <a:pt x="18" y="46"/>
                        <a:pt x="22" y="45"/>
                        <a:pt x="28" y="44"/>
                      </a:cubicBezTo>
                      <a:cubicBezTo>
                        <a:pt x="25" y="41"/>
                        <a:pt x="25" y="41"/>
                        <a:pt x="25" y="41"/>
                      </a:cubicBezTo>
                      <a:cubicBezTo>
                        <a:pt x="15" y="42"/>
                        <a:pt x="8" y="45"/>
                        <a:pt x="8" y="50"/>
                      </a:cubicBezTo>
                      <a:close/>
                      <a:moveTo>
                        <a:pt x="16" y="48"/>
                      </a:moveTo>
                      <a:cubicBezTo>
                        <a:pt x="16" y="51"/>
                        <a:pt x="24" y="53"/>
                        <a:pt x="31" y="53"/>
                      </a:cubicBezTo>
                      <a:cubicBezTo>
                        <a:pt x="39" y="53"/>
                        <a:pt x="46" y="51"/>
                        <a:pt x="46" y="48"/>
                      </a:cubicBezTo>
                      <a:cubicBezTo>
                        <a:pt x="46" y="46"/>
                        <a:pt x="45" y="44"/>
                        <a:pt x="42" y="44"/>
                      </a:cubicBezTo>
                      <a:cubicBezTo>
                        <a:pt x="48" y="45"/>
                        <a:pt x="52" y="47"/>
                        <a:pt x="52" y="50"/>
                      </a:cubicBezTo>
                      <a:cubicBezTo>
                        <a:pt x="52" y="53"/>
                        <a:pt x="44" y="57"/>
                        <a:pt x="31" y="57"/>
                      </a:cubicBezTo>
                      <a:cubicBezTo>
                        <a:pt x="19" y="57"/>
                        <a:pt x="10" y="53"/>
                        <a:pt x="10" y="50"/>
                      </a:cubicBezTo>
                      <a:cubicBezTo>
                        <a:pt x="10" y="47"/>
                        <a:pt x="14" y="45"/>
                        <a:pt x="20" y="44"/>
                      </a:cubicBezTo>
                      <a:cubicBezTo>
                        <a:pt x="18" y="44"/>
                        <a:pt x="16" y="46"/>
                        <a:pt x="16" y="48"/>
                      </a:cubicBezTo>
                      <a:close/>
                      <a:moveTo>
                        <a:pt x="63" y="52"/>
                      </a:moveTo>
                      <a:cubicBezTo>
                        <a:pt x="63" y="61"/>
                        <a:pt x="49" y="67"/>
                        <a:pt x="31" y="67"/>
                      </a:cubicBezTo>
                      <a:cubicBezTo>
                        <a:pt x="14" y="67"/>
                        <a:pt x="0" y="61"/>
                        <a:pt x="0" y="52"/>
                      </a:cubicBezTo>
                      <a:cubicBezTo>
                        <a:pt x="0" y="45"/>
                        <a:pt x="9" y="40"/>
                        <a:pt x="22" y="38"/>
                      </a:cubicBezTo>
                      <a:cubicBezTo>
                        <a:pt x="25" y="40"/>
                        <a:pt x="25" y="40"/>
                        <a:pt x="25" y="40"/>
                      </a:cubicBezTo>
                      <a:cubicBezTo>
                        <a:pt x="11" y="42"/>
                        <a:pt x="3" y="47"/>
                        <a:pt x="3" y="52"/>
                      </a:cubicBezTo>
                      <a:cubicBezTo>
                        <a:pt x="3" y="58"/>
                        <a:pt x="14" y="64"/>
                        <a:pt x="31" y="64"/>
                      </a:cubicBezTo>
                      <a:cubicBezTo>
                        <a:pt x="48" y="64"/>
                        <a:pt x="60" y="58"/>
                        <a:pt x="60" y="52"/>
                      </a:cubicBezTo>
                      <a:cubicBezTo>
                        <a:pt x="60" y="47"/>
                        <a:pt x="51" y="42"/>
                        <a:pt x="38" y="40"/>
                      </a:cubicBezTo>
                      <a:cubicBezTo>
                        <a:pt x="40" y="38"/>
                        <a:pt x="40" y="38"/>
                        <a:pt x="40" y="38"/>
                      </a:cubicBezTo>
                      <a:cubicBezTo>
                        <a:pt x="53" y="40"/>
                        <a:pt x="63" y="45"/>
                        <a:pt x="63" y="5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6" name="任意多边形: 形状 125">
                  <a:extLst>
                    <a:ext uri="{FF2B5EF4-FFF2-40B4-BE49-F238E27FC236}">
                      <a16:creationId xmlns:a16="http://schemas.microsoft.com/office/drawing/2014/main" id="{127DD2B2-51C3-43DA-9BD0-9456AC9176D2}"/>
                    </a:ext>
                  </a:extLst>
                </p:cNvPr>
                <p:cNvSpPr/>
                <p:nvPr/>
              </p:nvSpPr>
              <p:spPr bwMode="auto">
                <a:xfrm>
                  <a:off x="5708990" y="2699458"/>
                  <a:ext cx="301588" cy="301587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7" name="任意多边形: 形状 126">
                  <a:extLst>
                    <a:ext uri="{FF2B5EF4-FFF2-40B4-BE49-F238E27FC236}">
                      <a16:creationId xmlns:a16="http://schemas.microsoft.com/office/drawing/2014/main" id="{11A5A29D-6A82-4AF0-923A-4BAD252791FD}"/>
                    </a:ext>
                  </a:extLst>
                </p:cNvPr>
                <p:cNvSpPr/>
                <p:nvPr/>
              </p:nvSpPr>
              <p:spPr bwMode="auto">
                <a:xfrm>
                  <a:off x="5992373" y="4728430"/>
                  <a:ext cx="368589" cy="307878"/>
                </a:xfrm>
                <a:custGeom>
                  <a:avLst/>
                  <a:gdLst>
                    <a:gd name="T0" fmla="*/ 71 w 72"/>
                    <a:gd name="T1" fmla="*/ 15 h 60"/>
                    <a:gd name="T2" fmla="*/ 57 w 72"/>
                    <a:gd name="T3" fmla="*/ 17 h 60"/>
                    <a:gd name="T4" fmla="*/ 44 w 72"/>
                    <a:gd name="T5" fmla="*/ 45 h 60"/>
                    <a:gd name="T6" fmla="*/ 12 w 72"/>
                    <a:gd name="T7" fmla="*/ 45 h 60"/>
                    <a:gd name="T8" fmla="*/ 14 w 72"/>
                    <a:gd name="T9" fmla="*/ 48 h 60"/>
                    <a:gd name="T10" fmla="*/ 48 w 72"/>
                    <a:gd name="T11" fmla="*/ 50 h 60"/>
                    <a:gd name="T12" fmla="*/ 14 w 72"/>
                    <a:gd name="T13" fmla="*/ 51 h 60"/>
                    <a:gd name="T14" fmla="*/ 9 w 72"/>
                    <a:gd name="T15" fmla="*/ 44 h 60"/>
                    <a:gd name="T16" fmla="*/ 8 w 72"/>
                    <a:gd name="T17" fmla="*/ 41 h 60"/>
                    <a:gd name="T18" fmla="*/ 1 w 72"/>
                    <a:gd name="T19" fmla="*/ 22 h 60"/>
                    <a:gd name="T20" fmla="*/ 11 w 72"/>
                    <a:gd name="T21" fmla="*/ 40 h 60"/>
                    <a:gd name="T22" fmla="*/ 44 w 72"/>
                    <a:gd name="T23" fmla="*/ 42 h 60"/>
                    <a:gd name="T24" fmla="*/ 54 w 72"/>
                    <a:gd name="T25" fmla="*/ 16 h 60"/>
                    <a:gd name="T26" fmla="*/ 71 w 72"/>
                    <a:gd name="T27" fmla="*/ 12 h 60"/>
                    <a:gd name="T28" fmla="*/ 18 w 72"/>
                    <a:gd name="T29" fmla="*/ 56 h 60"/>
                    <a:gd name="T30" fmla="*/ 11 w 72"/>
                    <a:gd name="T31" fmla="*/ 56 h 60"/>
                    <a:gd name="T32" fmla="*/ 18 w 72"/>
                    <a:gd name="T33" fmla="*/ 56 h 60"/>
                    <a:gd name="T34" fmla="*/ 15 w 72"/>
                    <a:gd name="T35" fmla="*/ 54 h 60"/>
                    <a:gd name="T36" fmla="*/ 15 w 72"/>
                    <a:gd name="T37" fmla="*/ 58 h 60"/>
                    <a:gd name="T38" fmla="*/ 45 w 72"/>
                    <a:gd name="T39" fmla="*/ 56 h 60"/>
                    <a:gd name="T40" fmla="*/ 38 w 72"/>
                    <a:gd name="T41" fmla="*/ 56 h 60"/>
                    <a:gd name="T42" fmla="*/ 45 w 72"/>
                    <a:gd name="T43" fmla="*/ 56 h 60"/>
                    <a:gd name="T44" fmla="*/ 42 w 72"/>
                    <a:gd name="T45" fmla="*/ 54 h 60"/>
                    <a:gd name="T46" fmla="*/ 42 w 72"/>
                    <a:gd name="T47" fmla="*/ 58 h 60"/>
                    <a:gd name="T48" fmla="*/ 46 w 72"/>
                    <a:gd name="T49" fmla="*/ 35 h 60"/>
                    <a:gd name="T50" fmla="*/ 12 w 72"/>
                    <a:gd name="T51" fmla="*/ 34 h 60"/>
                    <a:gd name="T52" fmla="*/ 12 w 72"/>
                    <a:gd name="T53" fmla="*/ 36 h 60"/>
                    <a:gd name="T54" fmla="*/ 46 w 72"/>
                    <a:gd name="T55" fmla="*/ 35 h 60"/>
                    <a:gd name="T56" fmla="*/ 12 w 72"/>
                    <a:gd name="T57" fmla="*/ 39 h 60"/>
                    <a:gd name="T58" fmla="*/ 43 w 72"/>
                    <a:gd name="T59" fmla="*/ 40 h 60"/>
                    <a:gd name="T60" fmla="*/ 43 w 72"/>
                    <a:gd name="T61" fmla="*/ 38 h 60"/>
                    <a:gd name="T62" fmla="*/ 13 w 72"/>
                    <a:gd name="T63" fmla="*/ 28 h 60"/>
                    <a:gd name="T64" fmla="*/ 16 w 72"/>
                    <a:gd name="T65" fmla="*/ 23 h 60"/>
                    <a:gd name="T66" fmla="*/ 28 w 72"/>
                    <a:gd name="T67" fmla="*/ 14 h 60"/>
                    <a:gd name="T68" fmla="*/ 33 w 72"/>
                    <a:gd name="T69" fmla="*/ 17 h 60"/>
                    <a:gd name="T70" fmla="*/ 36 w 72"/>
                    <a:gd name="T71" fmla="*/ 22 h 60"/>
                    <a:gd name="T72" fmla="*/ 39 w 72"/>
                    <a:gd name="T73" fmla="*/ 17 h 60"/>
                    <a:gd name="T74" fmla="*/ 51 w 72"/>
                    <a:gd name="T75" fmla="*/ 7 h 60"/>
                    <a:gd name="T76" fmla="*/ 51 w 72"/>
                    <a:gd name="T77" fmla="*/ 0 h 60"/>
                    <a:gd name="T78" fmla="*/ 49 w 72"/>
                    <a:gd name="T79" fmla="*/ 5 h 60"/>
                    <a:gd name="T80" fmla="*/ 36 w 72"/>
                    <a:gd name="T81" fmla="*/ 15 h 60"/>
                    <a:gd name="T82" fmla="*/ 31 w 72"/>
                    <a:gd name="T83" fmla="*/ 12 h 60"/>
                    <a:gd name="T84" fmla="*/ 28 w 72"/>
                    <a:gd name="T85" fmla="*/ 7 h 60"/>
                    <a:gd name="T86" fmla="*/ 25 w 72"/>
                    <a:gd name="T87" fmla="*/ 11 h 60"/>
                    <a:gd name="T88" fmla="*/ 13 w 72"/>
                    <a:gd name="T89" fmla="*/ 22 h 60"/>
                    <a:gd name="T90" fmla="*/ 13 w 72"/>
                    <a:gd name="T91" fmla="*/ 28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72" h="60">
                      <a:moveTo>
                        <a:pt x="72" y="13"/>
                      </a:moveTo>
                      <a:cubicBezTo>
                        <a:pt x="72" y="14"/>
                        <a:pt x="71" y="15"/>
                        <a:pt x="71" y="15"/>
                      </a:cubicBezTo>
                      <a:cubicBezTo>
                        <a:pt x="60" y="15"/>
                        <a:pt x="60" y="15"/>
                        <a:pt x="60" y="15"/>
                      </a:cubicBezTo>
                      <a:cubicBezTo>
                        <a:pt x="59" y="15"/>
                        <a:pt x="57" y="16"/>
                        <a:pt x="57" y="17"/>
                      </a:cubicBezTo>
                      <a:cubicBezTo>
                        <a:pt x="49" y="41"/>
                        <a:pt x="49" y="41"/>
                        <a:pt x="49" y="41"/>
                      </a:cubicBezTo>
                      <a:cubicBezTo>
                        <a:pt x="49" y="43"/>
                        <a:pt x="46" y="45"/>
                        <a:pt x="44" y="45"/>
                      </a:cubicBezTo>
                      <a:cubicBezTo>
                        <a:pt x="14" y="45"/>
                        <a:pt x="14" y="45"/>
                        <a:pt x="14" y="45"/>
                      </a:cubicBezTo>
                      <a:cubicBezTo>
                        <a:pt x="13" y="45"/>
                        <a:pt x="13" y="45"/>
                        <a:pt x="12" y="45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2" y="47"/>
                        <a:pt x="13" y="48"/>
                        <a:pt x="14" y="48"/>
                      </a:cubicBezTo>
                      <a:cubicBezTo>
                        <a:pt x="47" y="48"/>
                        <a:pt x="47" y="48"/>
                        <a:pt x="47" y="48"/>
                      </a:cubicBezTo>
                      <a:cubicBezTo>
                        <a:pt x="48" y="48"/>
                        <a:pt x="48" y="49"/>
                        <a:pt x="48" y="50"/>
                      </a:cubicBezTo>
                      <a:cubicBezTo>
                        <a:pt x="48" y="50"/>
                        <a:pt x="48" y="51"/>
                        <a:pt x="47" y="51"/>
                      </a:cubicBezTo>
                      <a:cubicBezTo>
                        <a:pt x="14" y="51"/>
                        <a:pt x="14" y="51"/>
                        <a:pt x="14" y="51"/>
                      </a:cubicBezTo>
                      <a:cubicBezTo>
                        <a:pt x="11" y="51"/>
                        <a:pt x="9" y="49"/>
                        <a:pt x="9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2"/>
                        <a:pt x="8" y="42"/>
                        <a:pt x="8" y="41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3"/>
                        <a:pt x="0" y="22"/>
                        <a:pt x="1" y="22"/>
                      </a:cubicBezTo>
                      <a:cubicBezTo>
                        <a:pt x="2" y="21"/>
                        <a:pt x="3" y="22"/>
                        <a:pt x="3" y="22"/>
                      </a:cubicBezTo>
                      <a:cubicBezTo>
                        <a:pt x="11" y="40"/>
                        <a:pt x="11" y="40"/>
                        <a:pt x="11" y="40"/>
                      </a:cubicBezTo>
                      <a:cubicBezTo>
                        <a:pt x="11" y="41"/>
                        <a:pt x="13" y="42"/>
                        <a:pt x="14" y="42"/>
                      </a:cubicBezTo>
                      <a:cubicBezTo>
                        <a:pt x="44" y="42"/>
                        <a:pt x="44" y="42"/>
                        <a:pt x="44" y="42"/>
                      </a:cubicBezTo>
                      <a:cubicBezTo>
                        <a:pt x="45" y="42"/>
                        <a:pt x="46" y="41"/>
                        <a:pt x="47" y="40"/>
                      </a:cubicBezTo>
                      <a:cubicBezTo>
                        <a:pt x="54" y="16"/>
                        <a:pt x="54" y="16"/>
                        <a:pt x="54" y="16"/>
                      </a:cubicBezTo>
                      <a:cubicBezTo>
                        <a:pt x="55" y="13"/>
                        <a:pt x="57" y="12"/>
                        <a:pt x="60" y="12"/>
                      </a:cubicBezTo>
                      <a:cubicBezTo>
                        <a:pt x="71" y="12"/>
                        <a:pt x="71" y="12"/>
                        <a:pt x="71" y="12"/>
                      </a:cubicBezTo>
                      <a:cubicBezTo>
                        <a:pt x="71" y="12"/>
                        <a:pt x="72" y="12"/>
                        <a:pt x="72" y="13"/>
                      </a:cubicBezTo>
                      <a:close/>
                      <a:moveTo>
                        <a:pt x="18" y="56"/>
                      </a:moveTo>
                      <a:cubicBezTo>
                        <a:pt x="18" y="58"/>
                        <a:pt x="17" y="60"/>
                        <a:pt x="15" y="60"/>
                      </a:cubicBezTo>
                      <a:cubicBezTo>
                        <a:pt x="13" y="60"/>
                        <a:pt x="11" y="58"/>
                        <a:pt x="11" y="56"/>
                      </a:cubicBezTo>
                      <a:cubicBezTo>
                        <a:pt x="11" y="54"/>
                        <a:pt x="13" y="52"/>
                        <a:pt x="15" y="52"/>
                      </a:cubicBezTo>
                      <a:cubicBezTo>
                        <a:pt x="17" y="52"/>
                        <a:pt x="18" y="54"/>
                        <a:pt x="18" y="56"/>
                      </a:cubicBezTo>
                      <a:close/>
                      <a:moveTo>
                        <a:pt x="16" y="56"/>
                      </a:moveTo>
                      <a:cubicBezTo>
                        <a:pt x="16" y="55"/>
                        <a:pt x="16" y="54"/>
                        <a:pt x="15" y="54"/>
                      </a:cubicBezTo>
                      <a:cubicBezTo>
                        <a:pt x="14" y="54"/>
                        <a:pt x="13" y="55"/>
                        <a:pt x="13" y="56"/>
                      </a:cubicBezTo>
                      <a:cubicBezTo>
                        <a:pt x="13" y="57"/>
                        <a:pt x="14" y="58"/>
                        <a:pt x="15" y="58"/>
                      </a:cubicBezTo>
                      <a:cubicBezTo>
                        <a:pt x="16" y="58"/>
                        <a:pt x="16" y="57"/>
                        <a:pt x="16" y="56"/>
                      </a:cubicBezTo>
                      <a:close/>
                      <a:moveTo>
                        <a:pt x="45" y="56"/>
                      </a:moveTo>
                      <a:cubicBezTo>
                        <a:pt x="45" y="58"/>
                        <a:pt x="44" y="60"/>
                        <a:pt x="42" y="60"/>
                      </a:cubicBezTo>
                      <a:cubicBezTo>
                        <a:pt x="40" y="60"/>
                        <a:pt x="38" y="58"/>
                        <a:pt x="38" y="56"/>
                      </a:cubicBezTo>
                      <a:cubicBezTo>
                        <a:pt x="38" y="54"/>
                        <a:pt x="40" y="52"/>
                        <a:pt x="42" y="52"/>
                      </a:cubicBezTo>
                      <a:cubicBezTo>
                        <a:pt x="44" y="52"/>
                        <a:pt x="45" y="54"/>
                        <a:pt x="45" y="56"/>
                      </a:cubicBezTo>
                      <a:close/>
                      <a:moveTo>
                        <a:pt x="43" y="56"/>
                      </a:moveTo>
                      <a:cubicBezTo>
                        <a:pt x="43" y="55"/>
                        <a:pt x="43" y="54"/>
                        <a:pt x="42" y="54"/>
                      </a:cubicBezTo>
                      <a:cubicBezTo>
                        <a:pt x="41" y="54"/>
                        <a:pt x="40" y="55"/>
                        <a:pt x="40" y="56"/>
                      </a:cubicBezTo>
                      <a:cubicBezTo>
                        <a:pt x="40" y="57"/>
                        <a:pt x="41" y="58"/>
                        <a:pt x="42" y="58"/>
                      </a:cubicBezTo>
                      <a:cubicBezTo>
                        <a:pt x="43" y="58"/>
                        <a:pt x="43" y="57"/>
                        <a:pt x="43" y="56"/>
                      </a:cubicBezTo>
                      <a:close/>
                      <a:moveTo>
                        <a:pt x="46" y="35"/>
                      </a:moveTo>
                      <a:cubicBezTo>
                        <a:pt x="46" y="34"/>
                        <a:pt x="45" y="34"/>
                        <a:pt x="45" y="34"/>
                      </a:cubicBezTo>
                      <a:cubicBezTo>
                        <a:pt x="12" y="34"/>
                        <a:pt x="12" y="34"/>
                        <a:pt x="12" y="34"/>
                      </a:cubicBezTo>
                      <a:cubicBezTo>
                        <a:pt x="11" y="34"/>
                        <a:pt x="11" y="34"/>
                        <a:pt x="11" y="35"/>
                      </a:cubicBezTo>
                      <a:cubicBezTo>
                        <a:pt x="11" y="35"/>
                        <a:pt x="11" y="36"/>
                        <a:pt x="12" y="36"/>
                      </a:cubicBezTo>
                      <a:cubicBezTo>
                        <a:pt x="45" y="36"/>
                        <a:pt x="45" y="36"/>
                        <a:pt x="45" y="36"/>
                      </a:cubicBezTo>
                      <a:cubicBezTo>
                        <a:pt x="45" y="36"/>
                        <a:pt x="46" y="35"/>
                        <a:pt x="46" y="35"/>
                      </a:cubicBezTo>
                      <a:close/>
                      <a:moveTo>
                        <a:pt x="13" y="38"/>
                      </a:moveTo>
                      <a:cubicBezTo>
                        <a:pt x="13" y="38"/>
                        <a:pt x="12" y="39"/>
                        <a:pt x="12" y="39"/>
                      </a:cubicBezTo>
                      <a:cubicBezTo>
                        <a:pt x="12" y="40"/>
                        <a:pt x="13" y="40"/>
                        <a:pt x="13" y="40"/>
                      </a:cubicBezTo>
                      <a:cubicBezTo>
                        <a:pt x="43" y="40"/>
                        <a:pt x="43" y="40"/>
                        <a:pt x="43" y="40"/>
                      </a:cubicBezTo>
                      <a:cubicBezTo>
                        <a:pt x="44" y="40"/>
                        <a:pt x="44" y="40"/>
                        <a:pt x="44" y="39"/>
                      </a:cubicBezTo>
                      <a:cubicBezTo>
                        <a:pt x="44" y="39"/>
                        <a:pt x="44" y="38"/>
                        <a:pt x="43" y="38"/>
                      </a:cubicBezTo>
                      <a:lnTo>
                        <a:pt x="13" y="38"/>
                      </a:lnTo>
                      <a:close/>
                      <a:moveTo>
                        <a:pt x="13" y="28"/>
                      </a:moveTo>
                      <a:cubicBezTo>
                        <a:pt x="14" y="28"/>
                        <a:pt x="16" y="27"/>
                        <a:pt x="16" y="25"/>
                      </a:cubicBezTo>
                      <a:cubicBezTo>
                        <a:pt x="16" y="24"/>
                        <a:pt x="16" y="24"/>
                        <a:pt x="16" y="23"/>
                      </a:cubicBezTo>
                      <a:cubicBezTo>
                        <a:pt x="26" y="13"/>
                        <a:pt x="26" y="13"/>
                        <a:pt x="26" y="13"/>
                      </a:cubicBezTo>
                      <a:cubicBezTo>
                        <a:pt x="27" y="13"/>
                        <a:pt x="27" y="14"/>
                        <a:pt x="28" y="14"/>
                      </a:cubicBezTo>
                      <a:cubicBezTo>
                        <a:pt x="28" y="14"/>
                        <a:pt x="29" y="13"/>
                        <a:pt x="29" y="13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8"/>
                        <a:pt x="33" y="18"/>
                        <a:pt x="33" y="19"/>
                      </a:cubicBezTo>
                      <a:cubicBezTo>
                        <a:pt x="33" y="20"/>
                        <a:pt x="34" y="22"/>
                        <a:pt x="36" y="22"/>
                      </a:cubicBezTo>
                      <a:cubicBezTo>
                        <a:pt x="38" y="22"/>
                        <a:pt x="39" y="20"/>
                        <a:pt x="39" y="19"/>
                      </a:cubicBezTo>
                      <a:cubicBezTo>
                        <a:pt x="39" y="18"/>
                        <a:pt x="39" y="18"/>
                        <a:pt x="39" y="17"/>
                      </a:cubicBezTo>
                      <a:cubicBezTo>
                        <a:pt x="50" y="6"/>
                        <a:pt x="50" y="6"/>
                        <a:pt x="50" y="6"/>
                      </a:cubicBezTo>
                      <a:cubicBezTo>
                        <a:pt x="50" y="7"/>
                        <a:pt x="51" y="7"/>
                        <a:pt x="51" y="7"/>
                      </a:cubicBezTo>
                      <a:cubicBezTo>
                        <a:pt x="53" y="7"/>
                        <a:pt x="54" y="5"/>
                        <a:pt x="54" y="4"/>
                      </a:cubicBezTo>
                      <a:cubicBezTo>
                        <a:pt x="54" y="2"/>
                        <a:pt x="53" y="0"/>
                        <a:pt x="51" y="0"/>
                      </a:cubicBezTo>
                      <a:cubicBezTo>
                        <a:pt x="50" y="0"/>
                        <a:pt x="48" y="2"/>
                        <a:pt x="48" y="4"/>
                      </a:cubicBezTo>
                      <a:cubicBezTo>
                        <a:pt x="48" y="4"/>
                        <a:pt x="48" y="5"/>
                        <a:pt x="49" y="5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7" y="16"/>
                        <a:pt x="37" y="15"/>
                        <a:pt x="36" y="15"/>
                      </a:cubicBezTo>
                      <a:cubicBezTo>
                        <a:pt x="36" y="15"/>
                        <a:pt x="35" y="16"/>
                        <a:pt x="35" y="16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11"/>
                        <a:pt x="31" y="11"/>
                        <a:pt x="31" y="10"/>
                      </a:cubicBezTo>
                      <a:cubicBezTo>
                        <a:pt x="31" y="9"/>
                        <a:pt x="30" y="7"/>
                        <a:pt x="28" y="7"/>
                      </a:cubicBezTo>
                      <a:cubicBezTo>
                        <a:pt x="26" y="7"/>
                        <a:pt x="25" y="9"/>
                        <a:pt x="25" y="10"/>
                      </a:cubicBezTo>
                      <a:cubicBezTo>
                        <a:pt x="25" y="11"/>
                        <a:pt x="25" y="11"/>
                        <a:pt x="25" y="11"/>
                      </a:cubicBezTo>
                      <a:cubicBezTo>
                        <a:pt x="14" y="22"/>
                        <a:pt x="14" y="22"/>
                        <a:pt x="14" y="22"/>
                      </a:cubicBezTo>
                      <a:cubicBezTo>
                        <a:pt x="14" y="22"/>
                        <a:pt x="13" y="22"/>
                        <a:pt x="13" y="22"/>
                      </a:cubicBezTo>
                      <a:cubicBezTo>
                        <a:pt x="11" y="22"/>
                        <a:pt x="10" y="23"/>
                        <a:pt x="10" y="25"/>
                      </a:cubicBezTo>
                      <a:cubicBezTo>
                        <a:pt x="10" y="27"/>
                        <a:pt x="11" y="28"/>
                        <a:pt x="13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8" name="任意多边形: 形状 127">
                  <a:extLst>
                    <a:ext uri="{FF2B5EF4-FFF2-40B4-BE49-F238E27FC236}">
                      <a16:creationId xmlns:a16="http://schemas.microsoft.com/office/drawing/2014/main" id="{1FF3ACC3-933C-43FC-8D39-5B4CEC4880AA}"/>
                    </a:ext>
                  </a:extLst>
                </p:cNvPr>
                <p:cNvSpPr/>
                <p:nvPr/>
              </p:nvSpPr>
              <p:spPr bwMode="auto">
                <a:xfrm>
                  <a:off x="6409693" y="5537371"/>
                  <a:ext cx="316117" cy="424058"/>
                </a:xfrm>
                <a:custGeom>
                  <a:avLst/>
                  <a:gdLst>
                    <a:gd name="T0" fmla="*/ 13 w 52"/>
                    <a:gd name="T1" fmla="*/ 18 h 70"/>
                    <a:gd name="T2" fmla="*/ 12 w 52"/>
                    <a:gd name="T3" fmla="*/ 17 h 70"/>
                    <a:gd name="T4" fmla="*/ 11 w 52"/>
                    <a:gd name="T5" fmla="*/ 15 h 70"/>
                    <a:gd name="T6" fmla="*/ 51 w 52"/>
                    <a:gd name="T7" fmla="*/ 50 h 70"/>
                    <a:gd name="T8" fmla="*/ 49 w 52"/>
                    <a:gd name="T9" fmla="*/ 60 h 70"/>
                    <a:gd name="T10" fmla="*/ 51 w 52"/>
                    <a:gd name="T11" fmla="*/ 69 h 70"/>
                    <a:gd name="T12" fmla="*/ 0 w 52"/>
                    <a:gd name="T13" fmla="*/ 69 h 70"/>
                    <a:gd name="T14" fmla="*/ 1 w 52"/>
                    <a:gd name="T15" fmla="*/ 60 h 70"/>
                    <a:gd name="T16" fmla="*/ 4 w 52"/>
                    <a:gd name="T17" fmla="*/ 45 h 70"/>
                    <a:gd name="T18" fmla="*/ 19 w 52"/>
                    <a:gd name="T19" fmla="*/ 27 h 70"/>
                    <a:gd name="T20" fmla="*/ 15 w 52"/>
                    <a:gd name="T21" fmla="*/ 30 h 70"/>
                    <a:gd name="T22" fmla="*/ 10 w 52"/>
                    <a:gd name="T23" fmla="*/ 34 h 70"/>
                    <a:gd name="T24" fmla="*/ 2 w 52"/>
                    <a:gd name="T25" fmla="*/ 28 h 70"/>
                    <a:gd name="T26" fmla="*/ 8 w 52"/>
                    <a:gd name="T27" fmla="*/ 14 h 70"/>
                    <a:gd name="T28" fmla="*/ 13 w 52"/>
                    <a:gd name="T29" fmla="*/ 5 h 70"/>
                    <a:gd name="T30" fmla="*/ 12 w 52"/>
                    <a:gd name="T31" fmla="*/ 0 h 70"/>
                    <a:gd name="T32" fmla="*/ 12 w 52"/>
                    <a:gd name="T33" fmla="*/ 0 h 70"/>
                    <a:gd name="T34" fmla="*/ 14 w 52"/>
                    <a:gd name="T35" fmla="*/ 0 h 70"/>
                    <a:gd name="T36" fmla="*/ 43 w 52"/>
                    <a:gd name="T37" fmla="*/ 13 h 70"/>
                    <a:gd name="T38" fmla="*/ 51 w 52"/>
                    <a:gd name="T39" fmla="*/ 47 h 70"/>
                    <a:gd name="T40" fmla="*/ 2 w 52"/>
                    <a:gd name="T41" fmla="*/ 62 h 70"/>
                    <a:gd name="T42" fmla="*/ 48 w 52"/>
                    <a:gd name="T43" fmla="*/ 62 h 70"/>
                    <a:gd name="T44" fmla="*/ 2 w 52"/>
                    <a:gd name="T45" fmla="*/ 62 h 70"/>
                    <a:gd name="T46" fmla="*/ 6 w 52"/>
                    <a:gd name="T47" fmla="*/ 56 h 70"/>
                    <a:gd name="T48" fmla="*/ 44 w 52"/>
                    <a:gd name="T49" fmla="*/ 60 h 70"/>
                    <a:gd name="T50" fmla="*/ 12 w 52"/>
                    <a:gd name="T51" fmla="*/ 41 h 70"/>
                    <a:gd name="T52" fmla="*/ 6 w 52"/>
                    <a:gd name="T53" fmla="*/ 54 h 70"/>
                    <a:gd name="T54" fmla="*/ 15 w 52"/>
                    <a:gd name="T55" fmla="*/ 42 h 70"/>
                    <a:gd name="T56" fmla="*/ 12 w 52"/>
                    <a:gd name="T57" fmla="*/ 48 h 70"/>
                    <a:gd name="T58" fmla="*/ 41 w 52"/>
                    <a:gd name="T59" fmla="*/ 54 h 70"/>
                    <a:gd name="T60" fmla="*/ 39 w 52"/>
                    <a:gd name="T61" fmla="*/ 17 h 70"/>
                    <a:gd name="T62" fmla="*/ 22 w 52"/>
                    <a:gd name="T63" fmla="*/ 6 h 70"/>
                    <a:gd name="T64" fmla="*/ 20 w 52"/>
                    <a:gd name="T65" fmla="*/ 5 h 70"/>
                    <a:gd name="T66" fmla="*/ 18 w 52"/>
                    <a:gd name="T67" fmla="*/ 4 h 70"/>
                    <a:gd name="T68" fmla="*/ 19 w 52"/>
                    <a:gd name="T69" fmla="*/ 7 h 70"/>
                    <a:gd name="T70" fmla="*/ 17 w 52"/>
                    <a:gd name="T71" fmla="*/ 8 h 70"/>
                    <a:gd name="T72" fmla="*/ 11 w 52"/>
                    <a:gd name="T73" fmla="*/ 14 h 70"/>
                    <a:gd name="T74" fmla="*/ 4 w 52"/>
                    <a:gd name="T75" fmla="*/ 28 h 70"/>
                    <a:gd name="T76" fmla="*/ 10 w 52"/>
                    <a:gd name="T77" fmla="*/ 31 h 70"/>
                    <a:gd name="T78" fmla="*/ 16 w 52"/>
                    <a:gd name="T79" fmla="*/ 25 h 70"/>
                    <a:gd name="T80" fmla="*/ 21 w 52"/>
                    <a:gd name="T81" fmla="*/ 25 h 70"/>
                    <a:gd name="T82" fmla="*/ 30 w 52"/>
                    <a:gd name="T83" fmla="*/ 19 h 70"/>
                    <a:gd name="T84" fmla="*/ 44 w 52"/>
                    <a:gd name="T85" fmla="*/ 36 h 70"/>
                    <a:gd name="T86" fmla="*/ 40 w 52"/>
                    <a:gd name="T87" fmla="*/ 16 h 70"/>
                    <a:gd name="T88" fmla="*/ 43 w 52"/>
                    <a:gd name="T89" fmla="*/ 53 h 70"/>
                    <a:gd name="T90" fmla="*/ 44 w 52"/>
                    <a:gd name="T91" fmla="*/ 36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52" h="70">
                      <a:moveTo>
                        <a:pt x="16" y="14"/>
                      </a:moveTo>
                      <a:cubicBezTo>
                        <a:pt x="16" y="15"/>
                        <a:pt x="16" y="15"/>
                        <a:pt x="16" y="15"/>
                      </a:cubicBezTo>
                      <a:cubicBezTo>
                        <a:pt x="13" y="18"/>
                        <a:pt x="13" y="18"/>
                        <a:pt x="13" y="18"/>
                      </a:cubicBezTo>
                      <a:cubicBezTo>
                        <a:pt x="13" y="19"/>
                        <a:pt x="13" y="19"/>
                        <a:pt x="12" y="19"/>
                      </a:cubicBezTo>
                      <a:cubicBezTo>
                        <a:pt x="12" y="19"/>
                        <a:pt x="12" y="19"/>
                        <a:pt x="12" y="19"/>
                      </a:cubicBezTo>
                      <a:cubicBezTo>
                        <a:pt x="11" y="18"/>
                        <a:pt x="11" y="18"/>
                        <a:pt x="12" y="17"/>
                      </a:cubicBezTo>
                      <a:cubicBezTo>
                        <a:pt x="11" y="17"/>
                        <a:pt x="11" y="17"/>
                        <a:pt x="11" y="17"/>
                      </a:cubicBezTo>
                      <a:cubicBezTo>
                        <a:pt x="11" y="17"/>
                        <a:pt x="10" y="17"/>
                        <a:pt x="10" y="16"/>
                      </a:cubicBezTo>
                      <a:cubicBezTo>
                        <a:pt x="10" y="16"/>
                        <a:pt x="10" y="15"/>
                        <a:pt x="11" y="15"/>
                      </a:cubicBezTo>
                      <a:cubicBezTo>
                        <a:pt x="15" y="14"/>
                        <a:pt x="15" y="14"/>
                        <a:pt x="15" y="14"/>
                      </a:cubicBezTo>
                      <a:cubicBezTo>
                        <a:pt x="15" y="14"/>
                        <a:pt x="16" y="14"/>
                        <a:pt x="16" y="14"/>
                      </a:cubicBezTo>
                      <a:close/>
                      <a:moveTo>
                        <a:pt x="51" y="50"/>
                      </a:moveTo>
                      <a:cubicBezTo>
                        <a:pt x="46" y="54"/>
                        <a:pt x="46" y="54"/>
                        <a:pt x="46" y="54"/>
                      </a:cubicBezTo>
                      <a:cubicBezTo>
                        <a:pt x="48" y="55"/>
                        <a:pt x="49" y="56"/>
                        <a:pt x="49" y="58"/>
                      </a:cubicBezTo>
                      <a:cubicBezTo>
                        <a:pt x="49" y="59"/>
                        <a:pt x="49" y="59"/>
                        <a:pt x="49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0" y="60"/>
                        <a:pt x="51" y="60"/>
                        <a:pt x="51" y="61"/>
                      </a:cubicBezTo>
                      <a:cubicBezTo>
                        <a:pt x="51" y="69"/>
                        <a:pt x="51" y="69"/>
                        <a:pt x="51" y="69"/>
                      </a:cubicBezTo>
                      <a:cubicBezTo>
                        <a:pt x="51" y="69"/>
                        <a:pt x="50" y="70"/>
                        <a:pt x="49" y="70"/>
                      </a:cubicBezTo>
                      <a:cubicBezTo>
                        <a:pt x="1" y="70"/>
                        <a:pt x="1" y="70"/>
                        <a:pt x="1" y="70"/>
                      </a:cubicBezTo>
                      <a:cubicBezTo>
                        <a:pt x="0" y="70"/>
                        <a:pt x="0" y="69"/>
                        <a:pt x="0" y="69"/>
                      </a:cubicBezTo>
                      <a:cubicBezTo>
                        <a:pt x="0" y="61"/>
                        <a:pt x="0" y="61"/>
                        <a:pt x="0" y="61"/>
                      </a:cubicBezTo>
                      <a:cubicBezTo>
                        <a:pt x="0" y="60"/>
                        <a:pt x="0" y="60"/>
                        <a:pt x="1" y="60"/>
                      </a:cubicBezTo>
                      <a:cubicBezTo>
                        <a:pt x="1" y="60"/>
                        <a:pt x="1" y="60"/>
                        <a:pt x="1" y="60"/>
                      </a:cubicBezTo>
                      <a:cubicBezTo>
                        <a:pt x="1" y="59"/>
                        <a:pt x="1" y="59"/>
                        <a:pt x="1" y="58"/>
                      </a:cubicBezTo>
                      <a:cubicBezTo>
                        <a:pt x="1" y="57"/>
                        <a:pt x="2" y="55"/>
                        <a:pt x="3" y="54"/>
                      </a:cubicBezTo>
                      <a:cubicBezTo>
                        <a:pt x="3" y="53"/>
                        <a:pt x="2" y="49"/>
                        <a:pt x="4" y="45"/>
                      </a:cubicBezTo>
                      <a:cubicBezTo>
                        <a:pt x="5" y="43"/>
                        <a:pt x="8" y="41"/>
                        <a:pt x="11" y="39"/>
                      </a:cubicBezTo>
                      <a:cubicBezTo>
                        <a:pt x="13" y="37"/>
                        <a:pt x="16" y="35"/>
                        <a:pt x="18" y="33"/>
                      </a:cubicBezTo>
                      <a:cubicBezTo>
                        <a:pt x="19" y="31"/>
                        <a:pt x="19" y="29"/>
                        <a:pt x="19" y="27"/>
                      </a:cubicBezTo>
                      <a:cubicBezTo>
                        <a:pt x="19" y="27"/>
                        <a:pt x="19" y="27"/>
                        <a:pt x="19" y="27"/>
                      </a:cubicBezTo>
                      <a:cubicBezTo>
                        <a:pt x="18" y="27"/>
                        <a:pt x="17" y="27"/>
                        <a:pt x="16" y="27"/>
                      </a:cubicBezTo>
                      <a:cubicBezTo>
                        <a:pt x="16" y="27"/>
                        <a:pt x="15" y="28"/>
                        <a:pt x="15" y="30"/>
                      </a:cubicBezTo>
                      <a:cubicBezTo>
                        <a:pt x="14" y="31"/>
                        <a:pt x="14" y="32"/>
                        <a:pt x="13" y="32"/>
                      </a:cubicBezTo>
                      <a:cubicBezTo>
                        <a:pt x="13" y="33"/>
                        <a:pt x="12" y="34"/>
                        <a:pt x="10" y="34"/>
                      </a:cubicBezTo>
                      <a:cubicBezTo>
                        <a:pt x="10" y="34"/>
                        <a:pt x="10" y="34"/>
                        <a:pt x="10" y="34"/>
                      </a:cubicBezTo>
                      <a:cubicBezTo>
                        <a:pt x="9" y="34"/>
                        <a:pt x="8" y="33"/>
                        <a:pt x="7" y="32"/>
                      </a:cubicBezTo>
                      <a:cubicBezTo>
                        <a:pt x="6" y="32"/>
                        <a:pt x="6" y="32"/>
                        <a:pt x="5" y="31"/>
                      </a:cubicBezTo>
                      <a:cubicBezTo>
                        <a:pt x="4" y="31"/>
                        <a:pt x="2" y="30"/>
                        <a:pt x="2" y="28"/>
                      </a:cubicBezTo>
                      <a:cubicBezTo>
                        <a:pt x="2" y="27"/>
                        <a:pt x="2" y="27"/>
                        <a:pt x="2" y="27"/>
                      </a:cubicBezTo>
                      <a:cubicBezTo>
                        <a:pt x="2" y="25"/>
                        <a:pt x="2" y="23"/>
                        <a:pt x="4" y="20"/>
                      </a:cubicBezTo>
                      <a:cubicBezTo>
                        <a:pt x="7" y="17"/>
                        <a:pt x="8" y="15"/>
                        <a:pt x="8" y="14"/>
                      </a:cubicBezTo>
                      <a:cubicBezTo>
                        <a:pt x="8" y="13"/>
                        <a:pt x="8" y="13"/>
                        <a:pt x="8" y="13"/>
                      </a:cubicBezTo>
                      <a:cubicBezTo>
                        <a:pt x="8" y="13"/>
                        <a:pt x="9" y="12"/>
                        <a:pt x="14" y="6"/>
                      </a:cubicBezTo>
                      <a:cubicBezTo>
                        <a:pt x="14" y="6"/>
                        <a:pt x="14" y="5"/>
                        <a:pt x="13" y="5"/>
                      </a:cubicBezTo>
                      <a:cubicBezTo>
                        <a:pt x="13" y="4"/>
                        <a:pt x="12" y="2"/>
                        <a:pt x="12" y="2"/>
                      </a:cubicBezTo>
                      <a:cubicBezTo>
                        <a:pt x="12" y="1"/>
                        <a:pt x="12" y="1"/>
                        <a:pt x="12" y="1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2" y="0"/>
                        <a:pt x="12" y="0"/>
                        <a:pt x="12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5" y="0"/>
                        <a:pt x="18" y="1"/>
                        <a:pt x="20" y="2"/>
                      </a:cubicBezTo>
                      <a:cubicBezTo>
                        <a:pt x="21" y="2"/>
                        <a:pt x="23" y="2"/>
                        <a:pt x="24" y="2"/>
                      </a:cubicBezTo>
                      <a:cubicBezTo>
                        <a:pt x="30" y="2"/>
                        <a:pt x="37" y="4"/>
                        <a:pt x="43" y="13"/>
                      </a:cubicBezTo>
                      <a:cubicBezTo>
                        <a:pt x="48" y="22"/>
                        <a:pt x="47" y="30"/>
                        <a:pt x="47" y="36"/>
                      </a:cubicBezTo>
                      <a:cubicBezTo>
                        <a:pt x="47" y="39"/>
                        <a:pt x="46" y="41"/>
                        <a:pt x="47" y="42"/>
                      </a:cubicBezTo>
                      <a:cubicBezTo>
                        <a:pt x="48" y="45"/>
                        <a:pt x="51" y="47"/>
                        <a:pt x="51" y="47"/>
                      </a:cubicBezTo>
                      <a:cubicBezTo>
                        <a:pt x="52" y="48"/>
                        <a:pt x="52" y="48"/>
                        <a:pt x="52" y="48"/>
                      </a:cubicBezTo>
                      <a:cubicBezTo>
                        <a:pt x="52" y="49"/>
                        <a:pt x="52" y="49"/>
                        <a:pt x="51" y="50"/>
                      </a:cubicBezTo>
                      <a:close/>
                      <a:moveTo>
                        <a:pt x="2" y="62"/>
                      </a:moveTo>
                      <a:cubicBezTo>
                        <a:pt x="2" y="68"/>
                        <a:pt x="2" y="68"/>
                        <a:pt x="2" y="68"/>
                      </a:cubicBezTo>
                      <a:cubicBezTo>
                        <a:pt x="48" y="68"/>
                        <a:pt x="48" y="68"/>
                        <a:pt x="48" y="68"/>
                      </a:cubicBezTo>
                      <a:cubicBezTo>
                        <a:pt x="48" y="62"/>
                        <a:pt x="48" y="62"/>
                        <a:pt x="48" y="62"/>
                      </a:cubicBezTo>
                      <a:cubicBezTo>
                        <a:pt x="44" y="62"/>
                        <a:pt x="44" y="62"/>
                        <a:pt x="44" y="62"/>
                      </a:cubicBezTo>
                      <a:cubicBezTo>
                        <a:pt x="6" y="62"/>
                        <a:pt x="6" y="62"/>
                        <a:pt x="6" y="62"/>
                      </a:cubicBezTo>
                      <a:lnTo>
                        <a:pt x="2" y="62"/>
                      </a:lnTo>
                      <a:close/>
                      <a:moveTo>
                        <a:pt x="47" y="58"/>
                      </a:moveTo>
                      <a:cubicBezTo>
                        <a:pt x="47" y="57"/>
                        <a:pt x="46" y="56"/>
                        <a:pt x="44" y="56"/>
                      </a:cubicBezTo>
                      <a:cubicBezTo>
                        <a:pt x="6" y="56"/>
                        <a:pt x="6" y="56"/>
                        <a:pt x="6" y="56"/>
                      </a:cubicBezTo>
                      <a:cubicBezTo>
                        <a:pt x="4" y="56"/>
                        <a:pt x="3" y="57"/>
                        <a:pt x="3" y="58"/>
                      </a:cubicBezTo>
                      <a:cubicBezTo>
                        <a:pt x="3" y="59"/>
                        <a:pt x="4" y="60"/>
                        <a:pt x="6" y="60"/>
                      </a:cubicBezTo>
                      <a:cubicBezTo>
                        <a:pt x="44" y="60"/>
                        <a:pt x="44" y="60"/>
                        <a:pt x="44" y="60"/>
                      </a:cubicBezTo>
                      <a:cubicBezTo>
                        <a:pt x="46" y="60"/>
                        <a:pt x="47" y="59"/>
                        <a:pt x="47" y="58"/>
                      </a:cubicBezTo>
                      <a:close/>
                      <a:moveTo>
                        <a:pt x="20" y="34"/>
                      </a:moveTo>
                      <a:cubicBezTo>
                        <a:pt x="18" y="36"/>
                        <a:pt x="15" y="39"/>
                        <a:pt x="12" y="41"/>
                      </a:cubicBezTo>
                      <a:cubicBezTo>
                        <a:pt x="10" y="43"/>
                        <a:pt x="7" y="45"/>
                        <a:pt x="7" y="46"/>
                      </a:cubicBezTo>
                      <a:cubicBezTo>
                        <a:pt x="4" y="50"/>
                        <a:pt x="6" y="54"/>
                        <a:pt x="6" y="54"/>
                      </a:cubicBezTo>
                      <a:cubicBezTo>
                        <a:pt x="6" y="54"/>
                        <a:pt x="6" y="54"/>
                        <a:pt x="6" y="54"/>
                      </a:cubicBez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3"/>
                        <a:pt x="8" y="49"/>
                        <a:pt x="10" y="46"/>
                      </a:cubicBezTo>
                      <a:cubicBezTo>
                        <a:pt x="13" y="44"/>
                        <a:pt x="15" y="42"/>
                        <a:pt x="15" y="42"/>
                      </a:cubicBezTo>
                      <a:cubicBezTo>
                        <a:pt x="16" y="42"/>
                        <a:pt x="16" y="42"/>
                        <a:pt x="17" y="43"/>
                      </a:cubicBezTo>
                      <a:cubicBezTo>
                        <a:pt x="17" y="43"/>
                        <a:pt x="17" y="44"/>
                        <a:pt x="16" y="44"/>
                      </a:cubicBezTo>
                      <a:cubicBezTo>
                        <a:pt x="16" y="44"/>
                        <a:pt x="14" y="46"/>
                        <a:pt x="12" y="48"/>
                      </a:cubicBezTo>
                      <a:cubicBezTo>
                        <a:pt x="10" y="50"/>
                        <a:pt x="10" y="54"/>
                        <a:pt x="10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41" y="54"/>
                        <a:pt x="41" y="54"/>
                        <a:pt x="41" y="54"/>
                      </a:cubicBezTo>
                      <a:cubicBezTo>
                        <a:pt x="41" y="53"/>
                        <a:pt x="39" y="49"/>
                        <a:pt x="39" y="45"/>
                      </a:cubicBezTo>
                      <a:cubicBezTo>
                        <a:pt x="39" y="44"/>
                        <a:pt x="39" y="42"/>
                        <a:pt x="40" y="40"/>
                      </a:cubicBezTo>
                      <a:cubicBezTo>
                        <a:pt x="40" y="35"/>
                        <a:pt x="42" y="26"/>
                        <a:pt x="39" y="17"/>
                      </a:cubicBezTo>
                      <a:cubicBezTo>
                        <a:pt x="35" y="7"/>
                        <a:pt x="26" y="6"/>
                        <a:pt x="23" y="6"/>
                      </a:cubicBezTo>
                      <a:cubicBezTo>
                        <a:pt x="23" y="6"/>
                        <a:pt x="22" y="7"/>
                        <a:pt x="22" y="7"/>
                      </a:cubicBezTo>
                      <a:cubicBezTo>
                        <a:pt x="22" y="7"/>
                        <a:pt x="22" y="6"/>
                        <a:pt x="22" y="6"/>
                      </a:cubicBezTo>
                      <a:cubicBezTo>
                        <a:pt x="22" y="6"/>
                        <a:pt x="21" y="6"/>
                        <a:pt x="21" y="6"/>
                      </a:cubicBezTo>
                      <a:cubicBezTo>
                        <a:pt x="21" y="6"/>
                        <a:pt x="21" y="6"/>
                        <a:pt x="21" y="6"/>
                      </a:cubicBezTo>
                      <a:cubicBezTo>
                        <a:pt x="20" y="6"/>
                        <a:pt x="20" y="5"/>
                        <a:pt x="20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9" y="5"/>
                        <a:pt x="18" y="5"/>
                        <a:pt x="18" y="4"/>
                      </a:cubicBezTo>
                      <a:cubicBezTo>
                        <a:pt x="18" y="4"/>
                        <a:pt x="18" y="4"/>
                        <a:pt x="18" y="4"/>
                      </a:cubicBezTo>
                      <a:cubicBezTo>
                        <a:pt x="17" y="4"/>
                        <a:pt x="17" y="3"/>
                        <a:pt x="16" y="3"/>
                      </a:cubicBezTo>
                      <a:cubicBezTo>
                        <a:pt x="18" y="7"/>
                        <a:pt x="18" y="7"/>
                        <a:pt x="18" y="7"/>
                      </a:cubicBezTo>
                      <a:cubicBezTo>
                        <a:pt x="19" y="7"/>
                        <a:pt x="19" y="7"/>
                        <a:pt x="19" y="7"/>
                      </a:cubicBezTo>
                      <a:cubicBezTo>
                        <a:pt x="19" y="8"/>
                        <a:pt x="18" y="8"/>
                        <a:pt x="18" y="8"/>
                      </a:cubicBezTo>
                      <a:cubicBezTo>
                        <a:pt x="18" y="8"/>
                        <a:pt x="18" y="8"/>
                        <a:pt x="18" y="8"/>
                      </a:cubicBezTo>
                      <a:cubicBezTo>
                        <a:pt x="17" y="8"/>
                        <a:pt x="17" y="8"/>
                        <a:pt x="17" y="8"/>
                      </a:cubicBezTo>
                      <a:cubicBezTo>
                        <a:pt x="17" y="8"/>
                        <a:pt x="17" y="8"/>
                        <a:pt x="16" y="7"/>
                      </a:cubicBezTo>
                      <a:cubicBezTo>
                        <a:pt x="14" y="10"/>
                        <a:pt x="11" y="13"/>
                        <a:pt x="11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10" y="15"/>
                        <a:pt x="10" y="18"/>
                        <a:pt x="6" y="22"/>
                      </a:cubicBezTo>
                      <a:cubicBezTo>
                        <a:pt x="4" y="24"/>
                        <a:pt x="4" y="26"/>
                        <a:pt x="4" y="27"/>
                      </a:cubicBezTo>
                      <a:cubicBezTo>
                        <a:pt x="4" y="28"/>
                        <a:pt x="4" y="28"/>
                        <a:pt x="4" y="28"/>
                      </a:cubicBezTo>
                      <a:cubicBezTo>
                        <a:pt x="4" y="28"/>
                        <a:pt x="5" y="29"/>
                        <a:pt x="6" y="29"/>
                      </a:cubicBezTo>
                      <a:cubicBezTo>
                        <a:pt x="7" y="30"/>
                        <a:pt x="8" y="30"/>
                        <a:pt x="9" y="31"/>
                      </a:cubicBezTo>
                      <a:cubicBezTo>
                        <a:pt x="9" y="31"/>
                        <a:pt x="10" y="31"/>
                        <a:pt x="10" y="31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2" y="30"/>
                        <a:pt x="12" y="30"/>
                        <a:pt x="12" y="29"/>
                      </a:cubicBezTo>
                      <a:cubicBezTo>
                        <a:pt x="13" y="27"/>
                        <a:pt x="14" y="24"/>
                        <a:pt x="16" y="25"/>
                      </a:cubicBezTo>
                      <a:cubicBezTo>
                        <a:pt x="18" y="25"/>
                        <a:pt x="19" y="25"/>
                        <a:pt x="20" y="25"/>
                      </a:cubicBezTo>
                      <a:cubicBezTo>
                        <a:pt x="20" y="25"/>
                        <a:pt x="20" y="24"/>
                        <a:pt x="20" y="24"/>
                      </a:cubicBezTo>
                      <a:cubicBezTo>
                        <a:pt x="21" y="24"/>
                        <a:pt x="21" y="24"/>
                        <a:pt x="21" y="25"/>
                      </a:cubicBezTo>
                      <a:cubicBezTo>
                        <a:pt x="26" y="24"/>
                        <a:pt x="27" y="19"/>
                        <a:pt x="28" y="19"/>
                      </a:cubicBezTo>
                      <a:cubicBezTo>
                        <a:pt x="28" y="18"/>
                        <a:pt x="28" y="18"/>
                        <a:pt x="29" y="18"/>
                      </a:cubicBezTo>
                      <a:cubicBezTo>
                        <a:pt x="29" y="18"/>
                        <a:pt x="30" y="19"/>
                        <a:pt x="30" y="19"/>
                      </a:cubicBezTo>
                      <a:cubicBezTo>
                        <a:pt x="29" y="19"/>
                        <a:pt x="28" y="25"/>
                        <a:pt x="22" y="27"/>
                      </a:cubicBezTo>
                      <a:cubicBezTo>
                        <a:pt x="22" y="29"/>
                        <a:pt x="21" y="32"/>
                        <a:pt x="20" y="34"/>
                      </a:cubicBezTo>
                      <a:close/>
                      <a:moveTo>
                        <a:pt x="44" y="36"/>
                      </a:moveTo>
                      <a:cubicBezTo>
                        <a:pt x="45" y="30"/>
                        <a:pt x="45" y="22"/>
                        <a:pt x="40" y="14"/>
                      </a:cubicBezTo>
                      <a:cubicBezTo>
                        <a:pt x="37" y="8"/>
                        <a:pt x="32" y="6"/>
                        <a:pt x="28" y="5"/>
                      </a:cubicBezTo>
                      <a:cubicBezTo>
                        <a:pt x="33" y="6"/>
                        <a:pt x="38" y="9"/>
                        <a:pt x="40" y="16"/>
                      </a:cubicBezTo>
                      <a:cubicBezTo>
                        <a:pt x="44" y="26"/>
                        <a:pt x="42" y="35"/>
                        <a:pt x="42" y="41"/>
                      </a:cubicBezTo>
                      <a:cubicBezTo>
                        <a:pt x="41" y="42"/>
                        <a:pt x="41" y="44"/>
                        <a:pt x="41" y="45"/>
                      </a:cubicBezTo>
                      <a:cubicBezTo>
                        <a:pt x="41" y="48"/>
                        <a:pt x="42" y="51"/>
                        <a:pt x="43" y="53"/>
                      </a:cubicBezTo>
                      <a:cubicBezTo>
                        <a:pt x="49" y="48"/>
                        <a:pt x="49" y="48"/>
                        <a:pt x="49" y="48"/>
                      </a:cubicBezTo>
                      <a:cubicBezTo>
                        <a:pt x="48" y="47"/>
                        <a:pt x="46" y="45"/>
                        <a:pt x="45" y="43"/>
                      </a:cubicBezTo>
                      <a:cubicBezTo>
                        <a:pt x="44" y="41"/>
                        <a:pt x="44" y="39"/>
                        <a:pt x="44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29" name="任意多边形: 形状 128">
                  <a:extLst>
                    <a:ext uri="{FF2B5EF4-FFF2-40B4-BE49-F238E27FC236}">
                      <a16:creationId xmlns:a16="http://schemas.microsoft.com/office/drawing/2014/main" id="{578B3627-514C-4CB6-9603-8C8729882CF4}"/>
                    </a:ext>
                  </a:extLst>
                </p:cNvPr>
                <p:cNvSpPr/>
                <p:nvPr/>
              </p:nvSpPr>
              <p:spPr bwMode="auto">
                <a:xfrm>
                  <a:off x="5130127" y="5619289"/>
                  <a:ext cx="355265" cy="343424"/>
                </a:xfrm>
                <a:custGeom>
                  <a:avLst/>
                  <a:gdLst>
                    <a:gd name="T0" fmla="*/ 12 w 63"/>
                    <a:gd name="T1" fmla="*/ 10 h 61"/>
                    <a:gd name="T2" fmla="*/ 13 w 63"/>
                    <a:gd name="T3" fmla="*/ 10 h 61"/>
                    <a:gd name="T4" fmla="*/ 13 w 63"/>
                    <a:gd name="T5" fmla="*/ 12 h 61"/>
                    <a:gd name="T6" fmla="*/ 13 w 63"/>
                    <a:gd name="T7" fmla="*/ 29 h 61"/>
                    <a:gd name="T8" fmla="*/ 13 w 63"/>
                    <a:gd name="T9" fmla="*/ 31 h 61"/>
                    <a:gd name="T10" fmla="*/ 13 w 63"/>
                    <a:gd name="T11" fmla="*/ 31 h 61"/>
                    <a:gd name="T12" fmla="*/ 12 w 63"/>
                    <a:gd name="T13" fmla="*/ 31 h 61"/>
                    <a:gd name="T14" fmla="*/ 12 w 63"/>
                    <a:gd name="T15" fmla="*/ 10 h 61"/>
                    <a:gd name="T16" fmla="*/ 61 w 63"/>
                    <a:gd name="T17" fmla="*/ 59 h 61"/>
                    <a:gd name="T18" fmla="*/ 56 w 63"/>
                    <a:gd name="T19" fmla="*/ 61 h 61"/>
                    <a:gd name="T20" fmla="*/ 51 w 63"/>
                    <a:gd name="T21" fmla="*/ 59 h 61"/>
                    <a:gd name="T22" fmla="*/ 38 w 63"/>
                    <a:gd name="T23" fmla="*/ 47 h 61"/>
                    <a:gd name="T24" fmla="*/ 36 w 63"/>
                    <a:gd name="T25" fmla="*/ 42 h 61"/>
                    <a:gd name="T26" fmla="*/ 32 w 63"/>
                    <a:gd name="T27" fmla="*/ 38 h 61"/>
                    <a:gd name="T28" fmla="*/ 22 w 63"/>
                    <a:gd name="T29" fmla="*/ 41 h 61"/>
                    <a:gd name="T30" fmla="*/ 8 w 63"/>
                    <a:gd name="T31" fmla="*/ 35 h 61"/>
                    <a:gd name="T32" fmla="*/ 8 w 63"/>
                    <a:gd name="T33" fmla="*/ 6 h 61"/>
                    <a:gd name="T34" fmla="*/ 22 w 63"/>
                    <a:gd name="T35" fmla="*/ 0 h 61"/>
                    <a:gd name="T36" fmla="*/ 36 w 63"/>
                    <a:gd name="T37" fmla="*/ 6 h 61"/>
                    <a:gd name="T38" fmla="*/ 39 w 63"/>
                    <a:gd name="T39" fmla="*/ 31 h 61"/>
                    <a:gd name="T40" fmla="*/ 43 w 63"/>
                    <a:gd name="T41" fmla="*/ 35 h 61"/>
                    <a:gd name="T42" fmla="*/ 48 w 63"/>
                    <a:gd name="T43" fmla="*/ 37 h 61"/>
                    <a:gd name="T44" fmla="*/ 60 w 63"/>
                    <a:gd name="T45" fmla="*/ 49 h 61"/>
                    <a:gd name="T46" fmla="*/ 61 w 63"/>
                    <a:gd name="T47" fmla="*/ 59 h 61"/>
                    <a:gd name="T48" fmla="*/ 10 w 63"/>
                    <a:gd name="T49" fmla="*/ 8 h 61"/>
                    <a:gd name="T50" fmla="*/ 5 w 63"/>
                    <a:gd name="T51" fmla="*/ 21 h 61"/>
                    <a:gd name="T52" fmla="*/ 10 w 63"/>
                    <a:gd name="T53" fmla="*/ 33 h 61"/>
                    <a:gd name="T54" fmla="*/ 22 w 63"/>
                    <a:gd name="T55" fmla="*/ 38 h 61"/>
                    <a:gd name="T56" fmla="*/ 34 w 63"/>
                    <a:gd name="T57" fmla="*/ 33 h 61"/>
                    <a:gd name="T58" fmla="*/ 39 w 63"/>
                    <a:gd name="T59" fmla="*/ 21 h 61"/>
                    <a:gd name="T60" fmla="*/ 34 w 63"/>
                    <a:gd name="T61" fmla="*/ 8 h 61"/>
                    <a:gd name="T62" fmla="*/ 22 w 63"/>
                    <a:gd name="T63" fmla="*/ 3 h 61"/>
                    <a:gd name="T64" fmla="*/ 10 w 63"/>
                    <a:gd name="T65" fmla="*/ 8 h 61"/>
                    <a:gd name="T66" fmla="*/ 36 w 63"/>
                    <a:gd name="T67" fmla="*/ 34 h 61"/>
                    <a:gd name="T68" fmla="*/ 34 w 63"/>
                    <a:gd name="T69" fmla="*/ 35 h 61"/>
                    <a:gd name="T70" fmla="*/ 38 w 63"/>
                    <a:gd name="T71" fmla="*/ 39 h 61"/>
                    <a:gd name="T72" fmla="*/ 39 w 63"/>
                    <a:gd name="T73" fmla="*/ 37 h 61"/>
                    <a:gd name="T74" fmla="*/ 40 w 63"/>
                    <a:gd name="T75" fmla="*/ 36 h 61"/>
                    <a:gd name="T76" fmla="*/ 37 w 63"/>
                    <a:gd name="T77" fmla="*/ 33 h 61"/>
                    <a:gd name="T78" fmla="*/ 36 w 63"/>
                    <a:gd name="T79" fmla="*/ 34 h 61"/>
                    <a:gd name="T80" fmla="*/ 41 w 63"/>
                    <a:gd name="T81" fmla="*/ 44 h 61"/>
                    <a:gd name="T82" fmla="*/ 53 w 63"/>
                    <a:gd name="T83" fmla="*/ 57 h 61"/>
                    <a:gd name="T84" fmla="*/ 58 w 63"/>
                    <a:gd name="T85" fmla="*/ 57 h 61"/>
                    <a:gd name="T86" fmla="*/ 60 w 63"/>
                    <a:gd name="T87" fmla="*/ 54 h 61"/>
                    <a:gd name="T88" fmla="*/ 58 w 63"/>
                    <a:gd name="T89" fmla="*/ 51 h 61"/>
                    <a:gd name="T90" fmla="*/ 46 w 63"/>
                    <a:gd name="T91" fmla="*/ 39 h 61"/>
                    <a:gd name="T92" fmla="*/ 43 w 63"/>
                    <a:gd name="T93" fmla="*/ 38 h 61"/>
                    <a:gd name="T94" fmla="*/ 42 w 63"/>
                    <a:gd name="T95" fmla="*/ 38 h 61"/>
                    <a:gd name="T96" fmla="*/ 41 w 63"/>
                    <a:gd name="T97" fmla="*/ 38 h 61"/>
                    <a:gd name="T98" fmla="*/ 40 w 63"/>
                    <a:gd name="T99" fmla="*/ 39 h 61"/>
                    <a:gd name="T100" fmla="*/ 40 w 63"/>
                    <a:gd name="T101" fmla="*/ 40 h 61"/>
                    <a:gd name="T102" fmla="*/ 39 w 63"/>
                    <a:gd name="T103" fmla="*/ 40 h 61"/>
                    <a:gd name="T104" fmla="*/ 41 w 63"/>
                    <a:gd name="T105" fmla="*/ 44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3" h="61">
                      <a:moveTo>
                        <a:pt x="12" y="10"/>
                      </a:moveTo>
                      <a:cubicBezTo>
                        <a:pt x="12" y="10"/>
                        <a:pt x="13" y="10"/>
                        <a:pt x="13" y="10"/>
                      </a:cubicBezTo>
                      <a:cubicBezTo>
                        <a:pt x="14" y="11"/>
                        <a:pt x="14" y="11"/>
                        <a:pt x="13" y="12"/>
                      </a:cubicBezTo>
                      <a:cubicBezTo>
                        <a:pt x="8" y="17"/>
                        <a:pt x="8" y="24"/>
                        <a:pt x="13" y="29"/>
                      </a:cubicBezTo>
                      <a:cubicBezTo>
                        <a:pt x="14" y="30"/>
                        <a:pt x="14" y="30"/>
                        <a:pt x="13" y="31"/>
                      </a:cubicBezTo>
                      <a:cubicBezTo>
                        <a:pt x="13" y="31"/>
                        <a:pt x="13" y="31"/>
                        <a:pt x="13" y="31"/>
                      </a:cubicBezTo>
                      <a:cubicBezTo>
                        <a:pt x="12" y="31"/>
                        <a:pt x="12" y="31"/>
                        <a:pt x="12" y="31"/>
                      </a:cubicBezTo>
                      <a:cubicBezTo>
                        <a:pt x="6" y="25"/>
                        <a:pt x="6" y="16"/>
                        <a:pt x="12" y="10"/>
                      </a:cubicBezTo>
                      <a:close/>
                      <a:moveTo>
                        <a:pt x="61" y="59"/>
                      </a:moveTo>
                      <a:cubicBezTo>
                        <a:pt x="59" y="60"/>
                        <a:pt x="58" y="61"/>
                        <a:pt x="56" y="61"/>
                      </a:cubicBezTo>
                      <a:cubicBezTo>
                        <a:pt x="54" y="61"/>
                        <a:pt x="52" y="60"/>
                        <a:pt x="51" y="59"/>
                      </a:cubicBezTo>
                      <a:cubicBezTo>
                        <a:pt x="38" y="47"/>
                        <a:pt x="38" y="47"/>
                        <a:pt x="38" y="47"/>
                      </a:cubicBezTo>
                      <a:cubicBezTo>
                        <a:pt x="37" y="45"/>
                        <a:pt x="36" y="43"/>
                        <a:pt x="36" y="42"/>
                      </a:cubicBezTo>
                      <a:cubicBezTo>
                        <a:pt x="32" y="38"/>
                        <a:pt x="32" y="38"/>
                        <a:pt x="32" y="38"/>
                      </a:cubicBezTo>
                      <a:cubicBezTo>
                        <a:pt x="29" y="40"/>
                        <a:pt x="26" y="41"/>
                        <a:pt x="22" y="41"/>
                      </a:cubicBezTo>
                      <a:cubicBezTo>
                        <a:pt x="17" y="41"/>
                        <a:pt x="12" y="38"/>
                        <a:pt x="8" y="35"/>
                      </a:cubicBezTo>
                      <a:cubicBezTo>
                        <a:pt x="0" y="27"/>
                        <a:pt x="0" y="14"/>
                        <a:pt x="8" y="6"/>
                      </a:cubicBezTo>
                      <a:cubicBezTo>
                        <a:pt x="12" y="3"/>
                        <a:pt x="17" y="0"/>
                        <a:pt x="22" y="0"/>
                      </a:cubicBezTo>
                      <a:cubicBezTo>
                        <a:pt x="28" y="0"/>
                        <a:pt x="33" y="3"/>
                        <a:pt x="36" y="6"/>
                      </a:cubicBezTo>
                      <a:cubicBezTo>
                        <a:pt x="43" y="13"/>
                        <a:pt x="44" y="23"/>
                        <a:pt x="39" y="31"/>
                      </a:cubicBezTo>
                      <a:cubicBezTo>
                        <a:pt x="43" y="35"/>
                        <a:pt x="43" y="35"/>
                        <a:pt x="43" y="35"/>
                      </a:cubicBezTo>
                      <a:cubicBezTo>
                        <a:pt x="45" y="35"/>
                        <a:pt x="47" y="35"/>
                        <a:pt x="48" y="37"/>
                      </a:cubicBezTo>
                      <a:cubicBezTo>
                        <a:pt x="60" y="49"/>
                        <a:pt x="60" y="49"/>
                        <a:pt x="60" y="49"/>
                      </a:cubicBezTo>
                      <a:cubicBezTo>
                        <a:pt x="63" y="52"/>
                        <a:pt x="63" y="56"/>
                        <a:pt x="61" y="59"/>
                      </a:cubicBezTo>
                      <a:close/>
                      <a:moveTo>
                        <a:pt x="10" y="8"/>
                      </a:moveTo>
                      <a:cubicBezTo>
                        <a:pt x="7" y="12"/>
                        <a:pt x="5" y="16"/>
                        <a:pt x="5" y="21"/>
                      </a:cubicBezTo>
                      <a:cubicBezTo>
                        <a:pt x="5" y="25"/>
                        <a:pt x="7" y="29"/>
                        <a:pt x="10" y="33"/>
                      </a:cubicBezTo>
                      <a:cubicBezTo>
                        <a:pt x="13" y="36"/>
                        <a:pt x="18" y="38"/>
                        <a:pt x="22" y="38"/>
                      </a:cubicBezTo>
                      <a:cubicBezTo>
                        <a:pt x="27" y="38"/>
                        <a:pt x="31" y="36"/>
                        <a:pt x="34" y="33"/>
                      </a:cubicBezTo>
                      <a:cubicBezTo>
                        <a:pt x="37" y="29"/>
                        <a:pt x="39" y="25"/>
                        <a:pt x="39" y="21"/>
                      </a:cubicBezTo>
                      <a:cubicBezTo>
                        <a:pt x="39" y="16"/>
                        <a:pt x="37" y="12"/>
                        <a:pt x="34" y="8"/>
                      </a:cubicBezTo>
                      <a:cubicBezTo>
                        <a:pt x="31" y="5"/>
                        <a:pt x="27" y="3"/>
                        <a:pt x="22" y="3"/>
                      </a:cubicBezTo>
                      <a:cubicBezTo>
                        <a:pt x="18" y="3"/>
                        <a:pt x="13" y="5"/>
                        <a:pt x="10" y="8"/>
                      </a:cubicBezTo>
                      <a:close/>
                      <a:moveTo>
                        <a:pt x="36" y="34"/>
                      </a:moveTo>
                      <a:cubicBezTo>
                        <a:pt x="35" y="34"/>
                        <a:pt x="35" y="35"/>
                        <a:pt x="34" y="35"/>
                      </a:cubicBezTo>
                      <a:cubicBezTo>
                        <a:pt x="38" y="39"/>
                        <a:pt x="38" y="39"/>
                        <a:pt x="38" y="39"/>
                      </a:cubicBezTo>
                      <a:cubicBezTo>
                        <a:pt x="38" y="38"/>
                        <a:pt x="38" y="38"/>
                        <a:pt x="39" y="37"/>
                      </a:cubicBezTo>
                      <a:cubicBezTo>
                        <a:pt x="39" y="37"/>
                        <a:pt x="40" y="36"/>
                        <a:pt x="40" y="36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6" y="33"/>
                        <a:pt x="36" y="34"/>
                        <a:pt x="36" y="34"/>
                      </a:cubicBezTo>
                      <a:close/>
                      <a:moveTo>
                        <a:pt x="41" y="44"/>
                      </a:moveTo>
                      <a:cubicBezTo>
                        <a:pt x="53" y="57"/>
                        <a:pt x="53" y="57"/>
                        <a:pt x="53" y="57"/>
                      </a:cubicBezTo>
                      <a:cubicBezTo>
                        <a:pt x="54" y="58"/>
                        <a:pt x="57" y="58"/>
                        <a:pt x="58" y="57"/>
                      </a:cubicBezTo>
                      <a:cubicBezTo>
                        <a:pt x="59" y="56"/>
                        <a:pt x="60" y="55"/>
                        <a:pt x="60" y="54"/>
                      </a:cubicBezTo>
                      <a:cubicBezTo>
                        <a:pt x="60" y="53"/>
                        <a:pt x="59" y="52"/>
                        <a:pt x="58" y="51"/>
                      </a:cubicBezTo>
                      <a:cubicBezTo>
                        <a:pt x="46" y="39"/>
                        <a:pt x="46" y="39"/>
                        <a:pt x="46" y="39"/>
                      </a:cubicBezTo>
                      <a:cubicBezTo>
                        <a:pt x="45" y="38"/>
                        <a:pt x="44" y="38"/>
                        <a:pt x="43" y="38"/>
                      </a:cubicBez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0" y="39"/>
                      </a:cubicBezTo>
                      <a:cubicBezTo>
                        <a:pt x="40" y="39"/>
                        <a:pt x="40" y="39"/>
                        <a:pt x="40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9" y="42"/>
                        <a:pt x="39" y="43"/>
                        <a:pt x="41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0" name="任意多边形: 形状 129">
                  <a:extLst>
                    <a:ext uri="{FF2B5EF4-FFF2-40B4-BE49-F238E27FC236}">
                      <a16:creationId xmlns:a16="http://schemas.microsoft.com/office/drawing/2014/main" id="{DECC1395-B80A-4FB3-9288-93889826CB6D}"/>
                    </a:ext>
                  </a:extLst>
                </p:cNvPr>
                <p:cNvSpPr/>
                <p:nvPr/>
              </p:nvSpPr>
              <p:spPr bwMode="auto">
                <a:xfrm>
                  <a:off x="7464940" y="2800960"/>
                  <a:ext cx="304550" cy="353753"/>
                </a:xfrm>
                <a:custGeom>
                  <a:avLst/>
                  <a:gdLst>
                    <a:gd name="T0" fmla="*/ 31 w 62"/>
                    <a:gd name="T1" fmla="*/ 49 h 70"/>
                    <a:gd name="T2" fmla="*/ 45 w 62"/>
                    <a:gd name="T3" fmla="*/ 35 h 70"/>
                    <a:gd name="T4" fmla="*/ 45 w 62"/>
                    <a:gd name="T5" fmla="*/ 8 h 70"/>
                    <a:gd name="T6" fmla="*/ 17 w 62"/>
                    <a:gd name="T7" fmla="*/ 8 h 70"/>
                    <a:gd name="T8" fmla="*/ 17 w 62"/>
                    <a:gd name="T9" fmla="*/ 35 h 70"/>
                    <a:gd name="T10" fmla="*/ 31 w 62"/>
                    <a:gd name="T11" fmla="*/ 49 h 70"/>
                    <a:gd name="T12" fmla="*/ 31 w 62"/>
                    <a:gd name="T13" fmla="*/ 8 h 70"/>
                    <a:gd name="T14" fmla="*/ 44 w 62"/>
                    <a:gd name="T15" fmla="*/ 21 h 70"/>
                    <a:gd name="T16" fmla="*/ 31 w 62"/>
                    <a:gd name="T17" fmla="*/ 34 h 70"/>
                    <a:gd name="T18" fmla="*/ 18 w 62"/>
                    <a:gd name="T19" fmla="*/ 21 h 70"/>
                    <a:gd name="T20" fmla="*/ 31 w 62"/>
                    <a:gd name="T21" fmla="*/ 8 h 70"/>
                    <a:gd name="T22" fmla="*/ 25 w 62"/>
                    <a:gd name="T23" fmla="*/ 50 h 70"/>
                    <a:gd name="T24" fmla="*/ 27 w 62"/>
                    <a:gd name="T25" fmla="*/ 48 h 70"/>
                    <a:gd name="T26" fmla="*/ 30 w 62"/>
                    <a:gd name="T27" fmla="*/ 50 h 70"/>
                    <a:gd name="T28" fmla="*/ 31 w 62"/>
                    <a:gd name="T29" fmla="*/ 51 h 70"/>
                    <a:gd name="T30" fmla="*/ 32 w 62"/>
                    <a:gd name="T31" fmla="*/ 50 h 70"/>
                    <a:gd name="T32" fmla="*/ 34 w 62"/>
                    <a:gd name="T33" fmla="*/ 48 h 70"/>
                    <a:gd name="T34" fmla="*/ 37 w 62"/>
                    <a:gd name="T35" fmla="*/ 50 h 70"/>
                    <a:gd name="T36" fmla="*/ 31 w 62"/>
                    <a:gd name="T37" fmla="*/ 53 h 70"/>
                    <a:gd name="T38" fmla="*/ 25 w 62"/>
                    <a:gd name="T39" fmla="*/ 50 h 70"/>
                    <a:gd name="T40" fmla="*/ 8 w 62"/>
                    <a:gd name="T41" fmla="*/ 53 h 70"/>
                    <a:gd name="T42" fmla="*/ 31 w 62"/>
                    <a:gd name="T43" fmla="*/ 62 h 70"/>
                    <a:gd name="T44" fmla="*/ 54 w 62"/>
                    <a:gd name="T45" fmla="*/ 53 h 70"/>
                    <a:gd name="T46" fmla="*/ 39 w 62"/>
                    <a:gd name="T47" fmla="*/ 44 h 70"/>
                    <a:gd name="T48" fmla="*/ 35 w 62"/>
                    <a:gd name="T49" fmla="*/ 47 h 70"/>
                    <a:gd name="T50" fmla="*/ 44 w 62"/>
                    <a:gd name="T51" fmla="*/ 51 h 70"/>
                    <a:gd name="T52" fmla="*/ 31 w 62"/>
                    <a:gd name="T53" fmla="*/ 54 h 70"/>
                    <a:gd name="T54" fmla="*/ 18 w 62"/>
                    <a:gd name="T55" fmla="*/ 51 h 70"/>
                    <a:gd name="T56" fmla="*/ 26 w 62"/>
                    <a:gd name="T57" fmla="*/ 47 h 70"/>
                    <a:gd name="T58" fmla="*/ 23 w 62"/>
                    <a:gd name="T59" fmla="*/ 44 h 70"/>
                    <a:gd name="T60" fmla="*/ 8 w 62"/>
                    <a:gd name="T61" fmla="*/ 53 h 70"/>
                    <a:gd name="T62" fmla="*/ 16 w 62"/>
                    <a:gd name="T63" fmla="*/ 51 h 70"/>
                    <a:gd name="T64" fmla="*/ 31 w 62"/>
                    <a:gd name="T65" fmla="*/ 56 h 70"/>
                    <a:gd name="T66" fmla="*/ 46 w 62"/>
                    <a:gd name="T67" fmla="*/ 51 h 70"/>
                    <a:gd name="T68" fmla="*/ 42 w 62"/>
                    <a:gd name="T69" fmla="*/ 47 h 70"/>
                    <a:gd name="T70" fmla="*/ 52 w 62"/>
                    <a:gd name="T71" fmla="*/ 53 h 70"/>
                    <a:gd name="T72" fmla="*/ 31 w 62"/>
                    <a:gd name="T73" fmla="*/ 60 h 70"/>
                    <a:gd name="T74" fmla="*/ 10 w 62"/>
                    <a:gd name="T75" fmla="*/ 53 h 70"/>
                    <a:gd name="T76" fmla="*/ 20 w 62"/>
                    <a:gd name="T77" fmla="*/ 47 h 70"/>
                    <a:gd name="T78" fmla="*/ 16 w 62"/>
                    <a:gd name="T79" fmla="*/ 51 h 70"/>
                    <a:gd name="T80" fmla="*/ 62 w 62"/>
                    <a:gd name="T81" fmla="*/ 55 h 70"/>
                    <a:gd name="T82" fmla="*/ 31 w 62"/>
                    <a:gd name="T83" fmla="*/ 70 h 70"/>
                    <a:gd name="T84" fmla="*/ 0 w 62"/>
                    <a:gd name="T85" fmla="*/ 55 h 70"/>
                    <a:gd name="T86" fmla="*/ 20 w 62"/>
                    <a:gd name="T87" fmla="*/ 41 h 70"/>
                    <a:gd name="T88" fmla="*/ 23 w 62"/>
                    <a:gd name="T89" fmla="*/ 44 h 70"/>
                    <a:gd name="T90" fmla="*/ 3 w 62"/>
                    <a:gd name="T91" fmla="*/ 55 h 70"/>
                    <a:gd name="T92" fmla="*/ 31 w 62"/>
                    <a:gd name="T93" fmla="*/ 67 h 70"/>
                    <a:gd name="T94" fmla="*/ 59 w 62"/>
                    <a:gd name="T95" fmla="*/ 55 h 70"/>
                    <a:gd name="T96" fmla="*/ 39 w 62"/>
                    <a:gd name="T97" fmla="*/ 44 h 70"/>
                    <a:gd name="T98" fmla="*/ 42 w 62"/>
                    <a:gd name="T99" fmla="*/ 41 h 70"/>
                    <a:gd name="T100" fmla="*/ 62 w 62"/>
                    <a:gd name="T101" fmla="*/ 55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2" h="70">
                      <a:moveTo>
                        <a:pt x="31" y="49"/>
                      </a:moveTo>
                      <a:cubicBezTo>
                        <a:pt x="45" y="35"/>
                        <a:pt x="45" y="35"/>
                        <a:pt x="45" y="35"/>
                      </a:cubicBezTo>
                      <a:cubicBezTo>
                        <a:pt x="52" y="27"/>
                        <a:pt x="52" y="15"/>
                        <a:pt x="45" y="8"/>
                      </a:cubicBezTo>
                      <a:cubicBezTo>
                        <a:pt x="37" y="0"/>
                        <a:pt x="25" y="0"/>
                        <a:pt x="17" y="8"/>
                      </a:cubicBezTo>
                      <a:cubicBezTo>
                        <a:pt x="10" y="15"/>
                        <a:pt x="10" y="27"/>
                        <a:pt x="17" y="35"/>
                      </a:cubicBezTo>
                      <a:lnTo>
                        <a:pt x="31" y="49"/>
                      </a:lnTo>
                      <a:close/>
                      <a:moveTo>
                        <a:pt x="31" y="8"/>
                      </a:moveTo>
                      <a:cubicBezTo>
                        <a:pt x="38" y="8"/>
                        <a:pt x="44" y="14"/>
                        <a:pt x="44" y="21"/>
                      </a:cubicBezTo>
                      <a:cubicBezTo>
                        <a:pt x="44" y="29"/>
                        <a:pt x="38" y="34"/>
                        <a:pt x="31" y="34"/>
                      </a:cubicBezTo>
                      <a:cubicBezTo>
                        <a:pt x="24" y="34"/>
                        <a:pt x="18" y="29"/>
                        <a:pt x="18" y="21"/>
                      </a:cubicBezTo>
                      <a:cubicBezTo>
                        <a:pt x="18" y="14"/>
                        <a:pt x="24" y="8"/>
                        <a:pt x="31" y="8"/>
                      </a:cubicBezTo>
                      <a:close/>
                      <a:moveTo>
                        <a:pt x="25" y="50"/>
                      </a:moveTo>
                      <a:cubicBezTo>
                        <a:pt x="25" y="49"/>
                        <a:pt x="26" y="49"/>
                        <a:pt x="27" y="48"/>
                      </a:cubicBezTo>
                      <a:cubicBezTo>
                        <a:pt x="30" y="50"/>
                        <a:pt x="30" y="50"/>
                        <a:pt x="30" y="50"/>
                      </a:cubicBezTo>
                      <a:cubicBezTo>
                        <a:pt x="30" y="51"/>
                        <a:pt x="30" y="51"/>
                        <a:pt x="31" y="51"/>
                      </a:cubicBezTo>
                      <a:cubicBezTo>
                        <a:pt x="31" y="51"/>
                        <a:pt x="32" y="51"/>
                        <a:pt x="32" y="50"/>
                      </a:cubicBezTo>
                      <a:cubicBezTo>
                        <a:pt x="34" y="48"/>
                        <a:pt x="34" y="48"/>
                        <a:pt x="34" y="48"/>
                      </a:cubicBezTo>
                      <a:cubicBezTo>
                        <a:pt x="36" y="49"/>
                        <a:pt x="37" y="49"/>
                        <a:pt x="37" y="50"/>
                      </a:cubicBezTo>
                      <a:cubicBezTo>
                        <a:pt x="37" y="52"/>
                        <a:pt x="34" y="53"/>
                        <a:pt x="31" y="53"/>
                      </a:cubicBezTo>
                      <a:cubicBezTo>
                        <a:pt x="28" y="53"/>
                        <a:pt x="25" y="52"/>
                        <a:pt x="25" y="50"/>
                      </a:cubicBezTo>
                      <a:close/>
                      <a:moveTo>
                        <a:pt x="8" y="53"/>
                      </a:moveTo>
                      <a:cubicBezTo>
                        <a:pt x="8" y="58"/>
                        <a:pt x="18" y="62"/>
                        <a:pt x="31" y="62"/>
                      </a:cubicBezTo>
                      <a:cubicBezTo>
                        <a:pt x="44" y="62"/>
                        <a:pt x="54" y="58"/>
                        <a:pt x="54" y="53"/>
                      </a:cubicBezTo>
                      <a:cubicBezTo>
                        <a:pt x="54" y="49"/>
                        <a:pt x="48" y="45"/>
                        <a:pt x="39" y="44"/>
                      </a:cubicBezTo>
                      <a:cubicBezTo>
                        <a:pt x="35" y="47"/>
                        <a:pt x="35" y="47"/>
                        <a:pt x="35" y="47"/>
                      </a:cubicBezTo>
                      <a:cubicBezTo>
                        <a:pt x="41" y="48"/>
                        <a:pt x="44" y="49"/>
                        <a:pt x="44" y="51"/>
                      </a:cubicBezTo>
                      <a:cubicBezTo>
                        <a:pt x="44" y="52"/>
                        <a:pt x="39" y="54"/>
                        <a:pt x="31" y="54"/>
                      </a:cubicBezTo>
                      <a:cubicBezTo>
                        <a:pt x="23" y="54"/>
                        <a:pt x="18" y="52"/>
                        <a:pt x="18" y="51"/>
                      </a:cubicBezTo>
                      <a:cubicBezTo>
                        <a:pt x="18" y="49"/>
                        <a:pt x="21" y="48"/>
                        <a:pt x="26" y="47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4" y="45"/>
                        <a:pt x="8" y="49"/>
                        <a:pt x="8" y="53"/>
                      </a:cubicBezTo>
                      <a:close/>
                      <a:moveTo>
                        <a:pt x="16" y="51"/>
                      </a:moveTo>
                      <a:cubicBezTo>
                        <a:pt x="16" y="54"/>
                        <a:pt x="23" y="56"/>
                        <a:pt x="31" y="56"/>
                      </a:cubicBezTo>
                      <a:cubicBezTo>
                        <a:pt x="39" y="56"/>
                        <a:pt x="46" y="54"/>
                        <a:pt x="46" y="51"/>
                      </a:cubicBezTo>
                      <a:cubicBezTo>
                        <a:pt x="46" y="49"/>
                        <a:pt x="44" y="47"/>
                        <a:pt x="42" y="47"/>
                      </a:cubicBezTo>
                      <a:cubicBezTo>
                        <a:pt x="48" y="48"/>
                        <a:pt x="52" y="50"/>
                        <a:pt x="52" y="53"/>
                      </a:cubicBezTo>
                      <a:cubicBezTo>
                        <a:pt x="52" y="56"/>
                        <a:pt x="43" y="60"/>
                        <a:pt x="31" y="60"/>
                      </a:cubicBezTo>
                      <a:cubicBezTo>
                        <a:pt x="19" y="60"/>
                        <a:pt x="10" y="56"/>
                        <a:pt x="10" y="53"/>
                      </a:cubicBezTo>
                      <a:cubicBezTo>
                        <a:pt x="10" y="50"/>
                        <a:pt x="14" y="48"/>
                        <a:pt x="20" y="47"/>
                      </a:cubicBezTo>
                      <a:cubicBezTo>
                        <a:pt x="17" y="47"/>
                        <a:pt x="16" y="49"/>
                        <a:pt x="16" y="51"/>
                      </a:cubicBezTo>
                      <a:close/>
                      <a:moveTo>
                        <a:pt x="62" y="55"/>
                      </a:moveTo>
                      <a:cubicBezTo>
                        <a:pt x="62" y="64"/>
                        <a:pt x="49" y="70"/>
                        <a:pt x="31" y="70"/>
                      </a:cubicBezTo>
                      <a:cubicBezTo>
                        <a:pt x="13" y="70"/>
                        <a:pt x="0" y="64"/>
                        <a:pt x="0" y="55"/>
                      </a:cubicBezTo>
                      <a:cubicBezTo>
                        <a:pt x="0" y="49"/>
                        <a:pt x="8" y="43"/>
                        <a:pt x="20" y="41"/>
                      </a:cubicBezTo>
                      <a:cubicBezTo>
                        <a:pt x="23" y="44"/>
                        <a:pt x="23" y="44"/>
                        <a:pt x="23" y="44"/>
                      </a:cubicBezTo>
                      <a:cubicBezTo>
                        <a:pt x="10" y="45"/>
                        <a:pt x="3" y="50"/>
                        <a:pt x="3" y="55"/>
                      </a:cubicBezTo>
                      <a:cubicBezTo>
                        <a:pt x="3" y="61"/>
                        <a:pt x="14" y="67"/>
                        <a:pt x="31" y="67"/>
                      </a:cubicBezTo>
                      <a:cubicBezTo>
                        <a:pt x="48" y="67"/>
                        <a:pt x="59" y="61"/>
                        <a:pt x="59" y="55"/>
                      </a:cubicBezTo>
                      <a:cubicBezTo>
                        <a:pt x="59" y="50"/>
                        <a:pt x="51" y="45"/>
                        <a:pt x="39" y="44"/>
                      </a:cubicBezTo>
                      <a:cubicBezTo>
                        <a:pt x="42" y="41"/>
                        <a:pt x="42" y="41"/>
                        <a:pt x="42" y="41"/>
                      </a:cubicBezTo>
                      <a:cubicBezTo>
                        <a:pt x="54" y="43"/>
                        <a:pt x="62" y="49"/>
                        <a:pt x="62" y="5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1" name="任意多边形: 形状 130">
                  <a:extLst>
                    <a:ext uri="{FF2B5EF4-FFF2-40B4-BE49-F238E27FC236}">
                      <a16:creationId xmlns:a16="http://schemas.microsoft.com/office/drawing/2014/main" id="{94BF47CD-E3B5-4F67-91C1-85B481357625}"/>
                    </a:ext>
                  </a:extLst>
                </p:cNvPr>
                <p:cNvSpPr/>
                <p:nvPr/>
              </p:nvSpPr>
              <p:spPr bwMode="auto">
                <a:xfrm>
                  <a:off x="6731065" y="4674833"/>
                  <a:ext cx="333122" cy="333121"/>
                </a:xfrm>
                <a:custGeom>
                  <a:avLst/>
                  <a:gdLst>
                    <a:gd name="T0" fmla="*/ 45 w 62"/>
                    <a:gd name="T1" fmla="*/ 4 h 62"/>
                    <a:gd name="T2" fmla="*/ 45 w 62"/>
                    <a:gd name="T3" fmla="*/ 9 h 62"/>
                    <a:gd name="T4" fmla="*/ 17 w 62"/>
                    <a:gd name="T5" fmla="*/ 52 h 62"/>
                    <a:gd name="T6" fmla="*/ 16 w 62"/>
                    <a:gd name="T7" fmla="*/ 58 h 62"/>
                    <a:gd name="T8" fmla="*/ 19 w 62"/>
                    <a:gd name="T9" fmla="*/ 52 h 62"/>
                    <a:gd name="T10" fmla="*/ 54 w 62"/>
                    <a:gd name="T11" fmla="*/ 19 h 62"/>
                    <a:gd name="T12" fmla="*/ 56 w 62"/>
                    <a:gd name="T13" fmla="*/ 15 h 62"/>
                    <a:gd name="T14" fmla="*/ 53 w 62"/>
                    <a:gd name="T15" fmla="*/ 19 h 62"/>
                    <a:gd name="T16" fmla="*/ 4 w 62"/>
                    <a:gd name="T17" fmla="*/ 46 h 62"/>
                    <a:gd name="T18" fmla="*/ 9 w 62"/>
                    <a:gd name="T19" fmla="*/ 44 h 62"/>
                    <a:gd name="T20" fmla="*/ 61 w 62"/>
                    <a:gd name="T21" fmla="*/ 30 h 62"/>
                    <a:gd name="T22" fmla="*/ 56 w 62"/>
                    <a:gd name="T23" fmla="*/ 32 h 62"/>
                    <a:gd name="T24" fmla="*/ 61 w 62"/>
                    <a:gd name="T25" fmla="*/ 30 h 62"/>
                    <a:gd name="T26" fmla="*/ 1 w 62"/>
                    <a:gd name="T27" fmla="*/ 30 h 62"/>
                    <a:gd name="T28" fmla="*/ 5 w 62"/>
                    <a:gd name="T29" fmla="*/ 32 h 62"/>
                    <a:gd name="T30" fmla="*/ 52 w 62"/>
                    <a:gd name="T31" fmla="*/ 43 h 62"/>
                    <a:gd name="T32" fmla="*/ 57 w 62"/>
                    <a:gd name="T33" fmla="*/ 47 h 62"/>
                    <a:gd name="T34" fmla="*/ 54 w 62"/>
                    <a:gd name="T35" fmla="*/ 43 h 62"/>
                    <a:gd name="T36" fmla="*/ 10 w 62"/>
                    <a:gd name="T37" fmla="*/ 18 h 62"/>
                    <a:gd name="T38" fmla="*/ 4 w 62"/>
                    <a:gd name="T39" fmla="*/ 15 h 62"/>
                    <a:gd name="T40" fmla="*/ 45 w 62"/>
                    <a:gd name="T41" fmla="*/ 52 h 62"/>
                    <a:gd name="T42" fmla="*/ 45 w 62"/>
                    <a:gd name="T43" fmla="*/ 57 h 62"/>
                    <a:gd name="T44" fmla="*/ 47 w 62"/>
                    <a:gd name="T45" fmla="*/ 56 h 62"/>
                    <a:gd name="T46" fmla="*/ 30 w 62"/>
                    <a:gd name="T47" fmla="*/ 56 h 62"/>
                    <a:gd name="T48" fmla="*/ 32 w 62"/>
                    <a:gd name="T49" fmla="*/ 61 h 62"/>
                    <a:gd name="T50" fmla="*/ 17 w 62"/>
                    <a:gd name="T51" fmla="*/ 9 h 62"/>
                    <a:gd name="T52" fmla="*/ 19 w 62"/>
                    <a:gd name="T53" fmla="*/ 8 h 62"/>
                    <a:gd name="T54" fmla="*/ 15 w 62"/>
                    <a:gd name="T55" fmla="*/ 5 h 62"/>
                    <a:gd name="T56" fmla="*/ 32 w 62"/>
                    <a:gd name="T57" fmla="*/ 5 h 62"/>
                    <a:gd name="T58" fmla="*/ 30 w 62"/>
                    <a:gd name="T59" fmla="*/ 1 h 62"/>
                    <a:gd name="T60" fmla="*/ 53 w 62"/>
                    <a:gd name="T61" fmla="*/ 30 h 62"/>
                    <a:gd name="T62" fmla="*/ 29 w 62"/>
                    <a:gd name="T63" fmla="*/ 53 h 62"/>
                    <a:gd name="T64" fmla="*/ 14 w 62"/>
                    <a:gd name="T65" fmla="*/ 19 h 62"/>
                    <a:gd name="T66" fmla="*/ 48 w 62"/>
                    <a:gd name="T67" fmla="*/ 19 h 62"/>
                    <a:gd name="T68" fmla="*/ 46 w 62"/>
                    <a:gd name="T69" fmla="*/ 22 h 62"/>
                    <a:gd name="T70" fmla="*/ 46 w 62"/>
                    <a:gd name="T71" fmla="*/ 22 h 62"/>
                    <a:gd name="T72" fmla="*/ 39 w 62"/>
                    <a:gd name="T73" fmla="*/ 27 h 62"/>
                    <a:gd name="T74" fmla="*/ 31 w 62"/>
                    <a:gd name="T75" fmla="*/ 48 h 62"/>
                    <a:gd name="T76" fmla="*/ 36 w 62"/>
                    <a:gd name="T77" fmla="*/ 27 h 62"/>
                    <a:gd name="T78" fmla="*/ 36 w 62"/>
                    <a:gd name="T79" fmla="*/ 27 h 62"/>
                    <a:gd name="T80" fmla="*/ 23 w 62"/>
                    <a:gd name="T81" fmla="*/ 27 h 62"/>
                    <a:gd name="T82" fmla="*/ 21 w 62"/>
                    <a:gd name="T83" fmla="*/ 27 h 62"/>
                    <a:gd name="T84" fmla="*/ 28 w 62"/>
                    <a:gd name="T85" fmla="*/ 47 h 62"/>
                    <a:gd name="T86" fmla="*/ 28 w 62"/>
                    <a:gd name="T87" fmla="*/ 47 h 62"/>
                    <a:gd name="T88" fmla="*/ 39 w 62"/>
                    <a:gd name="T89" fmla="*/ 29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62" h="62">
                      <a:moveTo>
                        <a:pt x="43" y="9"/>
                      </a:moveTo>
                      <a:cubicBezTo>
                        <a:pt x="43" y="9"/>
                        <a:pt x="43" y="9"/>
                        <a:pt x="43" y="8"/>
                      </a:cubicBezTo>
                      <a:cubicBezTo>
                        <a:pt x="45" y="4"/>
                        <a:pt x="45" y="4"/>
                        <a:pt x="45" y="4"/>
                      </a:cubicBezTo>
                      <a:cubicBezTo>
                        <a:pt x="45" y="4"/>
                        <a:pt x="46" y="4"/>
                        <a:pt x="46" y="4"/>
                      </a:cubicBezTo>
                      <a:cubicBezTo>
                        <a:pt x="47" y="4"/>
                        <a:pt x="47" y="5"/>
                        <a:pt x="47" y="5"/>
                      </a:cubicBezTo>
                      <a:cubicBezTo>
                        <a:pt x="45" y="9"/>
                        <a:pt x="45" y="9"/>
                        <a:pt x="45" y="9"/>
                      </a:cubicBezTo>
                      <a:cubicBezTo>
                        <a:pt x="44" y="9"/>
                        <a:pt x="44" y="10"/>
                        <a:pt x="44" y="10"/>
                      </a:cubicBezTo>
                      <a:cubicBezTo>
                        <a:pt x="43" y="10"/>
                        <a:pt x="43" y="9"/>
                        <a:pt x="43" y="9"/>
                      </a:cubicBezTo>
                      <a:close/>
                      <a:moveTo>
                        <a:pt x="17" y="52"/>
                      </a:moveTo>
                      <a:cubicBezTo>
                        <a:pt x="15" y="56"/>
                        <a:pt x="15" y="56"/>
                        <a:pt x="15" y="56"/>
                      </a:cubicBezTo>
                      <a:cubicBezTo>
                        <a:pt x="15" y="57"/>
                        <a:pt x="15" y="57"/>
                        <a:pt x="15" y="58"/>
                      </a:cubicBezTo>
                      <a:cubicBezTo>
                        <a:pt x="16" y="58"/>
                        <a:pt x="16" y="58"/>
                        <a:pt x="16" y="58"/>
                      </a:cubicBezTo>
                      <a:cubicBezTo>
                        <a:pt x="16" y="58"/>
                        <a:pt x="17" y="57"/>
                        <a:pt x="17" y="5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3"/>
                        <a:pt x="19" y="52"/>
                        <a:pt x="19" y="52"/>
                      </a:cubicBezTo>
                      <a:cubicBezTo>
                        <a:pt x="18" y="52"/>
                        <a:pt x="18" y="52"/>
                        <a:pt x="17" y="52"/>
                      </a:cubicBezTo>
                      <a:close/>
                      <a:moveTo>
                        <a:pt x="53" y="19"/>
                      </a:moveTo>
                      <a:cubicBezTo>
                        <a:pt x="53" y="19"/>
                        <a:pt x="53" y="19"/>
                        <a:pt x="54" y="19"/>
                      </a:cubicBezTo>
                      <a:cubicBezTo>
                        <a:pt x="57" y="17"/>
                        <a:pt x="57" y="17"/>
                        <a:pt x="57" y="17"/>
                      </a:cubicBezTo>
                      <a:cubicBezTo>
                        <a:pt x="58" y="16"/>
                        <a:pt x="58" y="16"/>
                        <a:pt x="58" y="15"/>
                      </a:cubicBezTo>
                      <a:cubicBezTo>
                        <a:pt x="57" y="15"/>
                        <a:pt x="57" y="14"/>
                        <a:pt x="56" y="15"/>
                      </a:cubicBezTo>
                      <a:cubicBezTo>
                        <a:pt x="53" y="17"/>
                        <a:pt x="53" y="17"/>
                        <a:pt x="53" y="17"/>
                      </a:cubicBezTo>
                      <a:cubicBezTo>
                        <a:pt x="52" y="17"/>
                        <a:pt x="52" y="18"/>
                        <a:pt x="52" y="18"/>
                      </a:cubicBezTo>
                      <a:cubicBezTo>
                        <a:pt x="52" y="19"/>
                        <a:pt x="53" y="19"/>
                        <a:pt x="53" y="19"/>
                      </a:cubicBezTo>
                      <a:close/>
                      <a:moveTo>
                        <a:pt x="8" y="43"/>
                      </a:moveTo>
                      <a:cubicBezTo>
                        <a:pt x="4" y="45"/>
                        <a:pt x="4" y="45"/>
                        <a:pt x="4" y="45"/>
                      </a:cubicBezTo>
                      <a:cubicBezTo>
                        <a:pt x="4" y="45"/>
                        <a:pt x="4" y="46"/>
                        <a:pt x="4" y="46"/>
                      </a:cubicBezTo>
                      <a:cubicBezTo>
                        <a:pt x="4" y="46"/>
                        <a:pt x="5" y="47"/>
                        <a:pt x="5" y="47"/>
                      </a:cubicBezTo>
                      <a:cubicBezTo>
                        <a:pt x="5" y="47"/>
                        <a:pt x="5" y="47"/>
                        <a:pt x="5" y="47"/>
                      </a:cubicBezTo>
                      <a:cubicBezTo>
                        <a:pt x="9" y="44"/>
                        <a:pt x="9" y="44"/>
                        <a:pt x="9" y="44"/>
                      </a:cubicBezTo>
                      <a:cubicBezTo>
                        <a:pt x="10" y="44"/>
                        <a:pt x="10" y="43"/>
                        <a:pt x="10" y="43"/>
                      </a:cubicBezTo>
                      <a:cubicBezTo>
                        <a:pt x="9" y="42"/>
                        <a:pt x="9" y="42"/>
                        <a:pt x="8" y="43"/>
                      </a:cubicBezTo>
                      <a:close/>
                      <a:moveTo>
                        <a:pt x="61" y="30"/>
                      </a:moveTo>
                      <a:cubicBezTo>
                        <a:pt x="56" y="30"/>
                        <a:pt x="56" y="30"/>
                        <a:pt x="56" y="30"/>
                      </a:cubicBezTo>
                      <a:cubicBezTo>
                        <a:pt x="56" y="30"/>
                        <a:pt x="55" y="30"/>
                        <a:pt x="55" y="31"/>
                      </a:cubicBezTo>
                      <a:cubicBezTo>
                        <a:pt x="55" y="31"/>
                        <a:pt x="56" y="32"/>
                        <a:pt x="56" y="32"/>
                      </a:cubicBezTo>
                      <a:cubicBezTo>
                        <a:pt x="61" y="32"/>
                        <a:pt x="61" y="32"/>
                        <a:pt x="61" y="32"/>
                      </a:cubicBezTo>
                      <a:cubicBezTo>
                        <a:pt x="61" y="32"/>
                        <a:pt x="62" y="31"/>
                        <a:pt x="62" y="31"/>
                      </a:cubicBezTo>
                      <a:cubicBezTo>
                        <a:pt x="62" y="30"/>
                        <a:pt x="61" y="30"/>
                        <a:pt x="61" y="30"/>
                      </a:cubicBezTo>
                      <a:close/>
                      <a:moveTo>
                        <a:pt x="6" y="31"/>
                      </a:moveTo>
                      <a:cubicBezTo>
                        <a:pt x="6" y="30"/>
                        <a:pt x="6" y="30"/>
                        <a:pt x="5" y="30"/>
                      </a:cubicBezTo>
                      <a:cubicBezTo>
                        <a:pt x="1" y="30"/>
                        <a:pt x="1" y="30"/>
                        <a:pt x="1" y="30"/>
                      </a:cubicBezTo>
                      <a:cubicBezTo>
                        <a:pt x="0" y="30"/>
                        <a:pt x="0" y="30"/>
                        <a:pt x="0" y="31"/>
                      </a:cubicBezTo>
                      <a:cubicBezTo>
                        <a:pt x="0" y="31"/>
                        <a:pt x="0" y="32"/>
                        <a:pt x="1" y="32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6" y="32"/>
                        <a:pt x="6" y="31"/>
                        <a:pt x="6" y="31"/>
                      </a:cubicBezTo>
                      <a:close/>
                      <a:moveTo>
                        <a:pt x="54" y="43"/>
                      </a:moveTo>
                      <a:cubicBezTo>
                        <a:pt x="53" y="42"/>
                        <a:pt x="52" y="42"/>
                        <a:pt x="52" y="43"/>
                      </a:cubicBezTo>
                      <a:cubicBezTo>
                        <a:pt x="52" y="43"/>
                        <a:pt x="52" y="44"/>
                        <a:pt x="53" y="44"/>
                      </a:cubicBezTo>
                      <a:cubicBezTo>
                        <a:pt x="56" y="47"/>
                        <a:pt x="56" y="47"/>
                        <a:pt x="56" y="47"/>
                      </a:cubicBezTo>
                      <a:cubicBezTo>
                        <a:pt x="57" y="47"/>
                        <a:pt x="57" y="47"/>
                        <a:pt x="57" y="47"/>
                      </a:cubicBezTo>
                      <a:cubicBezTo>
                        <a:pt x="57" y="47"/>
                        <a:pt x="58" y="46"/>
                        <a:pt x="58" y="46"/>
                      </a:cubicBezTo>
                      <a:cubicBezTo>
                        <a:pt x="58" y="46"/>
                        <a:pt x="58" y="45"/>
                        <a:pt x="57" y="45"/>
                      </a:cubicBezTo>
                      <a:lnTo>
                        <a:pt x="54" y="43"/>
                      </a:lnTo>
                      <a:close/>
                      <a:moveTo>
                        <a:pt x="8" y="19"/>
                      </a:moveTo>
                      <a:cubicBezTo>
                        <a:pt x="8" y="19"/>
                        <a:pt x="9" y="19"/>
                        <a:pt x="9" y="19"/>
                      </a:cubicBezTo>
                      <a:cubicBezTo>
                        <a:pt x="9" y="19"/>
                        <a:pt x="9" y="19"/>
                        <a:pt x="10" y="18"/>
                      </a:cubicBezTo>
                      <a:cubicBezTo>
                        <a:pt x="10" y="18"/>
                        <a:pt x="10" y="17"/>
                        <a:pt x="9" y="17"/>
                      </a:cubicBezTo>
                      <a:cubicBezTo>
                        <a:pt x="5" y="15"/>
                        <a:pt x="5" y="15"/>
                        <a:pt x="5" y="15"/>
                      </a:cubicBezTo>
                      <a:cubicBezTo>
                        <a:pt x="5" y="14"/>
                        <a:pt x="4" y="15"/>
                        <a:pt x="4" y="15"/>
                      </a:cubicBezTo>
                      <a:cubicBezTo>
                        <a:pt x="4" y="16"/>
                        <a:pt x="4" y="16"/>
                        <a:pt x="4" y="17"/>
                      </a:cubicBezTo>
                      <a:lnTo>
                        <a:pt x="8" y="19"/>
                      </a:lnTo>
                      <a:close/>
                      <a:moveTo>
                        <a:pt x="45" y="52"/>
                      </a:moveTo>
                      <a:cubicBezTo>
                        <a:pt x="44" y="52"/>
                        <a:pt x="44" y="52"/>
                        <a:pt x="43" y="52"/>
                      </a:cubicBezTo>
                      <a:cubicBezTo>
                        <a:pt x="43" y="52"/>
                        <a:pt x="43" y="53"/>
                        <a:pt x="43" y="53"/>
                      </a:cubicBezTo>
                      <a:cubicBezTo>
                        <a:pt x="45" y="57"/>
                        <a:pt x="45" y="57"/>
                        <a:pt x="45" y="57"/>
                      </a:cubicBezTo>
                      <a:cubicBezTo>
                        <a:pt x="45" y="57"/>
                        <a:pt x="46" y="58"/>
                        <a:pt x="46" y="58"/>
                      </a:cubicBezTo>
                      <a:cubicBezTo>
                        <a:pt x="46" y="58"/>
                        <a:pt x="46" y="58"/>
                        <a:pt x="46" y="58"/>
                      </a:cubicBezTo>
                      <a:cubicBezTo>
                        <a:pt x="47" y="57"/>
                        <a:pt x="47" y="57"/>
                        <a:pt x="47" y="56"/>
                      </a:cubicBezTo>
                      <a:lnTo>
                        <a:pt x="45" y="52"/>
                      </a:lnTo>
                      <a:close/>
                      <a:moveTo>
                        <a:pt x="31" y="55"/>
                      </a:moveTo>
                      <a:cubicBezTo>
                        <a:pt x="30" y="55"/>
                        <a:pt x="30" y="56"/>
                        <a:pt x="30" y="56"/>
                      </a:cubicBezTo>
                      <a:cubicBezTo>
                        <a:pt x="30" y="61"/>
                        <a:pt x="30" y="61"/>
                        <a:pt x="30" y="61"/>
                      </a:cubicBezTo>
                      <a:cubicBezTo>
                        <a:pt x="30" y="61"/>
                        <a:pt x="30" y="62"/>
                        <a:pt x="31" y="62"/>
                      </a:cubicBezTo>
                      <a:cubicBezTo>
                        <a:pt x="31" y="62"/>
                        <a:pt x="32" y="61"/>
                        <a:pt x="32" y="61"/>
                      </a:cubicBezTo>
                      <a:cubicBezTo>
                        <a:pt x="32" y="56"/>
                        <a:pt x="32" y="56"/>
                        <a:pt x="32" y="56"/>
                      </a:cubicBezTo>
                      <a:cubicBezTo>
                        <a:pt x="32" y="56"/>
                        <a:pt x="31" y="55"/>
                        <a:pt x="31" y="55"/>
                      </a:cubicBezTo>
                      <a:close/>
                      <a:moveTo>
                        <a:pt x="17" y="9"/>
                      </a:moveTo>
                      <a:cubicBezTo>
                        <a:pt x="17" y="9"/>
                        <a:pt x="18" y="10"/>
                        <a:pt x="18" y="10"/>
                      </a:cubicBezTo>
                      <a:cubicBezTo>
                        <a:pt x="18" y="10"/>
                        <a:pt x="18" y="9"/>
                        <a:pt x="19" y="9"/>
                      </a:cubicBezTo>
                      <a:cubicBezTo>
                        <a:pt x="19" y="9"/>
                        <a:pt x="19" y="9"/>
                        <a:pt x="19" y="8"/>
                      </a:cubicBezTo>
                      <a:cubicBezTo>
                        <a:pt x="17" y="4"/>
                        <a:pt x="17" y="4"/>
                        <a:pt x="17" y="4"/>
                      </a:cubicBezTo>
                      <a:cubicBezTo>
                        <a:pt x="16" y="4"/>
                        <a:pt x="16" y="4"/>
                        <a:pt x="15" y="4"/>
                      </a:cubicBezTo>
                      <a:cubicBezTo>
                        <a:pt x="15" y="4"/>
                        <a:pt x="15" y="5"/>
                        <a:pt x="15" y="5"/>
                      </a:cubicBezTo>
                      <a:lnTo>
                        <a:pt x="17" y="9"/>
                      </a:lnTo>
                      <a:close/>
                      <a:moveTo>
                        <a:pt x="31" y="6"/>
                      </a:moveTo>
                      <a:cubicBezTo>
                        <a:pt x="31" y="6"/>
                        <a:pt x="32" y="6"/>
                        <a:pt x="32" y="5"/>
                      </a:cubicBezTo>
                      <a:cubicBezTo>
                        <a:pt x="32" y="1"/>
                        <a:pt x="32" y="1"/>
                        <a:pt x="32" y="1"/>
                      </a:cubicBezTo>
                      <a:cubicBezTo>
                        <a:pt x="32" y="0"/>
                        <a:pt x="31" y="0"/>
                        <a:pt x="31" y="0"/>
                      </a:cubicBezTo>
                      <a:cubicBezTo>
                        <a:pt x="30" y="0"/>
                        <a:pt x="30" y="0"/>
                        <a:pt x="30" y="1"/>
                      </a:cubicBezTo>
                      <a:cubicBezTo>
                        <a:pt x="30" y="5"/>
                        <a:pt x="30" y="5"/>
                        <a:pt x="30" y="5"/>
                      </a:cubicBezTo>
                      <a:cubicBezTo>
                        <a:pt x="30" y="6"/>
                        <a:pt x="30" y="6"/>
                        <a:pt x="31" y="6"/>
                      </a:cubicBezTo>
                      <a:close/>
                      <a:moveTo>
                        <a:pt x="53" y="30"/>
                      </a:moveTo>
                      <a:cubicBezTo>
                        <a:pt x="32" y="53"/>
                        <a:pt x="32" y="53"/>
                        <a:pt x="32" y="53"/>
                      </a:cubicBezTo>
                      <a:cubicBezTo>
                        <a:pt x="32" y="53"/>
                        <a:pt x="31" y="53"/>
                        <a:pt x="31" y="53"/>
                      </a:cubicBezTo>
                      <a:cubicBezTo>
                        <a:pt x="30" y="53"/>
                        <a:pt x="30" y="53"/>
                        <a:pt x="29" y="53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29"/>
                        <a:pt x="8" y="28"/>
                        <a:pt x="9" y="27"/>
                      </a:cubicBezTo>
                      <a:cubicBezTo>
                        <a:pt x="14" y="19"/>
                        <a:pt x="14" y="19"/>
                        <a:pt x="14" y="19"/>
                      </a:cubicBezTo>
                      <a:cubicBezTo>
                        <a:pt x="14" y="19"/>
                        <a:pt x="15" y="18"/>
                        <a:pt x="15" y="18"/>
                      </a:cubicBezTo>
                      <a:cubicBezTo>
                        <a:pt x="46" y="18"/>
                        <a:pt x="46" y="18"/>
                        <a:pt x="46" y="18"/>
                      </a:cubicBezTo>
                      <a:cubicBezTo>
                        <a:pt x="47" y="18"/>
                        <a:pt x="48" y="19"/>
                        <a:pt x="48" y="19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54" y="28"/>
                        <a:pt x="54" y="29"/>
                        <a:pt x="53" y="30"/>
                      </a:cubicBezTo>
                      <a:close/>
                      <a:moveTo>
                        <a:pt x="46" y="22"/>
                      </a:moveTo>
                      <a:cubicBezTo>
                        <a:pt x="41" y="27"/>
                        <a:pt x="41" y="27"/>
                        <a:pt x="41" y="27"/>
                      </a:cubicBezTo>
                      <a:cubicBezTo>
                        <a:pt x="50" y="27"/>
                        <a:pt x="50" y="27"/>
                        <a:pt x="50" y="27"/>
                      </a:cubicBezTo>
                      <a:lnTo>
                        <a:pt x="46" y="22"/>
                      </a:lnTo>
                      <a:close/>
                      <a:moveTo>
                        <a:pt x="44" y="21"/>
                      </a:move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9" y="27"/>
                        <a:pt x="39" y="27"/>
                        <a:pt x="39" y="27"/>
                      </a:cubicBezTo>
                      <a:lnTo>
                        <a:pt x="44" y="21"/>
                      </a:lnTo>
                      <a:close/>
                      <a:moveTo>
                        <a:pt x="25" y="29"/>
                      </a:moveTo>
                      <a:cubicBezTo>
                        <a:pt x="31" y="48"/>
                        <a:pt x="31" y="48"/>
                        <a:pt x="31" y="48"/>
                      </a:cubicBezTo>
                      <a:cubicBezTo>
                        <a:pt x="37" y="29"/>
                        <a:pt x="37" y="29"/>
                        <a:pt x="37" y="29"/>
                      </a:cubicBezTo>
                      <a:lnTo>
                        <a:pt x="25" y="29"/>
                      </a:lnTo>
                      <a:close/>
                      <a:moveTo>
                        <a:pt x="36" y="27"/>
                      </a:moveTo>
                      <a:cubicBezTo>
                        <a:pt x="31" y="22"/>
                        <a:pt x="31" y="22"/>
                        <a:pt x="31" y="22"/>
                      </a:cubicBezTo>
                      <a:cubicBezTo>
                        <a:pt x="26" y="27"/>
                        <a:pt x="26" y="27"/>
                        <a:pt x="26" y="27"/>
                      </a:cubicBezTo>
                      <a:lnTo>
                        <a:pt x="36" y="27"/>
                      </a:lnTo>
                      <a:close/>
                      <a:moveTo>
                        <a:pt x="28" y="21"/>
                      </a:move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23" y="27"/>
                        <a:pt x="23" y="27"/>
                        <a:pt x="23" y="27"/>
                      </a:cubicBezTo>
                      <a:lnTo>
                        <a:pt x="28" y="21"/>
                      </a:lnTo>
                      <a:close/>
                      <a:moveTo>
                        <a:pt x="12" y="27"/>
                      </a:moveTo>
                      <a:cubicBezTo>
                        <a:pt x="21" y="27"/>
                        <a:pt x="21" y="27"/>
                        <a:pt x="21" y="27"/>
                      </a:cubicBezTo>
                      <a:cubicBezTo>
                        <a:pt x="16" y="22"/>
                        <a:pt x="16" y="22"/>
                        <a:pt x="16" y="22"/>
                      </a:cubicBezTo>
                      <a:lnTo>
                        <a:pt x="12" y="27"/>
                      </a:lnTo>
                      <a:close/>
                      <a:moveTo>
                        <a:pt x="28" y="47"/>
                      </a:moveTo>
                      <a:cubicBezTo>
                        <a:pt x="22" y="29"/>
                        <a:pt x="22" y="29"/>
                        <a:pt x="22" y="29"/>
                      </a:cubicBezTo>
                      <a:cubicBezTo>
                        <a:pt x="12" y="29"/>
                        <a:pt x="12" y="29"/>
                        <a:pt x="12" y="29"/>
                      </a:cubicBezTo>
                      <a:lnTo>
                        <a:pt x="28" y="47"/>
                      </a:lnTo>
                      <a:close/>
                      <a:moveTo>
                        <a:pt x="33" y="47"/>
                      </a:moveTo>
                      <a:cubicBezTo>
                        <a:pt x="49" y="29"/>
                        <a:pt x="49" y="29"/>
                        <a:pt x="49" y="29"/>
                      </a:cubicBezTo>
                      <a:cubicBezTo>
                        <a:pt x="39" y="29"/>
                        <a:pt x="39" y="29"/>
                        <a:pt x="39" y="29"/>
                      </a:cubicBezTo>
                      <a:lnTo>
                        <a:pt x="33" y="4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2" name="任意多边形: 形状 131">
                  <a:extLst>
                    <a:ext uri="{FF2B5EF4-FFF2-40B4-BE49-F238E27FC236}">
                      <a16:creationId xmlns:a16="http://schemas.microsoft.com/office/drawing/2014/main" id="{427759E9-DEFB-4610-B9B7-463B465B42DD}"/>
                    </a:ext>
                  </a:extLst>
                </p:cNvPr>
                <p:cNvSpPr/>
                <p:nvPr/>
              </p:nvSpPr>
              <p:spPr bwMode="auto">
                <a:xfrm>
                  <a:off x="5191613" y="5167219"/>
                  <a:ext cx="317091" cy="298329"/>
                </a:xfrm>
                <a:custGeom>
                  <a:avLst/>
                  <a:gdLst>
                    <a:gd name="T0" fmla="*/ 23 w 68"/>
                    <a:gd name="T1" fmla="*/ 5 h 67"/>
                    <a:gd name="T2" fmla="*/ 7 w 68"/>
                    <a:gd name="T3" fmla="*/ 11 h 67"/>
                    <a:gd name="T4" fmla="*/ 7 w 68"/>
                    <a:gd name="T5" fmla="*/ 67 h 67"/>
                    <a:gd name="T6" fmla="*/ 38 w 68"/>
                    <a:gd name="T7" fmla="*/ 62 h 67"/>
                    <a:gd name="T8" fmla="*/ 49 w 68"/>
                    <a:gd name="T9" fmla="*/ 56 h 67"/>
                    <a:gd name="T10" fmla="*/ 64 w 68"/>
                    <a:gd name="T11" fmla="*/ 47 h 67"/>
                    <a:gd name="T12" fmla="*/ 60 w 68"/>
                    <a:gd name="T13" fmla="*/ 0 h 67"/>
                    <a:gd name="T14" fmla="*/ 52 w 68"/>
                    <a:gd name="T15" fmla="*/ 51 h 67"/>
                    <a:gd name="T16" fmla="*/ 59 w 68"/>
                    <a:gd name="T17" fmla="*/ 44 h 67"/>
                    <a:gd name="T18" fmla="*/ 56 w 68"/>
                    <a:gd name="T19" fmla="*/ 41 h 67"/>
                    <a:gd name="T20" fmla="*/ 56 w 68"/>
                    <a:gd name="T21" fmla="*/ 51 h 67"/>
                    <a:gd name="T22" fmla="*/ 50 w 68"/>
                    <a:gd name="T23" fmla="*/ 43 h 67"/>
                    <a:gd name="T24" fmla="*/ 33 w 68"/>
                    <a:gd name="T25" fmla="*/ 45 h 67"/>
                    <a:gd name="T26" fmla="*/ 48 w 68"/>
                    <a:gd name="T27" fmla="*/ 53 h 67"/>
                    <a:gd name="T28" fmla="*/ 26 w 68"/>
                    <a:gd name="T29" fmla="*/ 7 h 67"/>
                    <a:gd name="T30" fmla="*/ 65 w 68"/>
                    <a:gd name="T31" fmla="*/ 7 h 67"/>
                    <a:gd name="T32" fmla="*/ 56 w 68"/>
                    <a:gd name="T33" fmla="*/ 39 h 67"/>
                    <a:gd name="T34" fmla="*/ 9 w 68"/>
                    <a:gd name="T35" fmla="*/ 23 h 67"/>
                    <a:gd name="T36" fmla="*/ 12 w 68"/>
                    <a:gd name="T37" fmla="*/ 30 h 67"/>
                    <a:gd name="T38" fmla="*/ 10 w 68"/>
                    <a:gd name="T39" fmla="*/ 32 h 67"/>
                    <a:gd name="T40" fmla="*/ 10 w 68"/>
                    <a:gd name="T41" fmla="*/ 38 h 67"/>
                    <a:gd name="T42" fmla="*/ 12 w 68"/>
                    <a:gd name="T43" fmla="*/ 40 h 67"/>
                    <a:gd name="T44" fmla="*/ 9 w 68"/>
                    <a:gd name="T45" fmla="*/ 47 h 67"/>
                    <a:gd name="T46" fmla="*/ 12 w 68"/>
                    <a:gd name="T47" fmla="*/ 54 h 67"/>
                    <a:gd name="T48" fmla="*/ 9 w 68"/>
                    <a:gd name="T49" fmla="*/ 55 h 67"/>
                    <a:gd name="T50" fmla="*/ 19 w 68"/>
                    <a:gd name="T51" fmla="*/ 61 h 67"/>
                    <a:gd name="T52" fmla="*/ 25 w 68"/>
                    <a:gd name="T53" fmla="*/ 64 h 67"/>
                    <a:gd name="T54" fmla="*/ 3 w 68"/>
                    <a:gd name="T55" fmla="*/ 19 h 67"/>
                    <a:gd name="T56" fmla="*/ 12 w 68"/>
                    <a:gd name="T57" fmla="*/ 22 h 67"/>
                    <a:gd name="T58" fmla="*/ 34 w 68"/>
                    <a:gd name="T59" fmla="*/ 61 h 67"/>
                    <a:gd name="T60" fmla="*/ 19 w 68"/>
                    <a:gd name="T61" fmla="*/ 59 h 67"/>
                    <a:gd name="T62" fmla="*/ 19 w 68"/>
                    <a:gd name="T63" fmla="*/ 8 h 67"/>
                    <a:gd name="T64" fmla="*/ 21 w 68"/>
                    <a:gd name="T65" fmla="*/ 17 h 67"/>
                    <a:gd name="T66" fmla="*/ 24 w 68"/>
                    <a:gd name="T67" fmla="*/ 19 h 67"/>
                    <a:gd name="T68" fmla="*/ 20 w 68"/>
                    <a:gd name="T69" fmla="*/ 26 h 67"/>
                    <a:gd name="T70" fmla="*/ 24 w 68"/>
                    <a:gd name="T71" fmla="*/ 33 h 67"/>
                    <a:gd name="T72" fmla="*/ 21 w 68"/>
                    <a:gd name="T73" fmla="*/ 35 h 67"/>
                    <a:gd name="T74" fmla="*/ 21 w 68"/>
                    <a:gd name="T75" fmla="*/ 41 h 67"/>
                    <a:gd name="T76" fmla="*/ 24 w 68"/>
                    <a:gd name="T77" fmla="*/ 43 h 67"/>
                    <a:gd name="T78" fmla="*/ 21 w 68"/>
                    <a:gd name="T79" fmla="*/ 49 h 67"/>
                    <a:gd name="T80" fmla="*/ 24 w 68"/>
                    <a:gd name="T81" fmla="*/ 51 h 67"/>
                    <a:gd name="T82" fmla="*/ 38 w 68"/>
                    <a:gd name="T83" fmla="*/ 57 h 67"/>
                    <a:gd name="T84" fmla="*/ 40 w 68"/>
                    <a:gd name="T85" fmla="*/ 58 h 67"/>
                    <a:gd name="T86" fmla="*/ 40 w 68"/>
                    <a:gd name="T87" fmla="*/ 55 h 67"/>
                    <a:gd name="T88" fmla="*/ 40 w 68"/>
                    <a:gd name="T89" fmla="*/ 58 h 67"/>
                    <a:gd name="T90" fmla="*/ 33 w 68"/>
                    <a:gd name="T91" fmla="*/ 13 h 67"/>
                    <a:gd name="T92" fmla="*/ 58 w 68"/>
                    <a:gd name="T93" fmla="*/ 11 h 67"/>
                    <a:gd name="T94" fmla="*/ 58 w 68"/>
                    <a:gd name="T95" fmla="*/ 21 h 67"/>
                    <a:gd name="T96" fmla="*/ 33 w 68"/>
                    <a:gd name="T97" fmla="*/ 19 h 67"/>
                    <a:gd name="T98" fmla="*/ 59 w 68"/>
                    <a:gd name="T99" fmla="*/ 28 h 67"/>
                    <a:gd name="T100" fmla="*/ 32 w 68"/>
                    <a:gd name="T101" fmla="*/ 28 h 67"/>
                    <a:gd name="T102" fmla="*/ 59 w 68"/>
                    <a:gd name="T103" fmla="*/ 28 h 67"/>
                    <a:gd name="T104" fmla="*/ 33 w 68"/>
                    <a:gd name="T105" fmla="*/ 37 h 67"/>
                    <a:gd name="T106" fmla="*/ 58 w 68"/>
                    <a:gd name="T107" fmla="*/ 35 h 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8" h="67">
                      <a:moveTo>
                        <a:pt x="60" y="0"/>
                      </a:moveTo>
                      <a:cubicBezTo>
                        <a:pt x="31" y="0"/>
                        <a:pt x="31" y="0"/>
                        <a:pt x="31" y="0"/>
                      </a:cubicBezTo>
                      <a:cubicBezTo>
                        <a:pt x="27" y="0"/>
                        <a:pt x="24" y="2"/>
                        <a:pt x="23" y="5"/>
                      </a:cubicBezTo>
                      <a:cubicBezTo>
                        <a:pt x="19" y="5"/>
                        <a:pt x="19" y="5"/>
                        <a:pt x="19" y="5"/>
                      </a:cubicBezTo>
                      <a:cubicBezTo>
                        <a:pt x="15" y="5"/>
                        <a:pt x="13" y="8"/>
                        <a:pt x="12" y="11"/>
                      </a:cubicBezTo>
                      <a:cubicBezTo>
                        <a:pt x="7" y="11"/>
                        <a:pt x="7" y="11"/>
                        <a:pt x="7" y="11"/>
                      </a:cubicBezTo>
                      <a:cubicBezTo>
                        <a:pt x="3" y="11"/>
                        <a:pt x="0" y="14"/>
                        <a:pt x="0" y="19"/>
                      </a:cubicBezTo>
                      <a:cubicBezTo>
                        <a:pt x="0" y="60"/>
                        <a:pt x="0" y="60"/>
                        <a:pt x="0" y="60"/>
                      </a:cubicBezTo>
                      <a:cubicBezTo>
                        <a:pt x="0" y="64"/>
                        <a:pt x="3" y="67"/>
                        <a:pt x="7" y="67"/>
                      </a:cubicBezTo>
                      <a:cubicBezTo>
                        <a:pt x="25" y="67"/>
                        <a:pt x="25" y="67"/>
                        <a:pt x="25" y="67"/>
                      </a:cubicBezTo>
                      <a:cubicBezTo>
                        <a:pt x="29" y="67"/>
                        <a:pt x="33" y="66"/>
                        <a:pt x="35" y="64"/>
                      </a:cubicBezTo>
                      <a:cubicBezTo>
                        <a:pt x="38" y="62"/>
                        <a:pt x="38" y="62"/>
                        <a:pt x="38" y="62"/>
                      </a:cubicBezTo>
                      <a:cubicBezTo>
                        <a:pt x="41" y="62"/>
                        <a:pt x="45" y="60"/>
                        <a:pt x="47" y="59"/>
                      </a:cubicBezTo>
                      <a:cubicBezTo>
                        <a:pt x="48" y="57"/>
                        <a:pt x="48" y="57"/>
                        <a:pt x="48" y="57"/>
                      </a:cubicBezTo>
                      <a:cubicBezTo>
                        <a:pt x="49" y="56"/>
                        <a:pt x="49" y="56"/>
                        <a:pt x="49" y="56"/>
                      </a:cubicBezTo>
                      <a:cubicBezTo>
                        <a:pt x="53" y="56"/>
                        <a:pt x="57" y="55"/>
                        <a:pt x="59" y="53"/>
                      </a:cubicBezTo>
                      <a:cubicBezTo>
                        <a:pt x="62" y="50"/>
                        <a:pt x="62" y="50"/>
                        <a:pt x="62" y="50"/>
                      </a:cubicBezTo>
                      <a:cubicBezTo>
                        <a:pt x="64" y="47"/>
                        <a:pt x="64" y="47"/>
                        <a:pt x="64" y="47"/>
                      </a:cubicBezTo>
                      <a:cubicBezTo>
                        <a:pt x="66" y="46"/>
                        <a:pt x="68" y="41"/>
                        <a:pt x="68" y="38"/>
                      </a:cubicBezTo>
                      <a:cubicBezTo>
                        <a:pt x="68" y="7"/>
                        <a:pt x="68" y="7"/>
                        <a:pt x="68" y="7"/>
                      </a:cubicBezTo>
                      <a:cubicBezTo>
                        <a:pt x="68" y="3"/>
                        <a:pt x="64" y="0"/>
                        <a:pt x="60" y="0"/>
                      </a:cubicBezTo>
                      <a:close/>
                      <a:moveTo>
                        <a:pt x="52" y="53"/>
                      </a:moveTo>
                      <a:cubicBezTo>
                        <a:pt x="52" y="52"/>
                        <a:pt x="52" y="52"/>
                        <a:pt x="52" y="52"/>
                      </a:cubicBezTo>
                      <a:cubicBezTo>
                        <a:pt x="52" y="52"/>
                        <a:pt x="52" y="51"/>
                        <a:pt x="52" y="51"/>
                      </a:cubicBez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8" y="45"/>
                        <a:pt x="58" y="45"/>
                        <a:pt x="58" y="45"/>
                      </a:cubicBezTo>
                      <a:cubicBezTo>
                        <a:pt x="59" y="45"/>
                        <a:pt x="59" y="45"/>
                        <a:pt x="59" y="44"/>
                      </a:cubicBezTo>
                      <a:cubicBezTo>
                        <a:pt x="59" y="44"/>
                        <a:pt x="59" y="43"/>
                        <a:pt x="58" y="43"/>
                      </a:cubicBezTo>
                      <a:cubicBezTo>
                        <a:pt x="52" y="43"/>
                        <a:pt x="52" y="43"/>
                        <a:pt x="52" y="43"/>
                      </a:cubicBezTo>
                      <a:cubicBezTo>
                        <a:pt x="53" y="42"/>
                        <a:pt x="54" y="41"/>
                        <a:pt x="56" y="41"/>
                      </a:cubicBezTo>
                      <a:cubicBezTo>
                        <a:pt x="64" y="41"/>
                        <a:pt x="64" y="41"/>
                        <a:pt x="64" y="41"/>
                      </a:cubicBezTo>
                      <a:cubicBezTo>
                        <a:pt x="64" y="43"/>
                        <a:pt x="63" y="45"/>
                        <a:pt x="62" y="45"/>
                      </a:cubicBezTo>
                      <a:cubicBezTo>
                        <a:pt x="56" y="51"/>
                        <a:pt x="56" y="51"/>
                        <a:pt x="56" y="51"/>
                      </a:cubicBezTo>
                      <a:cubicBezTo>
                        <a:pt x="56" y="52"/>
                        <a:pt x="54" y="52"/>
                        <a:pt x="52" y="53"/>
                      </a:cubicBezTo>
                      <a:close/>
                      <a:moveTo>
                        <a:pt x="56" y="39"/>
                      </a:moveTo>
                      <a:cubicBezTo>
                        <a:pt x="53" y="39"/>
                        <a:pt x="51" y="41"/>
                        <a:pt x="50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2" y="43"/>
                        <a:pt x="32" y="44"/>
                        <a:pt x="32" y="44"/>
                      </a:cubicBezTo>
                      <a:cubicBezTo>
                        <a:pt x="32" y="45"/>
                        <a:pt x="32" y="45"/>
                        <a:pt x="33" y="45"/>
                      </a:cubicBezTo>
                      <a:cubicBezTo>
                        <a:pt x="50" y="45"/>
                        <a:pt x="50" y="45"/>
                        <a:pt x="50" y="45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cubicBezTo>
                        <a:pt x="31" y="53"/>
                        <a:pt x="31" y="53"/>
                        <a:pt x="31" y="53"/>
                      </a:cubicBezTo>
                      <a:cubicBezTo>
                        <a:pt x="28" y="53"/>
                        <a:pt x="26" y="51"/>
                        <a:pt x="26" y="49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26" y="5"/>
                        <a:pt x="28" y="3"/>
                        <a:pt x="31" y="3"/>
                      </a:cubicBezTo>
                      <a:cubicBezTo>
                        <a:pt x="60" y="3"/>
                        <a:pt x="60" y="3"/>
                        <a:pt x="60" y="3"/>
                      </a:cubicBezTo>
                      <a:cubicBezTo>
                        <a:pt x="63" y="3"/>
                        <a:pt x="65" y="5"/>
                        <a:pt x="65" y="7"/>
                      </a:cubicBezTo>
                      <a:cubicBezTo>
                        <a:pt x="65" y="38"/>
                        <a:pt x="65" y="38"/>
                        <a:pt x="65" y="38"/>
                      </a:cubicBezTo>
                      <a:cubicBezTo>
                        <a:pt x="65" y="38"/>
                        <a:pt x="65" y="39"/>
                        <a:pt x="65" y="39"/>
                      </a:cubicBezTo>
                      <a:lnTo>
                        <a:pt x="56" y="39"/>
                      </a:lnTo>
                      <a:close/>
                      <a:moveTo>
                        <a:pt x="12" y="22"/>
                      </a:moveTo>
                      <a:cubicBezTo>
                        <a:pt x="10" y="22"/>
                        <a:pt x="10" y="22"/>
                        <a:pt x="10" y="22"/>
                      </a:cubicBezTo>
                      <a:cubicBezTo>
                        <a:pt x="9" y="22"/>
                        <a:pt x="9" y="23"/>
                        <a:pt x="9" y="23"/>
                      </a:cubicBezTo>
                      <a:cubicBezTo>
                        <a:pt x="9" y="24"/>
                        <a:pt x="9" y="24"/>
                        <a:pt x="10" y="24"/>
                      </a:cubicBezTo>
                      <a:cubicBezTo>
                        <a:pt x="12" y="24"/>
                        <a:pt x="12" y="24"/>
                        <a:pt x="12" y="24"/>
                      </a:cubicBezTo>
                      <a:cubicBezTo>
                        <a:pt x="12" y="30"/>
                        <a:pt x="12" y="30"/>
                        <a:pt x="12" y="30"/>
                      </a:cubicBezTo>
                      <a:cubicBezTo>
                        <a:pt x="10" y="30"/>
                        <a:pt x="10" y="30"/>
                        <a:pt x="10" y="30"/>
                      </a:cubicBezTo>
                      <a:cubicBezTo>
                        <a:pt x="9" y="30"/>
                        <a:pt x="9" y="31"/>
                        <a:pt x="9" y="31"/>
                      </a:cubicBezTo>
                      <a:cubicBezTo>
                        <a:pt x="9" y="32"/>
                        <a:pt x="9" y="32"/>
                        <a:pt x="10" y="32"/>
                      </a:cubicBezTo>
                      <a:cubicBezTo>
                        <a:pt x="12" y="32"/>
                        <a:pt x="12" y="32"/>
                        <a:pt x="12" y="32"/>
                      </a:cubicBezTo>
                      <a:cubicBezTo>
                        <a:pt x="12" y="38"/>
                        <a:pt x="12" y="38"/>
                        <a:pt x="12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9" y="38"/>
                        <a:pt x="9" y="39"/>
                        <a:pt x="9" y="39"/>
                      </a:cubicBezTo>
                      <a:cubicBezTo>
                        <a:pt x="9" y="40"/>
                        <a:pt x="9" y="40"/>
                        <a:pt x="10" y="40"/>
                      </a:cubicBezTo>
                      <a:cubicBezTo>
                        <a:pt x="12" y="40"/>
                        <a:pt x="12" y="40"/>
                        <a:pt x="12" y="40"/>
                      </a:cubicBezTo>
                      <a:cubicBezTo>
                        <a:pt x="12" y="46"/>
                        <a:pt x="12" y="46"/>
                        <a:pt x="12" y="46"/>
                      </a:cubicBezTo>
                      <a:cubicBezTo>
                        <a:pt x="10" y="46"/>
                        <a:pt x="10" y="46"/>
                        <a:pt x="10" y="46"/>
                      </a:cubicBezTo>
                      <a:cubicBezTo>
                        <a:pt x="9" y="46"/>
                        <a:pt x="9" y="47"/>
                        <a:pt x="9" y="47"/>
                      </a:cubicBezTo>
                      <a:cubicBezTo>
                        <a:pt x="9" y="48"/>
                        <a:pt x="9" y="48"/>
                        <a:pt x="10" y="48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2" y="54"/>
                        <a:pt x="12" y="54"/>
                        <a:pt x="12" y="54"/>
                      </a:cubicBezTo>
                      <a:cubicBezTo>
                        <a:pt x="10" y="54"/>
                        <a:pt x="10" y="54"/>
                        <a:pt x="10" y="54"/>
                      </a:cubicBezTo>
                      <a:cubicBezTo>
                        <a:pt x="9" y="54"/>
                        <a:pt x="9" y="55"/>
                        <a:pt x="9" y="55"/>
                      </a:cubicBezTo>
                      <a:cubicBezTo>
                        <a:pt x="9" y="56"/>
                        <a:pt x="9" y="56"/>
                        <a:pt x="10" y="56"/>
                      </a:cubicBezTo>
                      <a:cubicBezTo>
                        <a:pt x="13" y="56"/>
                        <a:pt x="13" y="56"/>
                        <a:pt x="13" y="56"/>
                      </a:cubicBezTo>
                      <a:cubicBezTo>
                        <a:pt x="14" y="59"/>
                        <a:pt x="16" y="61"/>
                        <a:pt x="19" y="61"/>
                      </a:cubicBezTo>
                      <a:cubicBezTo>
                        <a:pt x="27" y="61"/>
                        <a:pt x="27" y="61"/>
                        <a:pt x="27" y="61"/>
                      </a:cubicBezTo>
                      <a:cubicBezTo>
                        <a:pt x="27" y="64"/>
                        <a:pt x="27" y="64"/>
                        <a:pt x="27" y="64"/>
                      </a:cubicBezTo>
                      <a:cubicBezTo>
                        <a:pt x="26" y="64"/>
                        <a:pt x="26" y="64"/>
                        <a:pt x="25" y="64"/>
                      </a:cubicBezTo>
                      <a:cubicBezTo>
                        <a:pt x="7" y="64"/>
                        <a:pt x="7" y="64"/>
                        <a:pt x="7" y="64"/>
                      </a:cubicBezTo>
                      <a:cubicBezTo>
                        <a:pt x="5" y="64"/>
                        <a:pt x="3" y="62"/>
                        <a:pt x="3" y="60"/>
                      </a:cubicBezTo>
                      <a:cubicBezTo>
                        <a:pt x="3" y="19"/>
                        <a:pt x="3" y="19"/>
                        <a:pt x="3" y="19"/>
                      </a:cubicBezTo>
                      <a:cubicBezTo>
                        <a:pt x="3" y="16"/>
                        <a:pt x="5" y="14"/>
                        <a:pt x="7" y="14"/>
                      </a:cubicBezTo>
                      <a:cubicBezTo>
                        <a:pt x="12" y="14"/>
                        <a:pt x="12" y="14"/>
                        <a:pt x="12" y="14"/>
                      </a:cubicBezTo>
                      <a:lnTo>
                        <a:pt x="12" y="22"/>
                      </a:lnTo>
                      <a:close/>
                      <a:moveTo>
                        <a:pt x="29" y="64"/>
                      </a:moveTo>
                      <a:cubicBezTo>
                        <a:pt x="29" y="61"/>
                        <a:pt x="29" y="61"/>
                        <a:pt x="29" y="61"/>
                      </a:cubicBezTo>
                      <a:cubicBezTo>
                        <a:pt x="34" y="61"/>
                        <a:pt x="34" y="61"/>
                        <a:pt x="34" y="61"/>
                      </a:cubicBezTo>
                      <a:cubicBezTo>
                        <a:pt x="33" y="62"/>
                        <a:pt x="33" y="62"/>
                        <a:pt x="33" y="62"/>
                      </a:cubicBezTo>
                      <a:cubicBezTo>
                        <a:pt x="32" y="63"/>
                        <a:pt x="31" y="63"/>
                        <a:pt x="29" y="64"/>
                      </a:cubicBezTo>
                      <a:close/>
                      <a:moveTo>
                        <a:pt x="19" y="59"/>
                      </a:moveTo>
                      <a:cubicBezTo>
                        <a:pt x="16" y="59"/>
                        <a:pt x="14" y="57"/>
                        <a:pt x="14" y="54"/>
                      </a:cubicBezTo>
                      <a:cubicBezTo>
                        <a:pt x="14" y="13"/>
                        <a:pt x="14" y="13"/>
                        <a:pt x="14" y="13"/>
                      </a:cubicBezTo>
                      <a:cubicBezTo>
                        <a:pt x="14" y="10"/>
                        <a:pt x="16" y="8"/>
                        <a:pt x="19" y="8"/>
                      </a:cubicBezTo>
                      <a:cubicBezTo>
                        <a:pt x="24" y="8"/>
                        <a:pt x="24" y="8"/>
                        <a:pt x="24" y="8"/>
                      </a:cubicBezTo>
                      <a:cubicBezTo>
                        <a:pt x="24" y="17"/>
                        <a:pt x="24" y="17"/>
                        <a:pt x="24" y="17"/>
                      </a:cubicBezTo>
                      <a:cubicBezTo>
                        <a:pt x="21" y="17"/>
                        <a:pt x="21" y="17"/>
                        <a:pt x="21" y="17"/>
                      </a:cubicBezTo>
                      <a:cubicBezTo>
                        <a:pt x="21" y="17"/>
                        <a:pt x="20" y="17"/>
                        <a:pt x="20" y="18"/>
                      </a:cubicBezTo>
                      <a:cubicBezTo>
                        <a:pt x="20" y="18"/>
                        <a:pt x="21" y="19"/>
                        <a:pt x="21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5"/>
                        <a:pt x="24" y="25"/>
                        <a:pt x="24" y="25"/>
                      </a:cubicBez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1" y="25"/>
                        <a:pt x="20" y="25"/>
                        <a:pt x="20" y="26"/>
                      </a:cubicBezTo>
                      <a:cubicBezTo>
                        <a:pt x="20" y="26"/>
                        <a:pt x="21" y="27"/>
                        <a:pt x="21" y="27"/>
                      </a:cubicBezTo>
                      <a:cubicBezTo>
                        <a:pt x="24" y="27"/>
                        <a:pt x="24" y="27"/>
                        <a:pt x="24" y="27"/>
                      </a:cubicBezTo>
                      <a:cubicBezTo>
                        <a:pt x="24" y="33"/>
                        <a:pt x="24" y="33"/>
                        <a:pt x="24" y="33"/>
                      </a:cubicBezTo>
                      <a:cubicBezTo>
                        <a:pt x="21" y="33"/>
                        <a:pt x="21" y="33"/>
                        <a:pt x="21" y="33"/>
                      </a:cubicBezTo>
                      <a:cubicBezTo>
                        <a:pt x="21" y="33"/>
                        <a:pt x="20" y="33"/>
                        <a:pt x="20" y="34"/>
                      </a:cubicBezTo>
                      <a:cubicBezTo>
                        <a:pt x="20" y="34"/>
                        <a:pt x="21" y="35"/>
                        <a:pt x="21" y="35"/>
                      </a:cubicBezTo>
                      <a:cubicBezTo>
                        <a:pt x="24" y="35"/>
                        <a:pt x="24" y="35"/>
                        <a:pt x="24" y="35"/>
                      </a:cubicBezTo>
                      <a:cubicBezTo>
                        <a:pt x="24" y="41"/>
                        <a:pt x="24" y="41"/>
                        <a:pt x="24" y="41"/>
                      </a:cubicBezTo>
                      <a:cubicBezTo>
                        <a:pt x="21" y="41"/>
                        <a:pt x="21" y="41"/>
                        <a:pt x="21" y="41"/>
                      </a:cubicBezTo>
                      <a:cubicBezTo>
                        <a:pt x="21" y="41"/>
                        <a:pt x="20" y="41"/>
                        <a:pt x="20" y="42"/>
                      </a:cubicBezTo>
                      <a:cubicBezTo>
                        <a:pt x="20" y="42"/>
                        <a:pt x="21" y="43"/>
                        <a:pt x="21" y="43"/>
                      </a:cubicBezTo>
                      <a:cubicBezTo>
                        <a:pt x="24" y="43"/>
                        <a:pt x="24" y="43"/>
                        <a:pt x="24" y="43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4" y="49"/>
                        <a:pt x="24" y="49"/>
                        <a:pt x="24" y="49"/>
                      </a:cubicBezTo>
                      <a:cubicBezTo>
                        <a:pt x="21" y="49"/>
                        <a:pt x="21" y="49"/>
                        <a:pt x="21" y="49"/>
                      </a:cubicBezTo>
                      <a:cubicBezTo>
                        <a:pt x="21" y="49"/>
                        <a:pt x="20" y="49"/>
                        <a:pt x="20" y="50"/>
                      </a:cubicBezTo>
                      <a:cubicBezTo>
                        <a:pt x="20" y="50"/>
                        <a:pt x="21" y="51"/>
                        <a:pt x="21" y="51"/>
                      </a:cubicBezTo>
                      <a:cubicBezTo>
                        <a:pt x="24" y="51"/>
                        <a:pt x="24" y="51"/>
                        <a:pt x="24" y="51"/>
                      </a:cubicBezTo>
                      <a:cubicBezTo>
                        <a:pt x="25" y="53"/>
                        <a:pt x="28" y="55"/>
                        <a:pt x="31" y="55"/>
                      </a:cubicBezTo>
                      <a:cubicBezTo>
                        <a:pt x="38" y="55"/>
                        <a:pt x="38" y="55"/>
                        <a:pt x="38" y="55"/>
                      </a:cubicBezTo>
                      <a:cubicBezTo>
                        <a:pt x="38" y="57"/>
                        <a:pt x="38" y="57"/>
                        <a:pt x="38" y="57"/>
                      </a:cubicBezTo>
                      <a:cubicBezTo>
                        <a:pt x="37" y="59"/>
                        <a:pt x="37" y="59"/>
                        <a:pt x="37" y="59"/>
                      </a:cubicBezTo>
                      <a:lnTo>
                        <a:pt x="19" y="59"/>
                      </a:lnTo>
                      <a:close/>
                      <a:moveTo>
                        <a:pt x="40" y="58"/>
                      </a:moveTo>
                      <a:cubicBezTo>
                        <a:pt x="40" y="58"/>
                        <a:pt x="40" y="58"/>
                        <a:pt x="40" y="58"/>
                      </a:cubicBezTo>
                      <a:cubicBezTo>
                        <a:pt x="41" y="57"/>
                        <a:pt x="41" y="57"/>
                        <a:pt x="40" y="57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cubicBezTo>
                        <a:pt x="46" y="55"/>
                        <a:pt x="46" y="55"/>
                        <a:pt x="46" y="55"/>
                      </a:cubicBezTo>
                      <a:cubicBezTo>
                        <a:pt x="45" y="56"/>
                        <a:pt x="45" y="56"/>
                        <a:pt x="45" y="56"/>
                      </a:cubicBezTo>
                      <a:cubicBezTo>
                        <a:pt x="44" y="57"/>
                        <a:pt x="42" y="58"/>
                        <a:pt x="40" y="58"/>
                      </a:cubicBezTo>
                      <a:close/>
                      <a:moveTo>
                        <a:pt x="59" y="12"/>
                      </a:moveTo>
                      <a:cubicBezTo>
                        <a:pt x="59" y="12"/>
                        <a:pt x="59" y="13"/>
                        <a:pt x="58" y="1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cubicBezTo>
                        <a:pt x="32" y="13"/>
                        <a:pt x="32" y="12"/>
                        <a:pt x="32" y="12"/>
                      </a:cubicBezTo>
                      <a:cubicBezTo>
                        <a:pt x="32" y="11"/>
                        <a:pt x="32" y="11"/>
                        <a:pt x="33" y="11"/>
                      </a:cubicBezTo>
                      <a:cubicBezTo>
                        <a:pt x="58" y="11"/>
                        <a:pt x="58" y="11"/>
                        <a:pt x="58" y="11"/>
                      </a:cubicBezTo>
                      <a:cubicBezTo>
                        <a:pt x="59" y="11"/>
                        <a:pt x="59" y="11"/>
                        <a:pt x="59" y="12"/>
                      </a:cubicBezTo>
                      <a:close/>
                      <a:moveTo>
                        <a:pt x="59" y="20"/>
                      </a:moveTo>
                      <a:cubicBezTo>
                        <a:pt x="59" y="21"/>
                        <a:pt x="59" y="21"/>
                        <a:pt x="58" y="21"/>
                      </a:cubicBezTo>
                      <a:cubicBezTo>
                        <a:pt x="33" y="21"/>
                        <a:pt x="33" y="21"/>
                        <a:pt x="33" y="21"/>
                      </a:cubicBezTo>
                      <a:cubicBezTo>
                        <a:pt x="32" y="21"/>
                        <a:pt x="32" y="21"/>
                        <a:pt x="32" y="20"/>
                      </a:cubicBezTo>
                      <a:cubicBezTo>
                        <a:pt x="32" y="19"/>
                        <a:pt x="32" y="19"/>
                        <a:pt x="33" y="19"/>
                      </a:cubicBezTo>
                      <a:cubicBezTo>
                        <a:pt x="58" y="19"/>
                        <a:pt x="58" y="19"/>
                        <a:pt x="58" y="19"/>
                      </a:cubicBezTo>
                      <a:cubicBezTo>
                        <a:pt x="59" y="19"/>
                        <a:pt x="59" y="19"/>
                        <a:pt x="59" y="20"/>
                      </a:cubicBezTo>
                      <a:close/>
                      <a:moveTo>
                        <a:pt x="59" y="28"/>
                      </a:moveTo>
                      <a:cubicBezTo>
                        <a:pt x="59" y="29"/>
                        <a:pt x="59" y="29"/>
                        <a:pt x="58" y="29"/>
                      </a:cubicBezTo>
                      <a:cubicBezTo>
                        <a:pt x="33" y="29"/>
                        <a:pt x="33" y="29"/>
                        <a:pt x="33" y="29"/>
                      </a:cubicBezTo>
                      <a:cubicBezTo>
                        <a:pt x="32" y="29"/>
                        <a:pt x="32" y="29"/>
                        <a:pt x="32" y="28"/>
                      </a:cubicBezTo>
                      <a:cubicBezTo>
                        <a:pt x="32" y="27"/>
                        <a:pt x="32" y="27"/>
                        <a:pt x="33" y="27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9" y="27"/>
                        <a:pt x="59" y="27"/>
                        <a:pt x="59" y="28"/>
                      </a:cubicBezTo>
                      <a:close/>
                      <a:moveTo>
                        <a:pt x="59" y="36"/>
                      </a:moveTo>
                      <a:cubicBezTo>
                        <a:pt x="59" y="37"/>
                        <a:pt x="59" y="37"/>
                        <a:pt x="58" y="37"/>
                      </a:cubicBezTo>
                      <a:cubicBezTo>
                        <a:pt x="33" y="37"/>
                        <a:pt x="33" y="37"/>
                        <a:pt x="33" y="37"/>
                      </a:cubicBezTo>
                      <a:cubicBezTo>
                        <a:pt x="32" y="37"/>
                        <a:pt x="32" y="37"/>
                        <a:pt x="32" y="36"/>
                      </a:cubicBezTo>
                      <a:cubicBezTo>
                        <a:pt x="32" y="36"/>
                        <a:pt x="32" y="35"/>
                        <a:pt x="33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59" y="35"/>
                        <a:pt x="59" y="36"/>
                        <a:pt x="59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3" name="任意多边形: 形状 132">
                  <a:extLst>
                    <a:ext uri="{FF2B5EF4-FFF2-40B4-BE49-F238E27FC236}">
                      <a16:creationId xmlns:a16="http://schemas.microsoft.com/office/drawing/2014/main" id="{9E1D8972-60BA-45EF-A8A5-FFD53D18C5F6}"/>
                    </a:ext>
                  </a:extLst>
                </p:cNvPr>
                <p:cNvSpPr/>
                <p:nvPr/>
              </p:nvSpPr>
              <p:spPr bwMode="auto">
                <a:xfrm>
                  <a:off x="6612315" y="3468178"/>
                  <a:ext cx="531092" cy="430944"/>
                </a:xfrm>
                <a:custGeom>
                  <a:avLst/>
                  <a:gdLst>
                    <a:gd name="T0" fmla="*/ 26 w 74"/>
                    <a:gd name="T1" fmla="*/ 0 h 60"/>
                    <a:gd name="T2" fmla="*/ 19 w 74"/>
                    <a:gd name="T3" fmla="*/ 53 h 60"/>
                    <a:gd name="T4" fmla="*/ 49 w 74"/>
                    <a:gd name="T5" fmla="*/ 60 h 60"/>
                    <a:gd name="T6" fmla="*/ 56 w 74"/>
                    <a:gd name="T7" fmla="*/ 7 h 60"/>
                    <a:gd name="T8" fmla="*/ 53 w 74"/>
                    <a:gd name="T9" fmla="*/ 7 h 60"/>
                    <a:gd name="T10" fmla="*/ 49 w 74"/>
                    <a:gd name="T11" fmla="*/ 57 h 60"/>
                    <a:gd name="T12" fmla="*/ 22 w 74"/>
                    <a:gd name="T13" fmla="*/ 53 h 60"/>
                    <a:gd name="T14" fmla="*/ 26 w 74"/>
                    <a:gd name="T15" fmla="*/ 3 h 60"/>
                    <a:gd name="T16" fmla="*/ 53 w 74"/>
                    <a:gd name="T17" fmla="*/ 7 h 60"/>
                    <a:gd name="T18" fmla="*/ 25 w 74"/>
                    <a:gd name="T19" fmla="*/ 6 h 60"/>
                    <a:gd name="T20" fmla="*/ 24 w 74"/>
                    <a:gd name="T21" fmla="*/ 50 h 60"/>
                    <a:gd name="T22" fmla="*/ 50 w 74"/>
                    <a:gd name="T23" fmla="*/ 51 h 60"/>
                    <a:gd name="T24" fmla="*/ 51 w 74"/>
                    <a:gd name="T25" fmla="*/ 7 h 60"/>
                    <a:gd name="T26" fmla="*/ 49 w 74"/>
                    <a:gd name="T27" fmla="*/ 49 h 60"/>
                    <a:gd name="T28" fmla="*/ 26 w 74"/>
                    <a:gd name="T29" fmla="*/ 8 h 60"/>
                    <a:gd name="T30" fmla="*/ 49 w 74"/>
                    <a:gd name="T31" fmla="*/ 49 h 60"/>
                    <a:gd name="T32" fmla="*/ 37 w 74"/>
                    <a:gd name="T33" fmla="*/ 56 h 60"/>
                    <a:gd name="T34" fmla="*/ 37 w 74"/>
                    <a:gd name="T35" fmla="*/ 52 h 60"/>
                    <a:gd name="T36" fmla="*/ 74 w 74"/>
                    <a:gd name="T37" fmla="*/ 23 h 60"/>
                    <a:gd name="T38" fmla="*/ 67 w 74"/>
                    <a:gd name="T39" fmla="*/ 41 h 60"/>
                    <a:gd name="T40" fmla="*/ 66 w 74"/>
                    <a:gd name="T41" fmla="*/ 39 h 60"/>
                    <a:gd name="T42" fmla="*/ 66 w 74"/>
                    <a:gd name="T43" fmla="*/ 7 h 60"/>
                    <a:gd name="T44" fmla="*/ 68 w 74"/>
                    <a:gd name="T45" fmla="*/ 6 h 60"/>
                    <a:gd name="T46" fmla="*/ 69 w 74"/>
                    <a:gd name="T47" fmla="*/ 23 h 60"/>
                    <a:gd name="T48" fmla="*/ 64 w 74"/>
                    <a:gd name="T49" fmla="*/ 37 h 60"/>
                    <a:gd name="T50" fmla="*/ 63 w 74"/>
                    <a:gd name="T51" fmla="*/ 35 h 60"/>
                    <a:gd name="T52" fmla="*/ 63 w 74"/>
                    <a:gd name="T53" fmla="*/ 11 h 60"/>
                    <a:gd name="T54" fmla="*/ 65 w 74"/>
                    <a:gd name="T55" fmla="*/ 10 h 60"/>
                    <a:gd name="T56" fmla="*/ 64 w 74"/>
                    <a:gd name="T57" fmla="*/ 23 h 60"/>
                    <a:gd name="T58" fmla="*/ 60 w 74"/>
                    <a:gd name="T59" fmla="*/ 33 h 60"/>
                    <a:gd name="T60" fmla="*/ 60 w 74"/>
                    <a:gd name="T61" fmla="*/ 31 h 60"/>
                    <a:gd name="T62" fmla="*/ 60 w 74"/>
                    <a:gd name="T63" fmla="*/ 15 h 60"/>
                    <a:gd name="T64" fmla="*/ 61 w 74"/>
                    <a:gd name="T65" fmla="*/ 14 h 60"/>
                    <a:gd name="T66" fmla="*/ 8 w 74"/>
                    <a:gd name="T67" fmla="*/ 39 h 60"/>
                    <a:gd name="T68" fmla="*/ 7 w 74"/>
                    <a:gd name="T69" fmla="*/ 41 h 60"/>
                    <a:gd name="T70" fmla="*/ 0 w 74"/>
                    <a:gd name="T71" fmla="*/ 23 h 60"/>
                    <a:gd name="T72" fmla="*/ 8 w 74"/>
                    <a:gd name="T73" fmla="*/ 6 h 60"/>
                    <a:gd name="T74" fmla="*/ 2 w 74"/>
                    <a:gd name="T75" fmla="*/ 23 h 60"/>
                    <a:gd name="T76" fmla="*/ 12 w 74"/>
                    <a:gd name="T77" fmla="*/ 35 h 60"/>
                    <a:gd name="T78" fmla="*/ 11 w 74"/>
                    <a:gd name="T79" fmla="*/ 37 h 60"/>
                    <a:gd name="T80" fmla="*/ 6 w 74"/>
                    <a:gd name="T81" fmla="*/ 23 h 60"/>
                    <a:gd name="T82" fmla="*/ 11 w 74"/>
                    <a:gd name="T83" fmla="*/ 10 h 60"/>
                    <a:gd name="T84" fmla="*/ 8 w 74"/>
                    <a:gd name="T85" fmla="*/ 23 h 60"/>
                    <a:gd name="T86" fmla="*/ 15 w 74"/>
                    <a:gd name="T87" fmla="*/ 15 h 60"/>
                    <a:gd name="T88" fmla="*/ 15 w 74"/>
                    <a:gd name="T89" fmla="*/ 31 h 60"/>
                    <a:gd name="T90" fmla="*/ 14 w 74"/>
                    <a:gd name="T91" fmla="*/ 33 h 60"/>
                    <a:gd name="T92" fmla="*/ 11 w 74"/>
                    <a:gd name="T93" fmla="*/ 23 h 60"/>
                    <a:gd name="T94" fmla="*/ 15 w 74"/>
                    <a:gd name="T95" fmla="*/ 14 h 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74" h="60">
                      <a:moveTo>
                        <a:pt x="49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2" y="0"/>
                        <a:pt x="19" y="3"/>
                        <a:pt x="19" y="7"/>
                      </a:cubicBezTo>
                      <a:cubicBezTo>
                        <a:pt x="19" y="53"/>
                        <a:pt x="19" y="53"/>
                        <a:pt x="19" y="53"/>
                      </a:cubicBezTo>
                      <a:cubicBezTo>
                        <a:pt x="19" y="56"/>
                        <a:pt x="22" y="60"/>
                        <a:pt x="26" y="60"/>
                      </a:cubicBezTo>
                      <a:cubicBezTo>
                        <a:pt x="49" y="60"/>
                        <a:pt x="49" y="60"/>
                        <a:pt x="49" y="60"/>
                      </a:cubicBezTo>
                      <a:cubicBezTo>
                        <a:pt x="53" y="60"/>
                        <a:pt x="56" y="56"/>
                        <a:pt x="56" y="53"/>
                      </a:cubicBezTo>
                      <a:cubicBezTo>
                        <a:pt x="56" y="7"/>
                        <a:pt x="56" y="7"/>
                        <a:pt x="56" y="7"/>
                      </a:cubicBezTo>
                      <a:cubicBezTo>
                        <a:pt x="56" y="3"/>
                        <a:pt x="53" y="0"/>
                        <a:pt x="49" y="0"/>
                      </a:cubicBezTo>
                      <a:close/>
                      <a:moveTo>
                        <a:pt x="53" y="7"/>
                      </a:moveTo>
                      <a:cubicBezTo>
                        <a:pt x="53" y="53"/>
                        <a:pt x="53" y="53"/>
                        <a:pt x="53" y="53"/>
                      </a:cubicBezTo>
                      <a:cubicBezTo>
                        <a:pt x="53" y="55"/>
                        <a:pt x="51" y="57"/>
                        <a:pt x="49" y="57"/>
                      </a:cubicBezTo>
                      <a:cubicBezTo>
                        <a:pt x="26" y="57"/>
                        <a:pt x="26" y="57"/>
                        <a:pt x="26" y="57"/>
                      </a:cubicBezTo>
                      <a:cubicBezTo>
                        <a:pt x="24" y="57"/>
                        <a:pt x="22" y="55"/>
                        <a:pt x="22" y="53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2" y="5"/>
                        <a:pt x="24" y="3"/>
                        <a:pt x="26" y="3"/>
                      </a:cubicBezTo>
                      <a:cubicBezTo>
                        <a:pt x="49" y="3"/>
                        <a:pt x="49" y="3"/>
                        <a:pt x="49" y="3"/>
                      </a:cubicBezTo>
                      <a:cubicBezTo>
                        <a:pt x="51" y="3"/>
                        <a:pt x="53" y="5"/>
                        <a:pt x="53" y="7"/>
                      </a:cubicBezTo>
                      <a:close/>
                      <a:moveTo>
                        <a:pt x="50" y="6"/>
                      </a:moveTo>
                      <a:cubicBezTo>
                        <a:pt x="25" y="6"/>
                        <a:pt x="25" y="6"/>
                        <a:pt x="25" y="6"/>
                      </a:cubicBezTo>
                      <a:cubicBezTo>
                        <a:pt x="24" y="6"/>
                        <a:pt x="24" y="6"/>
                        <a:pt x="24" y="7"/>
                      </a:cubicBezTo>
                      <a:cubicBezTo>
                        <a:pt x="24" y="50"/>
                        <a:pt x="24" y="50"/>
                        <a:pt x="24" y="50"/>
                      </a:cubicBezTo>
                      <a:cubicBezTo>
                        <a:pt x="24" y="51"/>
                        <a:pt x="24" y="51"/>
                        <a:pt x="25" y="51"/>
                      </a:cubicBezTo>
                      <a:cubicBezTo>
                        <a:pt x="50" y="51"/>
                        <a:pt x="50" y="51"/>
                        <a:pt x="50" y="51"/>
                      </a:cubicBezTo>
                      <a:cubicBezTo>
                        <a:pt x="50" y="51"/>
                        <a:pt x="51" y="51"/>
                        <a:pt x="51" y="50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51" y="6"/>
                        <a:pt x="50" y="6"/>
                        <a:pt x="50" y="6"/>
                      </a:cubicBezTo>
                      <a:close/>
                      <a:moveTo>
                        <a:pt x="49" y="49"/>
                      </a:moveTo>
                      <a:cubicBezTo>
                        <a:pt x="26" y="49"/>
                        <a:pt x="26" y="49"/>
                        <a:pt x="26" y="49"/>
                      </a:cubicBezTo>
                      <a:cubicBezTo>
                        <a:pt x="26" y="8"/>
                        <a:pt x="26" y="8"/>
                        <a:pt x="26" y="8"/>
                      </a:cubicBezTo>
                      <a:cubicBezTo>
                        <a:pt x="49" y="8"/>
                        <a:pt x="49" y="8"/>
                        <a:pt x="49" y="8"/>
                      </a:cubicBezTo>
                      <a:lnTo>
                        <a:pt x="49" y="49"/>
                      </a:lnTo>
                      <a:close/>
                      <a:moveTo>
                        <a:pt x="39" y="54"/>
                      </a:moveTo>
                      <a:cubicBezTo>
                        <a:pt x="39" y="55"/>
                        <a:pt x="38" y="56"/>
                        <a:pt x="37" y="56"/>
                      </a:cubicBezTo>
                      <a:cubicBezTo>
                        <a:pt x="36" y="56"/>
                        <a:pt x="35" y="55"/>
                        <a:pt x="35" y="54"/>
                      </a:cubicBezTo>
                      <a:cubicBezTo>
                        <a:pt x="35" y="53"/>
                        <a:pt x="36" y="52"/>
                        <a:pt x="37" y="52"/>
                      </a:cubicBezTo>
                      <a:cubicBezTo>
                        <a:pt x="38" y="52"/>
                        <a:pt x="39" y="53"/>
                        <a:pt x="39" y="54"/>
                      </a:cubicBezTo>
                      <a:close/>
                      <a:moveTo>
                        <a:pt x="74" y="23"/>
                      </a:moveTo>
                      <a:cubicBezTo>
                        <a:pt x="74" y="30"/>
                        <a:pt x="72" y="36"/>
                        <a:pt x="68" y="41"/>
                      </a:cubicBezTo>
                      <a:cubicBezTo>
                        <a:pt x="68" y="41"/>
                        <a:pt x="67" y="41"/>
                        <a:pt x="67" y="41"/>
                      </a:cubicBezTo>
                      <a:cubicBezTo>
                        <a:pt x="67" y="41"/>
                        <a:pt x="67" y="41"/>
                        <a:pt x="67" y="41"/>
                      </a:cubicBezTo>
                      <a:cubicBezTo>
                        <a:pt x="66" y="40"/>
                        <a:pt x="66" y="40"/>
                        <a:pt x="66" y="39"/>
                      </a:cubicBezTo>
                      <a:cubicBezTo>
                        <a:pt x="70" y="35"/>
                        <a:pt x="72" y="29"/>
                        <a:pt x="72" y="23"/>
                      </a:cubicBezTo>
                      <a:cubicBezTo>
                        <a:pt x="72" y="17"/>
                        <a:pt x="70" y="12"/>
                        <a:pt x="66" y="7"/>
                      </a:cubicBezTo>
                      <a:cubicBezTo>
                        <a:pt x="66" y="7"/>
                        <a:pt x="66" y="6"/>
                        <a:pt x="67" y="6"/>
                      </a:cubicBezTo>
                      <a:cubicBezTo>
                        <a:pt x="67" y="5"/>
                        <a:pt x="68" y="6"/>
                        <a:pt x="68" y="6"/>
                      </a:cubicBezTo>
                      <a:cubicBezTo>
                        <a:pt x="72" y="11"/>
                        <a:pt x="74" y="17"/>
                        <a:pt x="74" y="23"/>
                      </a:cubicBezTo>
                      <a:close/>
                      <a:moveTo>
                        <a:pt x="69" y="23"/>
                      </a:moveTo>
                      <a:cubicBezTo>
                        <a:pt x="69" y="28"/>
                        <a:pt x="67" y="33"/>
                        <a:pt x="65" y="36"/>
                      </a:cubicBezTo>
                      <a:cubicBezTo>
                        <a:pt x="64" y="37"/>
                        <a:pt x="64" y="37"/>
                        <a:pt x="64" y="37"/>
                      </a:cubicBezTo>
                      <a:cubicBezTo>
                        <a:pt x="64" y="37"/>
                        <a:pt x="63" y="37"/>
                        <a:pt x="63" y="37"/>
                      </a:cubicBezTo>
                      <a:cubicBezTo>
                        <a:pt x="63" y="36"/>
                        <a:pt x="63" y="36"/>
                        <a:pt x="63" y="35"/>
                      </a:cubicBezTo>
                      <a:cubicBezTo>
                        <a:pt x="66" y="32"/>
                        <a:pt x="67" y="28"/>
                        <a:pt x="67" y="23"/>
                      </a:cubicBezTo>
                      <a:cubicBezTo>
                        <a:pt x="67" y="19"/>
                        <a:pt x="66" y="15"/>
                        <a:pt x="63" y="11"/>
                      </a:cubicBezTo>
                      <a:cubicBezTo>
                        <a:pt x="63" y="11"/>
                        <a:pt x="63" y="10"/>
                        <a:pt x="63" y="10"/>
                      </a:cubicBezTo>
                      <a:cubicBezTo>
                        <a:pt x="64" y="10"/>
                        <a:pt x="64" y="10"/>
                        <a:pt x="65" y="10"/>
                      </a:cubicBezTo>
                      <a:cubicBezTo>
                        <a:pt x="67" y="14"/>
                        <a:pt x="69" y="19"/>
                        <a:pt x="69" y="23"/>
                      </a:cubicBezTo>
                      <a:close/>
                      <a:moveTo>
                        <a:pt x="64" y="23"/>
                      </a:moveTo>
                      <a:cubicBezTo>
                        <a:pt x="64" y="26"/>
                        <a:pt x="63" y="29"/>
                        <a:pt x="61" y="32"/>
                      </a:cubicBezTo>
                      <a:cubicBezTo>
                        <a:pt x="61" y="32"/>
                        <a:pt x="61" y="33"/>
                        <a:pt x="60" y="33"/>
                      </a:cubicBezTo>
                      <a:cubicBezTo>
                        <a:pt x="60" y="33"/>
                        <a:pt x="60" y="33"/>
                        <a:pt x="60" y="33"/>
                      </a:cubicBezTo>
                      <a:cubicBezTo>
                        <a:pt x="59" y="32"/>
                        <a:pt x="59" y="32"/>
                        <a:pt x="60" y="31"/>
                      </a:cubicBezTo>
                      <a:cubicBezTo>
                        <a:pt x="61" y="29"/>
                        <a:pt x="62" y="26"/>
                        <a:pt x="62" y="23"/>
                      </a:cubicBezTo>
                      <a:cubicBezTo>
                        <a:pt x="62" y="21"/>
                        <a:pt x="61" y="18"/>
                        <a:pt x="60" y="15"/>
                      </a:cubicBezTo>
                      <a:cubicBezTo>
                        <a:pt x="59" y="15"/>
                        <a:pt x="59" y="14"/>
                        <a:pt x="60" y="14"/>
                      </a:cubicBezTo>
                      <a:cubicBezTo>
                        <a:pt x="60" y="14"/>
                        <a:pt x="61" y="14"/>
                        <a:pt x="61" y="14"/>
                      </a:cubicBezTo>
                      <a:cubicBezTo>
                        <a:pt x="63" y="17"/>
                        <a:pt x="64" y="20"/>
                        <a:pt x="64" y="23"/>
                      </a:cubicBezTo>
                      <a:close/>
                      <a:moveTo>
                        <a:pt x="8" y="39"/>
                      </a:moveTo>
                      <a:cubicBezTo>
                        <a:pt x="9" y="40"/>
                        <a:pt x="8" y="40"/>
                        <a:pt x="8" y="41"/>
                      </a:cubicBezTo>
                      <a:cubicBezTo>
                        <a:pt x="8" y="41"/>
                        <a:pt x="8" y="41"/>
                        <a:pt x="7" y="41"/>
                      </a:cubicBezTo>
                      <a:cubicBezTo>
                        <a:pt x="7" y="41"/>
                        <a:pt x="7" y="41"/>
                        <a:pt x="7" y="41"/>
                      </a:cubicBezTo>
                      <a:cubicBezTo>
                        <a:pt x="3" y="36"/>
                        <a:pt x="0" y="30"/>
                        <a:pt x="0" y="23"/>
                      </a:cubicBezTo>
                      <a:cubicBezTo>
                        <a:pt x="0" y="17"/>
                        <a:pt x="3" y="11"/>
                        <a:pt x="7" y="6"/>
                      </a:cubicBezTo>
                      <a:cubicBezTo>
                        <a:pt x="7" y="6"/>
                        <a:pt x="8" y="5"/>
                        <a:pt x="8" y="6"/>
                      </a:cubicBezTo>
                      <a:cubicBezTo>
                        <a:pt x="8" y="6"/>
                        <a:pt x="9" y="7"/>
                        <a:pt x="8" y="7"/>
                      </a:cubicBezTo>
                      <a:cubicBezTo>
                        <a:pt x="5" y="12"/>
                        <a:pt x="2" y="17"/>
                        <a:pt x="2" y="23"/>
                      </a:cubicBezTo>
                      <a:cubicBezTo>
                        <a:pt x="2" y="29"/>
                        <a:pt x="5" y="35"/>
                        <a:pt x="8" y="39"/>
                      </a:cubicBezTo>
                      <a:close/>
                      <a:moveTo>
                        <a:pt x="12" y="35"/>
                      </a:moveTo>
                      <a:cubicBezTo>
                        <a:pt x="12" y="36"/>
                        <a:pt x="12" y="36"/>
                        <a:pt x="11" y="37"/>
                      </a:cubicBezTo>
                      <a:cubicBezTo>
                        <a:pt x="11" y="37"/>
                        <a:pt x="11" y="37"/>
                        <a:pt x="11" y="37"/>
                      </a:cubicBezTo>
                      <a:cubicBezTo>
                        <a:pt x="10" y="37"/>
                        <a:pt x="10" y="37"/>
                        <a:pt x="10" y="36"/>
                      </a:cubicBezTo>
                      <a:cubicBezTo>
                        <a:pt x="7" y="33"/>
                        <a:pt x="6" y="28"/>
                        <a:pt x="6" y="23"/>
                      </a:cubicBezTo>
                      <a:cubicBezTo>
                        <a:pt x="6" y="19"/>
                        <a:pt x="7" y="14"/>
                        <a:pt x="10" y="10"/>
                      </a:cubicBezTo>
                      <a:cubicBezTo>
                        <a:pt x="10" y="10"/>
                        <a:pt x="11" y="10"/>
                        <a:pt x="11" y="10"/>
                      </a:cubicBezTo>
                      <a:cubicBezTo>
                        <a:pt x="12" y="10"/>
                        <a:pt x="12" y="11"/>
                        <a:pt x="12" y="11"/>
                      </a:cubicBezTo>
                      <a:cubicBezTo>
                        <a:pt x="9" y="15"/>
                        <a:pt x="8" y="19"/>
                        <a:pt x="8" y="23"/>
                      </a:cubicBezTo>
                      <a:cubicBezTo>
                        <a:pt x="8" y="28"/>
                        <a:pt x="9" y="32"/>
                        <a:pt x="12" y="35"/>
                      </a:cubicBezTo>
                      <a:close/>
                      <a:moveTo>
                        <a:pt x="15" y="15"/>
                      </a:moveTo>
                      <a:cubicBezTo>
                        <a:pt x="14" y="18"/>
                        <a:pt x="13" y="21"/>
                        <a:pt x="13" y="23"/>
                      </a:cubicBezTo>
                      <a:cubicBezTo>
                        <a:pt x="13" y="26"/>
                        <a:pt x="14" y="29"/>
                        <a:pt x="15" y="31"/>
                      </a:cubicBezTo>
                      <a:cubicBezTo>
                        <a:pt x="15" y="32"/>
                        <a:pt x="15" y="32"/>
                        <a:pt x="15" y="33"/>
                      </a:cubicBezTo>
                      <a:cubicBezTo>
                        <a:pt x="15" y="33"/>
                        <a:pt x="14" y="33"/>
                        <a:pt x="14" y="33"/>
                      </a:cubicBezTo>
                      <a:cubicBezTo>
                        <a:pt x="14" y="33"/>
                        <a:pt x="14" y="32"/>
                        <a:pt x="13" y="32"/>
                      </a:cubicBezTo>
                      <a:cubicBezTo>
                        <a:pt x="12" y="29"/>
                        <a:pt x="11" y="26"/>
                        <a:pt x="11" y="23"/>
                      </a:cubicBezTo>
                      <a:cubicBezTo>
                        <a:pt x="11" y="20"/>
                        <a:pt x="12" y="17"/>
                        <a:pt x="13" y="14"/>
                      </a:cubicBezTo>
                      <a:cubicBezTo>
                        <a:pt x="14" y="14"/>
                        <a:pt x="14" y="14"/>
                        <a:pt x="15" y="14"/>
                      </a:cubicBezTo>
                      <a:cubicBezTo>
                        <a:pt x="15" y="14"/>
                        <a:pt x="15" y="15"/>
                        <a:pt x="1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4" name="任意多边形: 形状 133">
                  <a:extLst>
                    <a:ext uri="{FF2B5EF4-FFF2-40B4-BE49-F238E27FC236}">
                      <a16:creationId xmlns:a16="http://schemas.microsoft.com/office/drawing/2014/main" id="{7564378E-D594-4721-A40D-C49E57A2CFA1}"/>
                    </a:ext>
                  </a:extLst>
                </p:cNvPr>
                <p:cNvSpPr/>
                <p:nvPr/>
              </p:nvSpPr>
              <p:spPr bwMode="auto">
                <a:xfrm>
                  <a:off x="5524896" y="3505687"/>
                  <a:ext cx="182201" cy="182202"/>
                </a:xfrm>
                <a:custGeom>
                  <a:avLst/>
                  <a:gdLst>
                    <a:gd name="T0" fmla="*/ 18 w 35"/>
                    <a:gd name="T1" fmla="*/ 0 h 35"/>
                    <a:gd name="T2" fmla="*/ 0 w 35"/>
                    <a:gd name="T3" fmla="*/ 18 h 35"/>
                    <a:gd name="T4" fmla="*/ 18 w 35"/>
                    <a:gd name="T5" fmla="*/ 35 h 35"/>
                    <a:gd name="T6" fmla="*/ 35 w 35"/>
                    <a:gd name="T7" fmla="*/ 18 h 35"/>
                    <a:gd name="T8" fmla="*/ 18 w 35"/>
                    <a:gd name="T9" fmla="*/ 0 h 35"/>
                    <a:gd name="T10" fmla="*/ 18 w 35"/>
                    <a:gd name="T11" fmla="*/ 32 h 35"/>
                    <a:gd name="T12" fmla="*/ 3 w 35"/>
                    <a:gd name="T13" fmla="*/ 18 h 35"/>
                    <a:gd name="T14" fmla="*/ 18 w 35"/>
                    <a:gd name="T15" fmla="*/ 3 h 35"/>
                    <a:gd name="T16" fmla="*/ 32 w 35"/>
                    <a:gd name="T17" fmla="*/ 18 h 35"/>
                    <a:gd name="T18" fmla="*/ 18 w 35"/>
                    <a:gd name="T19" fmla="*/ 32 h 35"/>
                    <a:gd name="T20" fmla="*/ 27 w 35"/>
                    <a:gd name="T21" fmla="*/ 12 h 35"/>
                    <a:gd name="T22" fmla="*/ 27 w 35"/>
                    <a:gd name="T23" fmla="*/ 14 h 35"/>
                    <a:gd name="T24" fmla="*/ 16 w 35"/>
                    <a:gd name="T25" fmla="*/ 23 h 35"/>
                    <a:gd name="T26" fmla="*/ 16 w 35"/>
                    <a:gd name="T27" fmla="*/ 23 h 35"/>
                    <a:gd name="T28" fmla="*/ 15 w 35"/>
                    <a:gd name="T29" fmla="*/ 23 h 35"/>
                    <a:gd name="T30" fmla="*/ 9 w 35"/>
                    <a:gd name="T31" fmla="*/ 18 h 35"/>
                    <a:gd name="T32" fmla="*/ 9 w 35"/>
                    <a:gd name="T33" fmla="*/ 16 h 35"/>
                    <a:gd name="T34" fmla="*/ 10 w 35"/>
                    <a:gd name="T35" fmla="*/ 16 h 35"/>
                    <a:gd name="T36" fmla="*/ 16 w 35"/>
                    <a:gd name="T37" fmla="*/ 21 h 35"/>
                    <a:gd name="T38" fmla="*/ 26 w 35"/>
                    <a:gd name="T39" fmla="*/ 12 h 35"/>
                    <a:gd name="T40" fmla="*/ 27 w 35"/>
                    <a:gd name="T41" fmla="*/ 12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35" h="35">
                      <a:moveTo>
                        <a:pt x="18" y="0"/>
                      </a:moveTo>
                      <a:cubicBezTo>
                        <a:pt x="8" y="0"/>
                        <a:pt x="0" y="8"/>
                        <a:pt x="0" y="18"/>
                      </a:cubicBezTo>
                      <a:cubicBezTo>
                        <a:pt x="0" y="27"/>
                        <a:pt x="8" y="35"/>
                        <a:pt x="18" y="35"/>
                      </a:cubicBezTo>
                      <a:cubicBezTo>
                        <a:pt x="28" y="35"/>
                        <a:pt x="35" y="27"/>
                        <a:pt x="35" y="18"/>
                      </a:cubicBezTo>
                      <a:cubicBezTo>
                        <a:pt x="35" y="8"/>
                        <a:pt x="28" y="0"/>
                        <a:pt x="18" y="0"/>
                      </a:cubicBezTo>
                      <a:close/>
                      <a:moveTo>
                        <a:pt x="18" y="32"/>
                      </a:moveTo>
                      <a:cubicBezTo>
                        <a:pt x="10" y="32"/>
                        <a:pt x="3" y="26"/>
                        <a:pt x="3" y="18"/>
                      </a:cubicBezTo>
                      <a:cubicBezTo>
                        <a:pt x="3" y="10"/>
                        <a:pt x="10" y="3"/>
                        <a:pt x="18" y="3"/>
                      </a:cubicBezTo>
                      <a:cubicBezTo>
                        <a:pt x="26" y="3"/>
                        <a:pt x="32" y="10"/>
                        <a:pt x="32" y="18"/>
                      </a:cubicBezTo>
                      <a:cubicBezTo>
                        <a:pt x="32" y="26"/>
                        <a:pt x="26" y="32"/>
                        <a:pt x="18" y="32"/>
                      </a:cubicBezTo>
                      <a:close/>
                      <a:moveTo>
                        <a:pt x="27" y="12"/>
                      </a:moveTo>
                      <a:cubicBezTo>
                        <a:pt x="28" y="13"/>
                        <a:pt x="28" y="13"/>
                        <a:pt x="27" y="14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6" y="23"/>
                        <a:pt x="16" y="23"/>
                        <a:pt x="16" y="23"/>
                      </a:cubicBezTo>
                      <a:cubicBezTo>
                        <a:pt x="15" y="23"/>
                        <a:pt x="15" y="23"/>
                        <a:pt x="15" y="23"/>
                      </a:cubicBezTo>
                      <a:cubicBezTo>
                        <a:pt x="9" y="18"/>
                        <a:pt x="9" y="18"/>
                        <a:pt x="9" y="18"/>
                      </a:cubicBezTo>
                      <a:cubicBezTo>
                        <a:pt x="8" y="18"/>
                        <a:pt x="8" y="17"/>
                        <a:pt x="9" y="16"/>
                      </a:cubicBezTo>
                      <a:cubicBezTo>
                        <a:pt x="9" y="16"/>
                        <a:pt x="10" y="16"/>
                        <a:pt x="10" y="16"/>
                      </a:cubicBezTo>
                      <a:cubicBezTo>
                        <a:pt x="16" y="21"/>
                        <a:pt x="16" y="21"/>
                        <a:pt x="16" y="21"/>
                      </a:cubicBezTo>
                      <a:cubicBezTo>
                        <a:pt x="26" y="12"/>
                        <a:pt x="26" y="12"/>
                        <a:pt x="26" y="12"/>
                      </a:cubicBezTo>
                      <a:cubicBezTo>
                        <a:pt x="26" y="12"/>
                        <a:pt x="27" y="12"/>
                        <a:pt x="27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2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5" name="任意多边形: 形状 134">
                  <a:extLst>
                    <a:ext uri="{FF2B5EF4-FFF2-40B4-BE49-F238E27FC236}">
                      <a16:creationId xmlns:a16="http://schemas.microsoft.com/office/drawing/2014/main" id="{5735A1F9-BB64-4EDE-B10E-A1E80BFEA93C}"/>
                    </a:ext>
                  </a:extLst>
                </p:cNvPr>
                <p:cNvSpPr/>
                <p:nvPr/>
              </p:nvSpPr>
              <p:spPr bwMode="auto">
                <a:xfrm>
                  <a:off x="4811116" y="4714170"/>
                  <a:ext cx="509572" cy="537494"/>
                </a:xfrm>
                <a:custGeom>
                  <a:avLst/>
                  <a:gdLst>
                    <a:gd name="T0" fmla="*/ 22 w 62"/>
                    <a:gd name="T1" fmla="*/ 32 h 65"/>
                    <a:gd name="T2" fmla="*/ 22 w 62"/>
                    <a:gd name="T3" fmla="*/ 52 h 65"/>
                    <a:gd name="T4" fmla="*/ 26 w 62"/>
                    <a:gd name="T5" fmla="*/ 43 h 65"/>
                    <a:gd name="T6" fmla="*/ 47 w 62"/>
                    <a:gd name="T7" fmla="*/ 7 h 65"/>
                    <a:gd name="T8" fmla="*/ 47 w 62"/>
                    <a:gd name="T9" fmla="*/ 19 h 65"/>
                    <a:gd name="T10" fmla="*/ 40 w 62"/>
                    <a:gd name="T11" fmla="*/ 37 h 65"/>
                    <a:gd name="T12" fmla="*/ 36 w 62"/>
                    <a:gd name="T13" fmla="*/ 27 h 65"/>
                    <a:gd name="T14" fmla="*/ 32 w 62"/>
                    <a:gd name="T15" fmla="*/ 26 h 65"/>
                    <a:gd name="T16" fmla="*/ 24 w 62"/>
                    <a:gd name="T17" fmla="*/ 22 h 65"/>
                    <a:gd name="T18" fmla="*/ 18 w 62"/>
                    <a:gd name="T19" fmla="*/ 21 h 65"/>
                    <a:gd name="T20" fmla="*/ 11 w 62"/>
                    <a:gd name="T21" fmla="*/ 28 h 65"/>
                    <a:gd name="T22" fmla="*/ 6 w 62"/>
                    <a:gd name="T23" fmla="*/ 28 h 65"/>
                    <a:gd name="T24" fmla="*/ 3 w 62"/>
                    <a:gd name="T25" fmla="*/ 38 h 65"/>
                    <a:gd name="T26" fmla="*/ 0 w 62"/>
                    <a:gd name="T27" fmla="*/ 43 h 65"/>
                    <a:gd name="T28" fmla="*/ 3 w 62"/>
                    <a:gd name="T29" fmla="*/ 47 h 65"/>
                    <a:gd name="T30" fmla="*/ 6 w 62"/>
                    <a:gd name="T31" fmla="*/ 58 h 65"/>
                    <a:gd name="T32" fmla="*/ 11 w 62"/>
                    <a:gd name="T33" fmla="*/ 58 h 65"/>
                    <a:gd name="T34" fmla="*/ 18 w 62"/>
                    <a:gd name="T35" fmla="*/ 65 h 65"/>
                    <a:gd name="T36" fmla="*/ 24 w 62"/>
                    <a:gd name="T37" fmla="*/ 64 h 65"/>
                    <a:gd name="T38" fmla="*/ 32 w 62"/>
                    <a:gd name="T39" fmla="*/ 60 h 65"/>
                    <a:gd name="T40" fmla="*/ 36 w 62"/>
                    <a:gd name="T41" fmla="*/ 59 h 65"/>
                    <a:gd name="T42" fmla="*/ 40 w 62"/>
                    <a:gd name="T43" fmla="*/ 49 h 65"/>
                    <a:gd name="T44" fmla="*/ 44 w 62"/>
                    <a:gd name="T45" fmla="*/ 46 h 65"/>
                    <a:gd name="T46" fmla="*/ 38 w 62"/>
                    <a:gd name="T47" fmla="*/ 53 h 65"/>
                    <a:gd name="T48" fmla="*/ 22 w 62"/>
                    <a:gd name="T49" fmla="*/ 58 h 65"/>
                    <a:gd name="T50" fmla="*/ 6 w 62"/>
                    <a:gd name="T51" fmla="*/ 53 h 65"/>
                    <a:gd name="T52" fmla="*/ 7 w 62"/>
                    <a:gd name="T53" fmla="*/ 38 h 65"/>
                    <a:gd name="T54" fmla="*/ 18 w 62"/>
                    <a:gd name="T55" fmla="*/ 24 h 65"/>
                    <a:gd name="T56" fmla="*/ 36 w 62"/>
                    <a:gd name="T57" fmla="*/ 30 h 65"/>
                    <a:gd name="T58" fmla="*/ 41 w 62"/>
                    <a:gd name="T59" fmla="*/ 44 h 65"/>
                    <a:gd name="T60" fmla="*/ 59 w 62"/>
                    <a:gd name="T61" fmla="*/ 11 h 65"/>
                    <a:gd name="T62" fmla="*/ 60 w 62"/>
                    <a:gd name="T63" fmla="*/ 7 h 65"/>
                    <a:gd name="T64" fmla="*/ 54 w 62"/>
                    <a:gd name="T65" fmla="*/ 4 h 65"/>
                    <a:gd name="T66" fmla="*/ 49 w 62"/>
                    <a:gd name="T67" fmla="*/ 0 h 65"/>
                    <a:gd name="T68" fmla="*/ 46 w 62"/>
                    <a:gd name="T69" fmla="*/ 0 h 65"/>
                    <a:gd name="T70" fmla="*/ 40 w 62"/>
                    <a:gd name="T71" fmla="*/ 4 h 65"/>
                    <a:gd name="T72" fmla="*/ 38 w 62"/>
                    <a:gd name="T73" fmla="*/ 4 h 65"/>
                    <a:gd name="T74" fmla="*/ 35 w 62"/>
                    <a:gd name="T75" fmla="*/ 11 h 65"/>
                    <a:gd name="T76" fmla="*/ 33 w 62"/>
                    <a:gd name="T77" fmla="*/ 14 h 65"/>
                    <a:gd name="T78" fmla="*/ 35 w 62"/>
                    <a:gd name="T79" fmla="*/ 18 h 65"/>
                    <a:gd name="T80" fmla="*/ 37 w 62"/>
                    <a:gd name="T81" fmla="*/ 24 h 65"/>
                    <a:gd name="T82" fmla="*/ 40 w 62"/>
                    <a:gd name="T83" fmla="*/ 25 h 65"/>
                    <a:gd name="T84" fmla="*/ 46 w 62"/>
                    <a:gd name="T85" fmla="*/ 28 h 65"/>
                    <a:gd name="T86" fmla="*/ 49 w 62"/>
                    <a:gd name="T87" fmla="*/ 29 h 65"/>
                    <a:gd name="T88" fmla="*/ 54 w 62"/>
                    <a:gd name="T89" fmla="*/ 24 h 65"/>
                    <a:gd name="T90" fmla="*/ 57 w 62"/>
                    <a:gd name="T91" fmla="*/ 24 h 65"/>
                    <a:gd name="T92" fmla="*/ 59 w 62"/>
                    <a:gd name="T93" fmla="*/ 18 h 65"/>
                    <a:gd name="T94" fmla="*/ 61 w 62"/>
                    <a:gd name="T95" fmla="*/ 12 h 65"/>
                    <a:gd name="T96" fmla="*/ 52 w 62"/>
                    <a:gd name="T97" fmla="*/ 22 h 65"/>
                    <a:gd name="T98" fmla="*/ 43 w 62"/>
                    <a:gd name="T99" fmla="*/ 25 h 65"/>
                    <a:gd name="T100" fmla="*/ 36 w 62"/>
                    <a:gd name="T101" fmla="*/ 15 h 65"/>
                    <a:gd name="T102" fmla="*/ 38 w 62"/>
                    <a:gd name="T103" fmla="*/ 7 h 65"/>
                    <a:gd name="T104" fmla="*/ 50 w 62"/>
                    <a:gd name="T105" fmla="*/ 3 h 65"/>
                    <a:gd name="T106" fmla="*/ 56 w 62"/>
                    <a:gd name="T107" fmla="*/ 11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62" h="65">
                      <a:moveTo>
                        <a:pt x="22" y="32"/>
                      </a:moveTo>
                      <a:cubicBezTo>
                        <a:pt x="15" y="32"/>
                        <a:pt x="11" y="37"/>
                        <a:pt x="11" y="43"/>
                      </a:cubicBezTo>
                      <a:cubicBezTo>
                        <a:pt x="11" y="49"/>
                        <a:pt x="15" y="54"/>
                        <a:pt x="22" y="54"/>
                      </a:cubicBezTo>
                      <a:cubicBezTo>
                        <a:pt x="28" y="54"/>
                        <a:pt x="33" y="49"/>
                        <a:pt x="33" y="43"/>
                      </a:cubicBezTo>
                      <a:cubicBezTo>
                        <a:pt x="33" y="37"/>
                        <a:pt x="28" y="32"/>
                        <a:pt x="22" y="32"/>
                      </a:cubicBezTo>
                      <a:close/>
                      <a:moveTo>
                        <a:pt x="22" y="52"/>
                      </a:moveTo>
                      <a:cubicBezTo>
                        <a:pt x="17" y="52"/>
                        <a:pt x="13" y="48"/>
                        <a:pt x="13" y="43"/>
                      </a:cubicBezTo>
                      <a:cubicBezTo>
                        <a:pt x="13" y="38"/>
                        <a:pt x="17" y="34"/>
                        <a:pt x="22" y="34"/>
                      </a:cubicBezTo>
                      <a:cubicBezTo>
                        <a:pt x="27" y="34"/>
                        <a:pt x="31" y="38"/>
                        <a:pt x="31" y="43"/>
                      </a:cubicBezTo>
                      <a:cubicBezTo>
                        <a:pt x="31" y="48"/>
                        <a:pt x="27" y="52"/>
                        <a:pt x="22" y="52"/>
                      </a:cubicBezTo>
                      <a:close/>
                      <a:moveTo>
                        <a:pt x="26" y="43"/>
                      </a:moveTo>
                      <a:cubicBezTo>
                        <a:pt x="26" y="45"/>
                        <a:pt x="24" y="47"/>
                        <a:pt x="22" y="47"/>
                      </a:cubicBezTo>
                      <a:cubicBezTo>
                        <a:pt x="19" y="47"/>
                        <a:pt x="17" y="45"/>
                        <a:pt x="17" y="43"/>
                      </a:cubicBezTo>
                      <a:cubicBezTo>
                        <a:pt x="17" y="40"/>
                        <a:pt x="19" y="38"/>
                        <a:pt x="22" y="38"/>
                      </a:cubicBezTo>
                      <a:cubicBezTo>
                        <a:pt x="24" y="38"/>
                        <a:pt x="26" y="40"/>
                        <a:pt x="26" y="43"/>
                      </a:cubicBezTo>
                      <a:close/>
                      <a:moveTo>
                        <a:pt x="47" y="7"/>
                      </a:moveTo>
                      <a:cubicBezTo>
                        <a:pt x="43" y="7"/>
                        <a:pt x="40" y="10"/>
                        <a:pt x="40" y="14"/>
                      </a:cubicBezTo>
                      <a:cubicBezTo>
                        <a:pt x="40" y="18"/>
                        <a:pt x="43" y="21"/>
                        <a:pt x="47" y="21"/>
                      </a:cubicBezTo>
                      <a:cubicBezTo>
                        <a:pt x="51" y="21"/>
                        <a:pt x="54" y="18"/>
                        <a:pt x="54" y="14"/>
                      </a:cubicBezTo>
                      <a:cubicBezTo>
                        <a:pt x="54" y="10"/>
                        <a:pt x="51" y="7"/>
                        <a:pt x="47" y="7"/>
                      </a:cubicBezTo>
                      <a:close/>
                      <a:moveTo>
                        <a:pt x="47" y="19"/>
                      </a:moveTo>
                      <a:cubicBezTo>
                        <a:pt x="44" y="19"/>
                        <a:pt x="42" y="17"/>
                        <a:pt x="42" y="14"/>
                      </a:cubicBezTo>
                      <a:cubicBezTo>
                        <a:pt x="42" y="12"/>
                        <a:pt x="44" y="9"/>
                        <a:pt x="47" y="9"/>
                      </a:cubicBezTo>
                      <a:cubicBezTo>
                        <a:pt x="49" y="9"/>
                        <a:pt x="52" y="12"/>
                        <a:pt x="52" y="14"/>
                      </a:cubicBezTo>
                      <a:cubicBezTo>
                        <a:pt x="52" y="17"/>
                        <a:pt x="49" y="19"/>
                        <a:pt x="47" y="19"/>
                      </a:cubicBezTo>
                      <a:close/>
                      <a:moveTo>
                        <a:pt x="43" y="39"/>
                      </a:moveTo>
                      <a:cubicBezTo>
                        <a:pt x="43" y="38"/>
                        <a:pt x="42" y="38"/>
                        <a:pt x="42" y="38"/>
                      </a:cubicBezTo>
                      <a:cubicBezTo>
                        <a:pt x="42" y="38"/>
                        <a:pt x="42" y="38"/>
                        <a:pt x="41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0" y="38"/>
                        <a:pt x="40" y="38"/>
                        <a:pt x="40" y="37"/>
                      </a:cubicBezTo>
                      <a:cubicBezTo>
                        <a:pt x="39" y="36"/>
                        <a:pt x="40" y="36"/>
                        <a:pt x="40" y="35"/>
                      </a:cubicBezTo>
                      <a:cubicBezTo>
                        <a:pt x="41" y="35"/>
                        <a:pt x="41" y="35"/>
                        <a:pt x="42" y="34"/>
                      </a:cubicBezTo>
                      <a:cubicBezTo>
                        <a:pt x="42" y="33"/>
                        <a:pt x="42" y="33"/>
                        <a:pt x="41" y="32"/>
                      </a:cubicBezTo>
                      <a:cubicBezTo>
                        <a:pt x="40" y="31"/>
                        <a:pt x="39" y="29"/>
                        <a:pt x="38" y="28"/>
                      </a:cubicBezTo>
                      <a:cubicBezTo>
                        <a:pt x="38" y="27"/>
                        <a:pt x="37" y="27"/>
                        <a:pt x="36" y="27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7"/>
                        <a:pt x="35" y="27"/>
                        <a:pt x="35" y="28"/>
                      </a:cubicBezTo>
                      <a:cubicBezTo>
                        <a:pt x="35" y="28"/>
                        <a:pt x="34" y="28"/>
                        <a:pt x="34" y="28"/>
                      </a:cubicBezTo>
                      <a:cubicBezTo>
                        <a:pt x="33" y="28"/>
                        <a:pt x="33" y="28"/>
                        <a:pt x="33" y="28"/>
                      </a:cubicBezTo>
                      <a:cubicBezTo>
                        <a:pt x="32" y="27"/>
                        <a:pt x="32" y="27"/>
                        <a:pt x="32" y="26"/>
                      </a:cubicBezTo>
                      <a:cubicBezTo>
                        <a:pt x="33" y="25"/>
                        <a:pt x="33" y="25"/>
                        <a:pt x="33" y="24"/>
                      </a:cubicBezTo>
                      <a:cubicBezTo>
                        <a:pt x="32" y="24"/>
                        <a:pt x="32" y="23"/>
                        <a:pt x="32" y="23"/>
                      </a:cubicBezTo>
                      <a:cubicBezTo>
                        <a:pt x="30" y="22"/>
                        <a:pt x="28" y="22"/>
                        <a:pt x="26" y="21"/>
                      </a:cubicBezTo>
                      <a:cubicBezTo>
                        <a:pt x="26" y="21"/>
                        <a:pt x="26" y="21"/>
                        <a:pt x="26" y="21"/>
                      </a:cubicBezTo>
                      <a:cubicBezTo>
                        <a:pt x="25" y="21"/>
                        <a:pt x="25" y="21"/>
                        <a:pt x="24" y="22"/>
                      </a:cubicBezTo>
                      <a:cubicBezTo>
                        <a:pt x="24" y="22"/>
                        <a:pt x="24" y="22"/>
                        <a:pt x="24" y="23"/>
                      </a:cubicBezTo>
                      <a:cubicBezTo>
                        <a:pt x="24" y="24"/>
                        <a:pt x="23" y="24"/>
                        <a:pt x="22" y="24"/>
                      </a:cubicBezTo>
                      <a:cubicBezTo>
                        <a:pt x="21" y="24"/>
                        <a:pt x="20" y="24"/>
                        <a:pt x="20" y="23"/>
                      </a:cubicBezTo>
                      <a:cubicBezTo>
                        <a:pt x="20" y="22"/>
                        <a:pt x="20" y="22"/>
                        <a:pt x="20" y="22"/>
                      </a:cubicBezTo>
                      <a:cubicBezTo>
                        <a:pt x="19" y="21"/>
                        <a:pt x="19" y="21"/>
                        <a:pt x="18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6" y="22"/>
                        <a:pt x="14" y="22"/>
                        <a:pt x="12" y="23"/>
                      </a:cubicBezTo>
                      <a:cubicBezTo>
                        <a:pt x="12" y="23"/>
                        <a:pt x="12" y="24"/>
                        <a:pt x="11" y="24"/>
                      </a:cubicBezTo>
                      <a:cubicBezTo>
                        <a:pt x="11" y="25"/>
                        <a:pt x="11" y="25"/>
                        <a:pt x="12" y="26"/>
                      </a:cubicBezTo>
                      <a:cubicBezTo>
                        <a:pt x="12" y="27"/>
                        <a:pt x="12" y="27"/>
                        <a:pt x="11" y="28"/>
                      </a:cubicBezTo>
                      <a:cubicBezTo>
                        <a:pt x="11" y="28"/>
                        <a:pt x="11" y="28"/>
                        <a:pt x="10" y="28"/>
                      </a:cubicBezTo>
                      <a:cubicBezTo>
                        <a:pt x="10" y="28"/>
                        <a:pt x="9" y="28"/>
                        <a:pt x="9" y="28"/>
                      </a:cubicBezTo>
                      <a:cubicBezTo>
                        <a:pt x="9" y="27"/>
                        <a:pt x="8" y="27"/>
                        <a:pt x="8" y="27"/>
                      </a:cubicBezTo>
                      <a:cubicBezTo>
                        <a:pt x="8" y="27"/>
                        <a:pt x="8" y="27"/>
                        <a:pt x="8" y="27"/>
                      </a:cubicBezTo>
                      <a:cubicBezTo>
                        <a:pt x="7" y="27"/>
                        <a:pt x="6" y="27"/>
                        <a:pt x="6" y="28"/>
                      </a:cubicBezTo>
                      <a:cubicBezTo>
                        <a:pt x="5" y="29"/>
                        <a:pt x="4" y="31"/>
                        <a:pt x="3" y="32"/>
                      </a:cubicBezTo>
                      <a:cubicBezTo>
                        <a:pt x="2" y="33"/>
                        <a:pt x="2" y="33"/>
                        <a:pt x="2" y="34"/>
                      </a:cubicBezTo>
                      <a:cubicBezTo>
                        <a:pt x="3" y="35"/>
                        <a:pt x="3" y="35"/>
                        <a:pt x="4" y="35"/>
                      </a:cubicBezTo>
                      <a:cubicBezTo>
                        <a:pt x="4" y="36"/>
                        <a:pt x="5" y="36"/>
                        <a:pt x="4" y="37"/>
                      </a:cubicBezTo>
                      <a:cubicBezTo>
                        <a:pt x="4" y="38"/>
                        <a:pt x="4" y="38"/>
                        <a:pt x="3" y="38"/>
                      </a:cubicBezTo>
                      <a:cubicBezTo>
                        <a:pt x="3" y="38"/>
                        <a:pt x="3" y="38"/>
                        <a:pt x="3" y="38"/>
                      </a:cubicBezTo>
                      <a:cubicBezTo>
                        <a:pt x="2" y="38"/>
                        <a:pt x="2" y="38"/>
                        <a:pt x="2" y="38"/>
                      </a:cubicBezTo>
                      <a:cubicBezTo>
                        <a:pt x="2" y="38"/>
                        <a:pt x="1" y="38"/>
                        <a:pt x="1" y="39"/>
                      </a:cubicBezTo>
                      <a:cubicBezTo>
                        <a:pt x="1" y="39"/>
                        <a:pt x="0" y="39"/>
                        <a:pt x="0" y="40"/>
                      </a:cubicBezTo>
                      <a:cubicBezTo>
                        <a:pt x="0" y="41"/>
                        <a:pt x="0" y="42"/>
                        <a:pt x="0" y="43"/>
                      </a:cubicBezTo>
                      <a:cubicBezTo>
                        <a:pt x="0" y="44"/>
                        <a:pt x="0" y="45"/>
                        <a:pt x="0" y="46"/>
                      </a:cubicBezTo>
                      <a:cubicBezTo>
                        <a:pt x="0" y="46"/>
                        <a:pt x="1" y="47"/>
                        <a:pt x="1" y="47"/>
                      </a:cubicBezTo>
                      <a:cubicBezTo>
                        <a:pt x="1" y="47"/>
                        <a:pt x="2" y="48"/>
                        <a:pt x="2" y="48"/>
                      </a:cubicBezTo>
                      <a:cubicBezTo>
                        <a:pt x="2" y="48"/>
                        <a:pt x="2" y="48"/>
                        <a:pt x="3" y="47"/>
                      </a:cubicBezTo>
                      <a:cubicBezTo>
                        <a:pt x="3" y="47"/>
                        <a:pt x="3" y="47"/>
                        <a:pt x="3" y="47"/>
                      </a:cubicBezTo>
                      <a:cubicBezTo>
                        <a:pt x="4" y="47"/>
                        <a:pt x="4" y="48"/>
                        <a:pt x="4" y="49"/>
                      </a:cubicBezTo>
                      <a:cubicBezTo>
                        <a:pt x="5" y="49"/>
                        <a:pt x="4" y="50"/>
                        <a:pt x="4" y="51"/>
                      </a:cubicBezTo>
                      <a:cubicBezTo>
                        <a:pt x="3" y="51"/>
                        <a:pt x="3" y="51"/>
                        <a:pt x="2" y="52"/>
                      </a:cubicBezTo>
                      <a:cubicBezTo>
                        <a:pt x="2" y="52"/>
                        <a:pt x="2" y="53"/>
                        <a:pt x="3" y="53"/>
                      </a:cubicBezTo>
                      <a:cubicBezTo>
                        <a:pt x="4" y="55"/>
                        <a:pt x="5" y="57"/>
                        <a:pt x="6" y="58"/>
                      </a:cubicBezTo>
                      <a:cubicBezTo>
                        <a:pt x="6" y="58"/>
                        <a:pt x="7" y="59"/>
                        <a:pt x="8" y="59"/>
                      </a:cubicBezTo>
                      <a:cubicBezTo>
                        <a:pt x="8" y="59"/>
                        <a:pt x="8" y="59"/>
                        <a:pt x="8" y="59"/>
                      </a:cubicBezTo>
                      <a:cubicBezTo>
                        <a:pt x="8" y="59"/>
                        <a:pt x="9" y="58"/>
                        <a:pt x="9" y="58"/>
                      </a:cubicBezTo>
                      <a:cubicBezTo>
                        <a:pt x="9" y="58"/>
                        <a:pt x="10" y="57"/>
                        <a:pt x="10" y="57"/>
                      </a:cubicBezTo>
                      <a:cubicBezTo>
                        <a:pt x="11" y="57"/>
                        <a:pt x="11" y="58"/>
                        <a:pt x="11" y="58"/>
                      </a:cubicBezTo>
                      <a:cubicBezTo>
                        <a:pt x="12" y="58"/>
                        <a:pt x="12" y="59"/>
                        <a:pt x="12" y="60"/>
                      </a:cubicBezTo>
                      <a:cubicBezTo>
                        <a:pt x="11" y="60"/>
                        <a:pt x="11" y="61"/>
                        <a:pt x="11" y="61"/>
                      </a:cubicBezTo>
                      <a:cubicBezTo>
                        <a:pt x="12" y="62"/>
                        <a:pt x="12" y="62"/>
                        <a:pt x="12" y="63"/>
                      </a:cubicBezTo>
                      <a:cubicBezTo>
                        <a:pt x="14" y="64"/>
                        <a:pt x="16" y="64"/>
                        <a:pt x="18" y="65"/>
                      </a:cubicBezTo>
                      <a:cubicBezTo>
                        <a:pt x="18" y="65"/>
                        <a:pt x="18" y="65"/>
                        <a:pt x="18" y="65"/>
                      </a:cubicBezTo>
                      <a:cubicBezTo>
                        <a:pt x="19" y="65"/>
                        <a:pt x="19" y="64"/>
                        <a:pt x="20" y="64"/>
                      </a:cubicBezTo>
                      <a:cubicBezTo>
                        <a:pt x="20" y="64"/>
                        <a:pt x="20" y="63"/>
                        <a:pt x="20" y="63"/>
                      </a:cubicBezTo>
                      <a:cubicBezTo>
                        <a:pt x="20" y="62"/>
                        <a:pt x="21" y="61"/>
                        <a:pt x="22" y="61"/>
                      </a:cubicBezTo>
                      <a:cubicBezTo>
                        <a:pt x="23" y="61"/>
                        <a:pt x="24" y="62"/>
                        <a:pt x="24" y="63"/>
                      </a:cubicBezTo>
                      <a:cubicBezTo>
                        <a:pt x="24" y="63"/>
                        <a:pt x="24" y="64"/>
                        <a:pt x="24" y="64"/>
                      </a:cubicBezTo>
                      <a:cubicBezTo>
                        <a:pt x="25" y="64"/>
                        <a:pt x="25" y="65"/>
                        <a:pt x="26" y="65"/>
                      </a:cubicBezTo>
                      <a:cubicBezTo>
                        <a:pt x="26" y="65"/>
                        <a:pt x="26" y="65"/>
                        <a:pt x="26" y="65"/>
                      </a:cubicBezTo>
                      <a:cubicBezTo>
                        <a:pt x="28" y="64"/>
                        <a:pt x="30" y="64"/>
                        <a:pt x="32" y="63"/>
                      </a:cubicBezTo>
                      <a:cubicBezTo>
                        <a:pt x="32" y="62"/>
                        <a:pt x="32" y="62"/>
                        <a:pt x="33" y="61"/>
                      </a:cubicBezTo>
                      <a:cubicBezTo>
                        <a:pt x="33" y="61"/>
                        <a:pt x="33" y="60"/>
                        <a:pt x="32" y="60"/>
                      </a:cubicBezTo>
                      <a:cubicBezTo>
                        <a:pt x="32" y="59"/>
                        <a:pt x="32" y="58"/>
                        <a:pt x="33" y="58"/>
                      </a:cubicBezTo>
                      <a:cubicBezTo>
                        <a:pt x="33" y="58"/>
                        <a:pt x="33" y="57"/>
                        <a:pt x="34" y="57"/>
                      </a:cubicBezTo>
                      <a:cubicBezTo>
                        <a:pt x="34" y="57"/>
                        <a:pt x="35" y="58"/>
                        <a:pt x="35" y="58"/>
                      </a:cubicBezTo>
                      <a:cubicBezTo>
                        <a:pt x="35" y="58"/>
                        <a:pt x="36" y="59"/>
                        <a:pt x="36" y="59"/>
                      </a:cubicBezTo>
                      <a:cubicBezTo>
                        <a:pt x="36" y="59"/>
                        <a:pt x="36" y="59"/>
                        <a:pt x="36" y="59"/>
                      </a:cubicBezTo>
                      <a:cubicBezTo>
                        <a:pt x="37" y="59"/>
                        <a:pt x="38" y="58"/>
                        <a:pt x="38" y="58"/>
                      </a:cubicBezTo>
                      <a:cubicBezTo>
                        <a:pt x="39" y="57"/>
                        <a:pt x="40" y="55"/>
                        <a:pt x="41" y="53"/>
                      </a:cubicBezTo>
                      <a:cubicBezTo>
                        <a:pt x="42" y="53"/>
                        <a:pt x="42" y="52"/>
                        <a:pt x="42" y="52"/>
                      </a:cubicBezTo>
                      <a:cubicBezTo>
                        <a:pt x="41" y="51"/>
                        <a:pt x="41" y="51"/>
                        <a:pt x="40" y="51"/>
                      </a:cubicBezTo>
                      <a:cubicBezTo>
                        <a:pt x="40" y="50"/>
                        <a:pt x="39" y="49"/>
                        <a:pt x="40" y="49"/>
                      </a:cubicBezTo>
                      <a:cubicBezTo>
                        <a:pt x="40" y="48"/>
                        <a:pt x="40" y="47"/>
                        <a:pt x="41" y="47"/>
                      </a:cubicBezTo>
                      <a:cubicBezTo>
                        <a:pt x="41" y="47"/>
                        <a:pt x="41" y="47"/>
                        <a:pt x="41" y="47"/>
                      </a:cubicBezTo>
                      <a:cubicBezTo>
                        <a:pt x="42" y="48"/>
                        <a:pt x="42" y="48"/>
                        <a:pt x="42" y="48"/>
                      </a:cubicBezTo>
                      <a:cubicBezTo>
                        <a:pt x="42" y="48"/>
                        <a:pt x="43" y="47"/>
                        <a:pt x="43" y="47"/>
                      </a:cubicBezTo>
                      <a:cubicBezTo>
                        <a:pt x="43" y="47"/>
                        <a:pt x="44" y="46"/>
                        <a:pt x="44" y="46"/>
                      </a:cubicBezTo>
                      <a:cubicBezTo>
                        <a:pt x="44" y="45"/>
                        <a:pt x="44" y="44"/>
                        <a:pt x="44" y="43"/>
                      </a:cubicBezTo>
                      <a:cubicBezTo>
                        <a:pt x="44" y="42"/>
                        <a:pt x="44" y="41"/>
                        <a:pt x="44" y="40"/>
                      </a:cubicBezTo>
                      <a:cubicBezTo>
                        <a:pt x="44" y="39"/>
                        <a:pt x="43" y="39"/>
                        <a:pt x="43" y="39"/>
                      </a:cubicBezTo>
                      <a:close/>
                      <a:moveTo>
                        <a:pt x="37" y="48"/>
                      </a:moveTo>
                      <a:cubicBezTo>
                        <a:pt x="36" y="50"/>
                        <a:pt x="37" y="52"/>
                        <a:pt x="38" y="53"/>
                      </a:cubicBezTo>
                      <a:cubicBezTo>
                        <a:pt x="38" y="54"/>
                        <a:pt x="37" y="54"/>
                        <a:pt x="36" y="55"/>
                      </a:cubicBezTo>
                      <a:cubicBezTo>
                        <a:pt x="35" y="54"/>
                        <a:pt x="33" y="54"/>
                        <a:pt x="31" y="55"/>
                      </a:cubicBezTo>
                      <a:cubicBezTo>
                        <a:pt x="29" y="57"/>
                        <a:pt x="29" y="59"/>
                        <a:pt x="29" y="60"/>
                      </a:cubicBezTo>
                      <a:cubicBezTo>
                        <a:pt x="28" y="61"/>
                        <a:pt x="27" y="61"/>
                        <a:pt x="26" y="61"/>
                      </a:cubicBezTo>
                      <a:cubicBezTo>
                        <a:pt x="26" y="60"/>
                        <a:pt x="24" y="58"/>
                        <a:pt x="22" y="58"/>
                      </a:cubicBezTo>
                      <a:cubicBezTo>
                        <a:pt x="20" y="58"/>
                        <a:pt x="18" y="60"/>
                        <a:pt x="18" y="61"/>
                      </a:cubicBezTo>
                      <a:cubicBezTo>
                        <a:pt x="17" y="61"/>
                        <a:pt x="16" y="61"/>
                        <a:pt x="15" y="60"/>
                      </a:cubicBezTo>
                      <a:cubicBezTo>
                        <a:pt x="15" y="59"/>
                        <a:pt x="15" y="57"/>
                        <a:pt x="13" y="55"/>
                      </a:cubicBezTo>
                      <a:cubicBezTo>
                        <a:pt x="11" y="54"/>
                        <a:pt x="9" y="54"/>
                        <a:pt x="8" y="55"/>
                      </a:cubicBezTo>
                      <a:cubicBezTo>
                        <a:pt x="7" y="54"/>
                        <a:pt x="6" y="54"/>
                        <a:pt x="6" y="53"/>
                      </a:cubicBezTo>
                      <a:cubicBezTo>
                        <a:pt x="7" y="52"/>
                        <a:pt x="8" y="50"/>
                        <a:pt x="7" y="48"/>
                      </a:cubicBezTo>
                      <a:cubicBezTo>
                        <a:pt x="7" y="46"/>
                        <a:pt x="5" y="44"/>
                        <a:pt x="3" y="44"/>
                      </a:cubicBezTo>
                      <a:cubicBezTo>
                        <a:pt x="3" y="44"/>
                        <a:pt x="3" y="43"/>
                        <a:pt x="3" y="43"/>
                      </a:cubicBezTo>
                      <a:cubicBezTo>
                        <a:pt x="3" y="42"/>
                        <a:pt x="3" y="42"/>
                        <a:pt x="3" y="41"/>
                      </a:cubicBezTo>
                      <a:cubicBezTo>
                        <a:pt x="5" y="41"/>
                        <a:pt x="7" y="40"/>
                        <a:pt x="7" y="38"/>
                      </a:cubicBezTo>
                      <a:cubicBezTo>
                        <a:pt x="8" y="36"/>
                        <a:pt x="7" y="34"/>
                        <a:pt x="6" y="33"/>
                      </a:cubicBezTo>
                      <a:cubicBezTo>
                        <a:pt x="6" y="32"/>
                        <a:pt x="7" y="31"/>
                        <a:pt x="8" y="30"/>
                      </a:cubicBezTo>
                      <a:cubicBezTo>
                        <a:pt x="9" y="32"/>
                        <a:pt x="11" y="32"/>
                        <a:pt x="13" y="30"/>
                      </a:cubicBezTo>
                      <a:cubicBezTo>
                        <a:pt x="15" y="29"/>
                        <a:pt x="15" y="27"/>
                        <a:pt x="15" y="25"/>
                      </a:cubicBezTo>
                      <a:cubicBezTo>
                        <a:pt x="16" y="25"/>
                        <a:pt x="17" y="25"/>
                        <a:pt x="18" y="24"/>
                      </a:cubicBezTo>
                      <a:cubicBezTo>
                        <a:pt x="18" y="26"/>
                        <a:pt x="20" y="27"/>
                        <a:pt x="22" y="27"/>
                      </a:cubicBezTo>
                      <a:cubicBezTo>
                        <a:pt x="24" y="27"/>
                        <a:pt x="26" y="26"/>
                        <a:pt x="26" y="24"/>
                      </a:cubicBezTo>
                      <a:cubicBezTo>
                        <a:pt x="27" y="25"/>
                        <a:pt x="28" y="25"/>
                        <a:pt x="29" y="25"/>
                      </a:cubicBezTo>
                      <a:cubicBezTo>
                        <a:pt x="29" y="27"/>
                        <a:pt x="29" y="29"/>
                        <a:pt x="31" y="30"/>
                      </a:cubicBezTo>
                      <a:cubicBezTo>
                        <a:pt x="33" y="32"/>
                        <a:pt x="35" y="32"/>
                        <a:pt x="36" y="30"/>
                      </a:cubicBezTo>
                      <a:cubicBezTo>
                        <a:pt x="37" y="31"/>
                        <a:pt x="38" y="32"/>
                        <a:pt x="38" y="33"/>
                      </a:cubicBezTo>
                      <a:cubicBezTo>
                        <a:pt x="37" y="34"/>
                        <a:pt x="36" y="36"/>
                        <a:pt x="37" y="38"/>
                      </a:cubicBezTo>
                      <a:cubicBezTo>
                        <a:pt x="37" y="40"/>
                        <a:pt x="39" y="41"/>
                        <a:pt x="41" y="41"/>
                      </a:cubicBezTo>
                      <a:cubicBezTo>
                        <a:pt x="41" y="42"/>
                        <a:pt x="41" y="42"/>
                        <a:pt x="41" y="43"/>
                      </a:cubicBezTo>
                      <a:cubicBezTo>
                        <a:pt x="41" y="43"/>
                        <a:pt x="41" y="44"/>
                        <a:pt x="41" y="44"/>
                      </a:cubicBezTo>
                      <a:cubicBezTo>
                        <a:pt x="39" y="44"/>
                        <a:pt x="37" y="46"/>
                        <a:pt x="37" y="48"/>
                      </a:cubicBezTo>
                      <a:close/>
                      <a:moveTo>
                        <a:pt x="61" y="12"/>
                      </a:moveTo>
                      <a:cubicBezTo>
                        <a:pt x="61" y="12"/>
                        <a:pt x="61" y="11"/>
                        <a:pt x="61" y="11"/>
                      </a:cubicBezTo>
                      <a:cubicBezTo>
                        <a:pt x="60" y="11"/>
                        <a:pt x="60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1"/>
                        <a:pt x="59" y="11"/>
                        <a:pt x="59" y="11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59" y="10"/>
                        <a:pt x="60" y="10"/>
                        <a:pt x="60" y="9"/>
                      </a:cubicBezTo>
                      <a:cubicBezTo>
                        <a:pt x="60" y="9"/>
                        <a:pt x="60" y="8"/>
                        <a:pt x="60" y="7"/>
                      </a:cubicBezTo>
                      <a:cubicBezTo>
                        <a:pt x="59" y="6"/>
                        <a:pt x="58" y="5"/>
                        <a:pt x="57" y="4"/>
                      </a:cubicBezTo>
                      <a:cubicBezTo>
                        <a:pt x="57" y="4"/>
                        <a:pt x="57" y="4"/>
                        <a:pt x="56" y="4"/>
                      </a:cubicBezTo>
                      <a:cubicBezTo>
                        <a:pt x="56" y="4"/>
                        <a:pt x="56" y="4"/>
                        <a:pt x="56" y="4"/>
                      </a:cubicBezTo>
                      <a:cubicBezTo>
                        <a:pt x="55" y="4"/>
                        <a:pt x="55" y="4"/>
                        <a:pt x="55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4" y="4"/>
                        <a:pt x="54" y="4"/>
                      </a:cubicBezTo>
                      <a:cubicBezTo>
                        <a:pt x="54" y="4"/>
                        <a:pt x="55" y="3"/>
                        <a:pt x="54" y="2"/>
                      </a:cubicBezTo>
                      <a:cubicBezTo>
                        <a:pt x="54" y="2"/>
                        <a:pt x="54" y="1"/>
                        <a:pt x="53" y="1"/>
                      </a:cubicBezTo>
                      <a:cubicBezTo>
                        <a:pt x="52" y="1"/>
                        <a:pt x="51" y="0"/>
                        <a:pt x="50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49" y="0"/>
                        <a:pt x="48" y="0"/>
                        <a:pt x="48" y="0"/>
                      </a:cubicBezTo>
                      <a:cubicBezTo>
                        <a:pt x="48" y="1"/>
                        <a:pt x="47" y="1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2"/>
                        <a:pt x="47" y="2"/>
                        <a:pt x="47" y="2"/>
                      </a:cubicBezTo>
                      <a:cubicBezTo>
                        <a:pt x="47" y="1"/>
                        <a:pt x="46" y="1"/>
                        <a:pt x="46" y="0"/>
                      </a:cubicBezTo>
                      <a:cubicBezTo>
                        <a:pt x="46" y="0"/>
                        <a:pt x="45" y="0"/>
                        <a:pt x="45" y="0"/>
                      </a:cubicBezTo>
                      <a:cubicBezTo>
                        <a:pt x="45" y="0"/>
                        <a:pt x="45" y="0"/>
                        <a:pt x="44" y="0"/>
                      </a:cubicBezTo>
                      <a:cubicBezTo>
                        <a:pt x="43" y="0"/>
                        <a:pt x="42" y="1"/>
                        <a:pt x="41" y="1"/>
                      </a:cubicBezTo>
                      <a:cubicBezTo>
                        <a:pt x="40" y="1"/>
                        <a:pt x="40" y="2"/>
                        <a:pt x="40" y="2"/>
                      </a:cubicBezTo>
                      <a:cubicBezTo>
                        <a:pt x="40" y="3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40" y="4"/>
                      </a:cubicBezTo>
                      <a:cubicBezTo>
                        <a:pt x="40" y="4"/>
                        <a:pt x="40" y="4"/>
                        <a:pt x="39" y="4"/>
                      </a:cubicBezTo>
                      <a:cubicBezTo>
                        <a:pt x="39" y="4"/>
                        <a:pt x="39" y="4"/>
                        <a:pt x="38" y="4"/>
                      </a:cubicBezTo>
                      <a:cubicBezTo>
                        <a:pt x="38" y="4"/>
                        <a:pt x="38" y="4"/>
                        <a:pt x="38" y="4"/>
                      </a:cubicBezTo>
                      <a:cubicBezTo>
                        <a:pt x="37" y="4"/>
                        <a:pt x="37" y="4"/>
                        <a:pt x="37" y="4"/>
                      </a:cubicBezTo>
                      <a:cubicBezTo>
                        <a:pt x="36" y="5"/>
                        <a:pt x="35" y="6"/>
                        <a:pt x="34" y="7"/>
                      </a:cubicBezTo>
                      <a:cubicBezTo>
                        <a:pt x="34" y="8"/>
                        <a:pt x="34" y="9"/>
                        <a:pt x="34" y="9"/>
                      </a:cubicBezTo>
                      <a:cubicBezTo>
                        <a:pt x="34" y="10"/>
                        <a:pt x="35" y="10"/>
                        <a:pt x="35" y="10"/>
                      </a:cubicBezTo>
                      <a:cubicBezTo>
                        <a:pt x="35" y="10"/>
                        <a:pt x="35" y="10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5" y="11"/>
                        <a:pt x="35" y="11"/>
                        <a:pt x="35" y="11"/>
                      </a:cubicBezTo>
                      <a:cubicBezTo>
                        <a:pt x="34" y="11"/>
                        <a:pt x="34" y="11"/>
                        <a:pt x="34" y="11"/>
                      </a:cubicBezTo>
                      <a:cubicBezTo>
                        <a:pt x="33" y="11"/>
                        <a:pt x="33" y="12"/>
                        <a:pt x="33" y="12"/>
                      </a:cubicBezTo>
                      <a:cubicBezTo>
                        <a:pt x="33" y="13"/>
                        <a:pt x="33" y="14"/>
                        <a:pt x="33" y="14"/>
                      </a:cubicBezTo>
                      <a:cubicBezTo>
                        <a:pt x="33" y="15"/>
                        <a:pt x="33" y="16"/>
                        <a:pt x="33" y="16"/>
                      </a:cubicBezTo>
                      <a:cubicBezTo>
                        <a:pt x="33" y="17"/>
                        <a:pt x="33" y="17"/>
                        <a:pt x="33" y="18"/>
                      </a:cubicBezTo>
                      <a:cubicBezTo>
                        <a:pt x="34" y="18"/>
                        <a:pt x="34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8"/>
                        <a:pt x="35" y="18"/>
                        <a:pt x="35" y="18"/>
                      </a:cubicBezTo>
                      <a:cubicBezTo>
                        <a:pt x="35" y="19"/>
                        <a:pt x="34" y="19"/>
                        <a:pt x="34" y="20"/>
                      </a:cubicBezTo>
                      <a:cubicBezTo>
                        <a:pt x="34" y="20"/>
                        <a:pt x="34" y="21"/>
                        <a:pt x="34" y="21"/>
                      </a:cubicBezTo>
                      <a:cubicBezTo>
                        <a:pt x="35" y="22"/>
                        <a:pt x="36" y="23"/>
                        <a:pt x="37" y="24"/>
                      </a:cubicBezTo>
                      <a:cubicBezTo>
                        <a:pt x="37" y="25"/>
                        <a:pt x="37" y="25"/>
                        <a:pt x="38" y="25"/>
                      </a:cubicBezTo>
                      <a:cubicBezTo>
                        <a:pt x="38" y="25"/>
                        <a:pt x="38" y="25"/>
                        <a:pt x="38" y="25"/>
                      </a:cubicBezTo>
                      <a:cubicBezTo>
                        <a:pt x="39" y="25"/>
                        <a:pt x="39" y="25"/>
                        <a:pt x="39" y="24"/>
                      </a:cubicBezTo>
                      <a:cubicBezTo>
                        <a:pt x="40" y="24"/>
                        <a:pt x="40" y="24"/>
                        <a:pt x="40" y="24"/>
                      </a:cubicBezTo>
                      <a:cubicBezTo>
                        <a:pt x="40" y="24"/>
                        <a:pt x="40" y="24"/>
                        <a:pt x="40" y="25"/>
                      </a:cubicBezTo>
                      <a:cubicBezTo>
                        <a:pt x="40" y="25"/>
                        <a:pt x="40" y="26"/>
                        <a:pt x="40" y="26"/>
                      </a:cubicBezTo>
                      <a:cubicBezTo>
                        <a:pt x="40" y="27"/>
                        <a:pt x="40" y="27"/>
                        <a:pt x="41" y="27"/>
                      </a:cubicBezTo>
                      <a:cubicBezTo>
                        <a:pt x="42" y="28"/>
                        <a:pt x="43" y="28"/>
                        <a:pt x="44" y="29"/>
                      </a:cubicBezTo>
                      <a:cubicBezTo>
                        <a:pt x="45" y="29"/>
                        <a:pt x="45" y="29"/>
                        <a:pt x="45" y="29"/>
                      </a:cubicBezTo>
                      <a:cubicBezTo>
                        <a:pt x="45" y="29"/>
                        <a:pt x="46" y="28"/>
                        <a:pt x="46" y="28"/>
                      </a:cubicBezTo>
                      <a:cubicBezTo>
                        <a:pt x="46" y="28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7" y="27"/>
                        <a:pt x="47" y="27"/>
                      </a:cubicBezTo>
                      <a:cubicBezTo>
                        <a:pt x="47" y="27"/>
                        <a:pt x="48" y="28"/>
                        <a:pt x="48" y="28"/>
                      </a:cubicBezTo>
                      <a:cubicBezTo>
                        <a:pt x="48" y="28"/>
                        <a:pt x="49" y="29"/>
                        <a:pt x="49" y="29"/>
                      </a:cubicBezTo>
                      <a:cubicBezTo>
                        <a:pt x="49" y="29"/>
                        <a:pt x="49" y="29"/>
                        <a:pt x="50" y="29"/>
                      </a:cubicBezTo>
                      <a:cubicBezTo>
                        <a:pt x="51" y="28"/>
                        <a:pt x="52" y="28"/>
                        <a:pt x="53" y="27"/>
                      </a:cubicBezTo>
                      <a:cubicBezTo>
                        <a:pt x="54" y="27"/>
                        <a:pt x="54" y="27"/>
                        <a:pt x="54" y="26"/>
                      </a:cubicBezTo>
                      <a:cubicBezTo>
                        <a:pt x="55" y="26"/>
                        <a:pt x="54" y="25"/>
                        <a:pt x="54" y="25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4" y="24"/>
                      </a:cubicBezTo>
                      <a:cubicBezTo>
                        <a:pt x="54" y="24"/>
                        <a:pt x="54" y="24"/>
                        <a:pt x="55" y="24"/>
                      </a:cubicBezTo>
                      <a:cubicBezTo>
                        <a:pt x="55" y="25"/>
                        <a:pt x="55" y="25"/>
                        <a:pt x="56" y="25"/>
                      </a:cubicBezTo>
                      <a:cubicBezTo>
                        <a:pt x="56" y="25"/>
                        <a:pt x="56" y="25"/>
                        <a:pt x="56" y="25"/>
                      </a:cubicBezTo>
                      <a:cubicBezTo>
                        <a:pt x="57" y="25"/>
                        <a:pt x="57" y="25"/>
                        <a:pt x="57" y="24"/>
                      </a:cubicBezTo>
                      <a:cubicBezTo>
                        <a:pt x="58" y="23"/>
                        <a:pt x="59" y="22"/>
                        <a:pt x="60" y="21"/>
                      </a:cubicBezTo>
                      <a:cubicBezTo>
                        <a:pt x="60" y="21"/>
                        <a:pt x="60" y="20"/>
                        <a:pt x="60" y="20"/>
                      </a:cubicBezTo>
                      <a:cubicBezTo>
                        <a:pt x="60" y="19"/>
                        <a:pt x="59" y="19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59" y="18"/>
                        <a:pt x="59" y="18"/>
                        <a:pt x="59" y="18"/>
                      </a:cubicBezTo>
                      <a:cubicBezTo>
                        <a:pt x="60" y="18"/>
                        <a:pt x="60" y="18"/>
                        <a:pt x="60" y="18"/>
                      </a:cubicBezTo>
                      <a:cubicBezTo>
                        <a:pt x="61" y="17"/>
                        <a:pt x="61" y="17"/>
                        <a:pt x="61" y="16"/>
                      </a:cubicBezTo>
                      <a:cubicBezTo>
                        <a:pt x="61" y="16"/>
                        <a:pt x="62" y="15"/>
                        <a:pt x="62" y="14"/>
                      </a:cubicBezTo>
                      <a:cubicBezTo>
                        <a:pt x="62" y="14"/>
                        <a:pt x="61" y="13"/>
                        <a:pt x="61" y="12"/>
                      </a:cubicBezTo>
                      <a:close/>
                      <a:moveTo>
                        <a:pt x="58" y="15"/>
                      </a:moveTo>
                      <a:cubicBezTo>
                        <a:pt x="57" y="15"/>
                        <a:pt x="56" y="16"/>
                        <a:pt x="56" y="17"/>
                      </a:cubicBezTo>
                      <a:cubicBezTo>
                        <a:pt x="55" y="18"/>
                        <a:pt x="56" y="20"/>
                        <a:pt x="57" y="21"/>
                      </a:cubicBezTo>
                      <a:cubicBezTo>
                        <a:pt x="56" y="21"/>
                        <a:pt x="56" y="21"/>
                        <a:pt x="56" y="22"/>
                      </a:cubicBezTo>
                      <a:cubicBezTo>
                        <a:pt x="55" y="21"/>
                        <a:pt x="53" y="21"/>
                        <a:pt x="52" y="22"/>
                      </a:cubicBezTo>
                      <a:cubicBezTo>
                        <a:pt x="51" y="23"/>
                        <a:pt x="51" y="24"/>
                        <a:pt x="51" y="25"/>
                      </a:cubicBezTo>
                      <a:cubicBezTo>
                        <a:pt x="51" y="25"/>
                        <a:pt x="50" y="25"/>
                        <a:pt x="50" y="25"/>
                      </a:cubicBezTo>
                      <a:cubicBezTo>
                        <a:pt x="49" y="24"/>
                        <a:pt x="48" y="24"/>
                        <a:pt x="47" y="24"/>
                      </a:cubicBezTo>
                      <a:cubicBezTo>
                        <a:pt x="46" y="24"/>
                        <a:pt x="45" y="24"/>
                        <a:pt x="44" y="25"/>
                      </a:cubicBezTo>
                      <a:cubicBezTo>
                        <a:pt x="44" y="25"/>
                        <a:pt x="43" y="25"/>
                        <a:pt x="43" y="25"/>
                      </a:cubicBezTo>
                      <a:cubicBezTo>
                        <a:pt x="43" y="24"/>
                        <a:pt x="43" y="23"/>
                        <a:pt x="42" y="22"/>
                      </a:cubicBezTo>
                      <a:cubicBezTo>
                        <a:pt x="41" y="21"/>
                        <a:pt x="39" y="21"/>
                        <a:pt x="38" y="22"/>
                      </a:cubicBezTo>
                      <a:cubicBezTo>
                        <a:pt x="38" y="21"/>
                        <a:pt x="38" y="21"/>
                        <a:pt x="37" y="21"/>
                      </a:cubicBezTo>
                      <a:cubicBezTo>
                        <a:pt x="38" y="20"/>
                        <a:pt x="39" y="18"/>
                        <a:pt x="38" y="17"/>
                      </a:cubicBezTo>
                      <a:cubicBezTo>
                        <a:pt x="38" y="16"/>
                        <a:pt x="37" y="15"/>
                        <a:pt x="36" y="15"/>
                      </a:cubicBezTo>
                      <a:cubicBezTo>
                        <a:pt x="36" y="15"/>
                        <a:pt x="36" y="15"/>
                        <a:pt x="36" y="14"/>
                      </a:cubicBez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37" y="14"/>
                        <a:pt x="38" y="13"/>
                        <a:pt x="38" y="11"/>
                      </a:cubicBezTo>
                      <a:cubicBezTo>
                        <a:pt x="39" y="10"/>
                        <a:pt x="38" y="9"/>
                        <a:pt x="37" y="8"/>
                      </a:cubicBezTo>
                      <a:cubicBezTo>
                        <a:pt x="38" y="8"/>
                        <a:pt x="38" y="7"/>
                        <a:pt x="38" y="7"/>
                      </a:cubicBezTo>
                      <a:cubicBezTo>
                        <a:pt x="39" y="8"/>
                        <a:pt x="41" y="8"/>
                        <a:pt x="42" y="7"/>
                      </a:cubicBezTo>
                      <a:cubicBezTo>
                        <a:pt x="43" y="6"/>
                        <a:pt x="43" y="5"/>
                        <a:pt x="43" y="4"/>
                      </a:cubicBezTo>
                      <a:cubicBezTo>
                        <a:pt x="43" y="3"/>
                        <a:pt x="44" y="3"/>
                        <a:pt x="44" y="3"/>
                      </a:cubicBezTo>
                      <a:cubicBezTo>
                        <a:pt x="45" y="4"/>
                        <a:pt x="46" y="5"/>
                        <a:pt x="47" y="5"/>
                      </a:cubicBezTo>
                      <a:cubicBezTo>
                        <a:pt x="48" y="5"/>
                        <a:pt x="49" y="4"/>
                        <a:pt x="50" y="3"/>
                      </a:cubicBezTo>
                      <a:cubicBezTo>
                        <a:pt x="50" y="3"/>
                        <a:pt x="51" y="3"/>
                        <a:pt x="51" y="4"/>
                      </a:cubicBezTo>
                      <a:cubicBezTo>
                        <a:pt x="51" y="5"/>
                        <a:pt x="51" y="6"/>
                        <a:pt x="52" y="7"/>
                      </a:cubicBezTo>
                      <a:cubicBezTo>
                        <a:pt x="53" y="8"/>
                        <a:pt x="55" y="8"/>
                        <a:pt x="56" y="7"/>
                      </a:cubicBezTo>
                      <a:cubicBezTo>
                        <a:pt x="56" y="7"/>
                        <a:pt x="56" y="8"/>
                        <a:pt x="57" y="8"/>
                      </a:cubicBezTo>
                      <a:cubicBezTo>
                        <a:pt x="56" y="9"/>
                        <a:pt x="55" y="10"/>
                        <a:pt x="56" y="11"/>
                      </a:cubicBezTo>
                      <a:cubicBezTo>
                        <a:pt x="56" y="13"/>
                        <a:pt x="57" y="14"/>
                        <a:pt x="58" y="14"/>
                      </a:cubicBezTo>
                      <a:cubicBezTo>
                        <a:pt x="58" y="14"/>
                        <a:pt x="59" y="14"/>
                        <a:pt x="59" y="14"/>
                      </a:cubicBezTo>
                      <a:cubicBezTo>
                        <a:pt x="59" y="15"/>
                        <a:pt x="58" y="15"/>
                        <a:pt x="58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6" name="任意多边形: 形状 135">
                  <a:extLst>
                    <a:ext uri="{FF2B5EF4-FFF2-40B4-BE49-F238E27FC236}">
                      <a16:creationId xmlns:a16="http://schemas.microsoft.com/office/drawing/2014/main" id="{7625FB01-032F-401A-AE68-C7A2C0F043A3}"/>
                    </a:ext>
                  </a:extLst>
                </p:cNvPr>
                <p:cNvSpPr/>
                <p:nvPr/>
              </p:nvSpPr>
              <p:spPr bwMode="auto">
                <a:xfrm>
                  <a:off x="7898208" y="3108918"/>
                  <a:ext cx="326982" cy="334958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7" name="任意多边形: 形状 136">
                  <a:extLst>
                    <a:ext uri="{FF2B5EF4-FFF2-40B4-BE49-F238E27FC236}">
                      <a16:creationId xmlns:a16="http://schemas.microsoft.com/office/drawing/2014/main" id="{BC246C7E-01B2-4394-A176-A70B1C291575}"/>
                    </a:ext>
                  </a:extLst>
                </p:cNvPr>
                <p:cNvSpPr/>
                <p:nvPr/>
              </p:nvSpPr>
              <p:spPr bwMode="auto">
                <a:xfrm>
                  <a:off x="4539545" y="4489686"/>
                  <a:ext cx="358312" cy="395062"/>
                </a:xfrm>
                <a:custGeom>
                  <a:avLst/>
                  <a:gdLst>
                    <a:gd name="T0" fmla="*/ 33 w 66"/>
                    <a:gd name="T1" fmla="*/ 0 h 73"/>
                    <a:gd name="T2" fmla="*/ 26 w 66"/>
                    <a:gd name="T3" fmla="*/ 6 h 73"/>
                    <a:gd name="T4" fmla="*/ 39 w 66"/>
                    <a:gd name="T5" fmla="*/ 7 h 73"/>
                    <a:gd name="T6" fmla="*/ 28 w 66"/>
                    <a:gd name="T7" fmla="*/ 5 h 73"/>
                    <a:gd name="T8" fmla="*/ 33 w 66"/>
                    <a:gd name="T9" fmla="*/ 1 h 73"/>
                    <a:gd name="T10" fmla="*/ 28 w 66"/>
                    <a:gd name="T11" fmla="*/ 5 h 73"/>
                    <a:gd name="T12" fmla="*/ 50 w 66"/>
                    <a:gd name="T13" fmla="*/ 13 h 73"/>
                    <a:gd name="T14" fmla="*/ 55 w 66"/>
                    <a:gd name="T15" fmla="*/ 15 h 73"/>
                    <a:gd name="T16" fmla="*/ 54 w 66"/>
                    <a:gd name="T17" fmla="*/ 8 h 73"/>
                    <a:gd name="T18" fmla="*/ 45 w 66"/>
                    <a:gd name="T19" fmla="*/ 8 h 73"/>
                    <a:gd name="T20" fmla="*/ 49 w 66"/>
                    <a:gd name="T21" fmla="*/ 11 h 73"/>
                    <a:gd name="T22" fmla="*/ 33 w 66"/>
                    <a:gd name="T23" fmla="*/ 7 h 73"/>
                    <a:gd name="T24" fmla="*/ 17 w 66"/>
                    <a:gd name="T25" fmla="*/ 12 h 73"/>
                    <a:gd name="T26" fmla="*/ 21 w 66"/>
                    <a:gd name="T27" fmla="*/ 8 h 73"/>
                    <a:gd name="T28" fmla="*/ 14 w 66"/>
                    <a:gd name="T29" fmla="*/ 6 h 73"/>
                    <a:gd name="T30" fmla="*/ 10 w 66"/>
                    <a:gd name="T31" fmla="*/ 15 h 73"/>
                    <a:gd name="T32" fmla="*/ 15 w 66"/>
                    <a:gd name="T33" fmla="*/ 12 h 73"/>
                    <a:gd name="T34" fmla="*/ 15 w 66"/>
                    <a:gd name="T35" fmla="*/ 13 h 73"/>
                    <a:gd name="T36" fmla="*/ 0 w 66"/>
                    <a:gd name="T37" fmla="*/ 35 h 73"/>
                    <a:gd name="T38" fmla="*/ 4 w 66"/>
                    <a:gd name="T39" fmla="*/ 43 h 73"/>
                    <a:gd name="T40" fmla="*/ 14 w 66"/>
                    <a:gd name="T41" fmla="*/ 60 h 73"/>
                    <a:gd name="T42" fmla="*/ 11 w 66"/>
                    <a:gd name="T43" fmla="*/ 68 h 73"/>
                    <a:gd name="T44" fmla="*/ 12 w 66"/>
                    <a:gd name="T45" fmla="*/ 73 h 73"/>
                    <a:gd name="T46" fmla="*/ 15 w 66"/>
                    <a:gd name="T47" fmla="*/ 70 h 73"/>
                    <a:gd name="T48" fmla="*/ 20 w 66"/>
                    <a:gd name="T49" fmla="*/ 63 h 73"/>
                    <a:gd name="T50" fmla="*/ 46 w 66"/>
                    <a:gd name="T51" fmla="*/ 63 h 73"/>
                    <a:gd name="T52" fmla="*/ 52 w 66"/>
                    <a:gd name="T53" fmla="*/ 70 h 73"/>
                    <a:gd name="T54" fmla="*/ 57 w 66"/>
                    <a:gd name="T55" fmla="*/ 71 h 73"/>
                    <a:gd name="T56" fmla="*/ 56 w 66"/>
                    <a:gd name="T57" fmla="*/ 67 h 73"/>
                    <a:gd name="T58" fmla="*/ 62 w 66"/>
                    <a:gd name="T59" fmla="*/ 43 h 73"/>
                    <a:gd name="T60" fmla="*/ 66 w 66"/>
                    <a:gd name="T61" fmla="*/ 35 h 73"/>
                    <a:gd name="T62" fmla="*/ 2 w 66"/>
                    <a:gd name="T63" fmla="*/ 38 h 73"/>
                    <a:gd name="T64" fmla="*/ 3 w 66"/>
                    <a:gd name="T65" fmla="*/ 32 h 73"/>
                    <a:gd name="T66" fmla="*/ 3 w 66"/>
                    <a:gd name="T67" fmla="*/ 41 h 73"/>
                    <a:gd name="T68" fmla="*/ 47 w 66"/>
                    <a:gd name="T69" fmla="*/ 8 h 73"/>
                    <a:gd name="T70" fmla="*/ 53 w 66"/>
                    <a:gd name="T71" fmla="*/ 10 h 73"/>
                    <a:gd name="T72" fmla="*/ 47 w 66"/>
                    <a:gd name="T73" fmla="*/ 8 h 73"/>
                    <a:gd name="T74" fmla="*/ 12 w 66"/>
                    <a:gd name="T75" fmla="*/ 10 h 73"/>
                    <a:gd name="T76" fmla="*/ 17 w 66"/>
                    <a:gd name="T77" fmla="*/ 7 h 73"/>
                    <a:gd name="T78" fmla="*/ 11 w 66"/>
                    <a:gd name="T79" fmla="*/ 13 h 73"/>
                    <a:gd name="T80" fmla="*/ 12 w 66"/>
                    <a:gd name="T81" fmla="*/ 66 h 73"/>
                    <a:gd name="T82" fmla="*/ 17 w 66"/>
                    <a:gd name="T83" fmla="*/ 64 h 73"/>
                    <a:gd name="T84" fmla="*/ 53 w 66"/>
                    <a:gd name="T85" fmla="*/ 66 h 73"/>
                    <a:gd name="T86" fmla="*/ 48 w 66"/>
                    <a:gd name="T87" fmla="*/ 64 h 73"/>
                    <a:gd name="T88" fmla="*/ 53 w 66"/>
                    <a:gd name="T89" fmla="*/ 66 h 73"/>
                    <a:gd name="T90" fmla="*/ 6 w 66"/>
                    <a:gd name="T91" fmla="*/ 37 h 73"/>
                    <a:gd name="T92" fmla="*/ 60 w 66"/>
                    <a:gd name="T93" fmla="*/ 37 h 73"/>
                    <a:gd name="T94" fmla="*/ 64 w 66"/>
                    <a:gd name="T95" fmla="*/ 38 h 73"/>
                    <a:gd name="T96" fmla="*/ 62 w 66"/>
                    <a:gd name="T97" fmla="*/ 37 h 73"/>
                    <a:gd name="T98" fmla="*/ 64 w 66"/>
                    <a:gd name="T99" fmla="*/ 35 h 73"/>
                    <a:gd name="T100" fmla="*/ 33 w 66"/>
                    <a:gd name="T101" fmla="*/ 12 h 73"/>
                    <a:gd name="T102" fmla="*/ 33 w 66"/>
                    <a:gd name="T103" fmla="*/ 61 h 73"/>
                    <a:gd name="T104" fmla="*/ 33 w 66"/>
                    <a:gd name="T105" fmla="*/ 12 h 73"/>
                    <a:gd name="T106" fmla="*/ 10 w 66"/>
                    <a:gd name="T107" fmla="*/ 37 h 73"/>
                    <a:gd name="T108" fmla="*/ 56 w 66"/>
                    <a:gd name="T109" fmla="*/ 37 h 73"/>
                    <a:gd name="T110" fmla="*/ 36 w 66"/>
                    <a:gd name="T111" fmla="*/ 35 h 73"/>
                    <a:gd name="T112" fmla="*/ 49 w 66"/>
                    <a:gd name="T113" fmla="*/ 38 h 73"/>
                    <a:gd name="T114" fmla="*/ 32 w 66"/>
                    <a:gd name="T115" fmla="*/ 40 h 73"/>
                    <a:gd name="T116" fmla="*/ 31 w 66"/>
                    <a:gd name="T117" fmla="*/ 32 h 73"/>
                    <a:gd name="T118" fmla="*/ 34 w 66"/>
                    <a:gd name="T119" fmla="*/ 16 h 73"/>
                    <a:gd name="T120" fmla="*/ 36 w 66"/>
                    <a:gd name="T121" fmla="*/ 35 h 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6" h="73">
                      <a:moveTo>
                        <a:pt x="39" y="6"/>
                      </a:moveTo>
                      <a:cubicBezTo>
                        <a:pt x="39" y="2"/>
                        <a:pt x="37" y="0"/>
                        <a:pt x="33" y="0"/>
                      </a:cubicBezTo>
                      <a:cubicBezTo>
                        <a:pt x="32" y="0"/>
                        <a:pt x="32" y="0"/>
                        <a:pt x="32" y="0"/>
                      </a:cubicBezTo>
                      <a:cubicBezTo>
                        <a:pt x="29" y="0"/>
                        <a:pt x="26" y="2"/>
                        <a:pt x="26" y="6"/>
                      </a:cubicBezTo>
                      <a:cubicBezTo>
                        <a:pt x="26" y="7"/>
                        <a:pt x="26" y="7"/>
                        <a:pt x="26" y="7"/>
                      </a:cubicBezTo>
                      <a:cubicBezTo>
                        <a:pt x="39" y="7"/>
                        <a:pt x="39" y="7"/>
                        <a:pt x="39" y="7"/>
                      </a:cubicBezTo>
                      <a:lnTo>
                        <a:pt x="39" y="6"/>
                      </a:lnTo>
                      <a:close/>
                      <a:moveTo>
                        <a:pt x="28" y="5"/>
                      </a:moveTo>
                      <a:cubicBezTo>
                        <a:pt x="28" y="3"/>
                        <a:pt x="30" y="1"/>
                        <a:pt x="32" y="1"/>
                      </a:cubicBezTo>
                      <a:cubicBezTo>
                        <a:pt x="33" y="1"/>
                        <a:pt x="33" y="1"/>
                        <a:pt x="33" y="1"/>
                      </a:cubicBezTo>
                      <a:cubicBezTo>
                        <a:pt x="35" y="1"/>
                        <a:pt x="37" y="3"/>
                        <a:pt x="38" y="5"/>
                      </a:cubicBezTo>
                      <a:lnTo>
                        <a:pt x="28" y="5"/>
                      </a:lnTo>
                      <a:close/>
                      <a:moveTo>
                        <a:pt x="62" y="30"/>
                      </a:moveTo>
                      <a:cubicBezTo>
                        <a:pt x="60" y="23"/>
                        <a:pt x="56" y="17"/>
                        <a:pt x="50" y="13"/>
                      </a:cubicBezTo>
                      <a:cubicBezTo>
                        <a:pt x="50" y="12"/>
                        <a:pt x="50" y="12"/>
                        <a:pt x="50" y="12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5" y="15"/>
                        <a:pt x="55" y="15"/>
                        <a:pt x="55" y="15"/>
                      </a:cubicBezTo>
                      <a:cubicBezTo>
                        <a:pt x="57" y="13"/>
                        <a:pt x="56" y="10"/>
                        <a:pt x="54" y="8"/>
                      </a:cubicBezTo>
                      <a:cubicBezTo>
                        <a:pt x="51" y="6"/>
                        <a:pt x="51" y="6"/>
                        <a:pt x="51" y="6"/>
                      </a:cubicBezTo>
                      <a:cubicBezTo>
                        <a:pt x="49" y="5"/>
                        <a:pt x="46" y="6"/>
                        <a:pt x="45" y="8"/>
                      </a:cubicBezTo>
                      <a:cubicBezTo>
                        <a:pt x="44" y="8"/>
                        <a:pt x="44" y="8"/>
                        <a:pt x="44" y="8"/>
                      </a:cubicBezTo>
                      <a:cubicBezTo>
                        <a:pt x="49" y="11"/>
                        <a:pt x="49" y="11"/>
                        <a:pt x="49" y="11"/>
                      </a:cubicBezTo>
                      <a:cubicBezTo>
                        <a:pt x="49" y="12"/>
                        <a:pt x="49" y="12"/>
                        <a:pt x="49" y="12"/>
                      </a:cubicBezTo>
                      <a:cubicBezTo>
                        <a:pt x="44" y="9"/>
                        <a:pt x="39" y="7"/>
                        <a:pt x="33" y="7"/>
                      </a:cubicBezTo>
                      <a:cubicBezTo>
                        <a:pt x="27" y="7"/>
                        <a:pt x="21" y="9"/>
                        <a:pt x="17" y="12"/>
                      </a:cubicBezTo>
                      <a:cubicBezTo>
                        <a:pt x="17" y="12"/>
                        <a:pt x="17" y="12"/>
                        <a:pt x="17" y="12"/>
                      </a:cubicBezTo>
                      <a:cubicBezTo>
                        <a:pt x="17" y="11"/>
                        <a:pt x="17" y="11"/>
                        <a:pt x="17" y="11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1" y="8"/>
                        <a:pt x="21" y="8"/>
                        <a:pt x="21" y="8"/>
                      </a:cubicBezTo>
                      <a:cubicBezTo>
                        <a:pt x="20" y="6"/>
                        <a:pt x="17" y="5"/>
                        <a:pt x="14" y="6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9" y="10"/>
                        <a:pt x="9" y="13"/>
                        <a:pt x="10" y="15"/>
                      </a:cubicBezTo>
                      <a:cubicBezTo>
                        <a:pt x="11" y="15"/>
                        <a:pt x="11" y="15"/>
                        <a:pt x="11" y="15"/>
                      </a:cubicBezTo>
                      <a:cubicBezTo>
                        <a:pt x="15" y="12"/>
                        <a:pt x="15" y="12"/>
                        <a:pt x="15" y="12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5" y="13"/>
                        <a:pt x="15" y="13"/>
                        <a:pt x="15" y="13"/>
                      </a:cubicBezTo>
                      <a:cubicBezTo>
                        <a:pt x="10" y="17"/>
                        <a:pt x="5" y="23"/>
                        <a:pt x="4" y="30"/>
                      </a:cubicBezTo>
                      <a:cubicBezTo>
                        <a:pt x="2" y="31"/>
                        <a:pt x="0" y="33"/>
                        <a:pt x="0" y="35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0" y="41"/>
                        <a:pt x="2" y="43"/>
                        <a:pt x="4" y="43"/>
                      </a:cubicBezTo>
                      <a:cubicBezTo>
                        <a:pt x="5" y="50"/>
                        <a:pt x="9" y="56"/>
                        <a:pt x="14" y="60"/>
                      </a:cubicBezTo>
                      <a:cubicBezTo>
                        <a:pt x="14" y="60"/>
                        <a:pt x="14" y="60"/>
                        <a:pt x="14" y="60"/>
                      </a:cubicBezTo>
                      <a:cubicBezTo>
                        <a:pt x="10" y="67"/>
                        <a:pt x="10" y="67"/>
                        <a:pt x="10" y="67"/>
                      </a:cubicBezTo>
                      <a:cubicBezTo>
                        <a:pt x="11" y="68"/>
                        <a:pt x="11" y="68"/>
                        <a:pt x="11" y="68"/>
                      </a:cubicBezTo>
                      <a:cubicBezTo>
                        <a:pt x="9" y="71"/>
                        <a:pt x="9" y="71"/>
                        <a:pt x="9" y="71"/>
                      </a:cubicBezTo>
                      <a:cubicBezTo>
                        <a:pt x="12" y="73"/>
                        <a:pt x="12" y="73"/>
                        <a:pt x="12" y="73"/>
                      </a:cubicBezTo>
                      <a:cubicBezTo>
                        <a:pt x="14" y="70"/>
                        <a:pt x="14" y="70"/>
                        <a:pt x="14" y="70"/>
                      </a:cubicBezTo>
                      <a:cubicBezTo>
                        <a:pt x="15" y="70"/>
                        <a:pt x="15" y="70"/>
                        <a:pt x="15" y="70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0" y="63"/>
                        <a:pt x="20" y="63"/>
                        <a:pt x="20" y="63"/>
                      </a:cubicBezTo>
                      <a:cubicBezTo>
                        <a:pt x="24" y="65"/>
                        <a:pt x="28" y="66"/>
                        <a:pt x="33" y="66"/>
                      </a:cubicBezTo>
                      <a:cubicBezTo>
                        <a:pt x="37" y="66"/>
                        <a:pt x="42" y="65"/>
                        <a:pt x="46" y="63"/>
                      </a:cubicBezTo>
                      <a:cubicBezTo>
                        <a:pt x="50" y="70"/>
                        <a:pt x="50" y="70"/>
                        <a:pt x="50" y="70"/>
                      </a:cubicBezTo>
                      <a:cubicBezTo>
                        <a:pt x="52" y="70"/>
                        <a:pt x="52" y="70"/>
                        <a:pt x="52" y="70"/>
                      </a:cubicBezTo>
                      <a:cubicBezTo>
                        <a:pt x="54" y="73"/>
                        <a:pt x="54" y="73"/>
                        <a:pt x="54" y="73"/>
                      </a:cubicBezTo>
                      <a:cubicBezTo>
                        <a:pt x="57" y="71"/>
                        <a:pt x="57" y="71"/>
                        <a:pt x="57" y="71"/>
                      </a:cubicBezTo>
                      <a:cubicBezTo>
                        <a:pt x="55" y="68"/>
                        <a:pt x="55" y="68"/>
                        <a:pt x="55" y="68"/>
                      </a:cubicBezTo>
                      <a:cubicBezTo>
                        <a:pt x="56" y="67"/>
                        <a:pt x="56" y="67"/>
                        <a:pt x="56" y="67"/>
                      </a:cubicBezTo>
                      <a:cubicBezTo>
                        <a:pt x="51" y="60"/>
                        <a:pt x="51" y="60"/>
                        <a:pt x="51" y="60"/>
                      </a:cubicBezTo>
                      <a:cubicBezTo>
                        <a:pt x="57" y="56"/>
                        <a:pt x="60" y="50"/>
                        <a:pt x="62" y="43"/>
                      </a:cubicBezTo>
                      <a:cubicBezTo>
                        <a:pt x="64" y="43"/>
                        <a:pt x="66" y="41"/>
                        <a:pt x="66" y="38"/>
                      </a:cubicBezTo>
                      <a:cubicBezTo>
                        <a:pt x="66" y="35"/>
                        <a:pt x="66" y="35"/>
                        <a:pt x="66" y="35"/>
                      </a:cubicBezTo>
                      <a:cubicBezTo>
                        <a:pt x="66" y="33"/>
                        <a:pt x="64" y="31"/>
                        <a:pt x="62" y="30"/>
                      </a:cubicBezTo>
                      <a:close/>
                      <a:moveTo>
                        <a:pt x="2" y="38"/>
                      </a:moveTo>
                      <a:cubicBezTo>
                        <a:pt x="2" y="35"/>
                        <a:pt x="2" y="35"/>
                        <a:pt x="2" y="35"/>
                      </a:cubicBezTo>
                      <a:cubicBezTo>
                        <a:pt x="2" y="34"/>
                        <a:pt x="2" y="33"/>
                        <a:pt x="3" y="32"/>
                      </a:cubicBezTo>
                      <a:cubicBezTo>
                        <a:pt x="3" y="34"/>
                        <a:pt x="3" y="35"/>
                        <a:pt x="3" y="37"/>
                      </a:cubicBezTo>
                      <a:cubicBezTo>
                        <a:pt x="3" y="38"/>
                        <a:pt x="3" y="40"/>
                        <a:pt x="3" y="41"/>
                      </a:cubicBezTo>
                      <a:cubicBezTo>
                        <a:pt x="2" y="41"/>
                        <a:pt x="2" y="40"/>
                        <a:pt x="2" y="38"/>
                      </a:cubicBezTo>
                      <a:close/>
                      <a:moveTo>
                        <a:pt x="47" y="8"/>
                      </a:moveTo>
                      <a:cubicBezTo>
                        <a:pt x="48" y="7"/>
                        <a:pt x="49" y="7"/>
                        <a:pt x="50" y="8"/>
                      </a:cubicBezTo>
                      <a:cubicBezTo>
                        <a:pt x="53" y="10"/>
                        <a:pt x="53" y="10"/>
                        <a:pt x="53" y="10"/>
                      </a:cubicBezTo>
                      <a:cubicBezTo>
                        <a:pt x="54" y="10"/>
                        <a:pt x="55" y="12"/>
                        <a:pt x="54" y="13"/>
                      </a:cubicBezTo>
                      <a:lnTo>
                        <a:pt x="47" y="8"/>
                      </a:lnTo>
                      <a:close/>
                      <a:moveTo>
                        <a:pt x="11" y="13"/>
                      </a:moveTo>
                      <a:cubicBezTo>
                        <a:pt x="11" y="12"/>
                        <a:pt x="11" y="10"/>
                        <a:pt x="12" y="10"/>
                      </a:cubicBezTo>
                      <a:cubicBezTo>
                        <a:pt x="15" y="8"/>
                        <a:pt x="15" y="8"/>
                        <a:pt x="15" y="8"/>
                      </a:cubicBezTo>
                      <a:cubicBezTo>
                        <a:pt x="16" y="7"/>
                        <a:pt x="16" y="7"/>
                        <a:pt x="17" y="7"/>
                      </a:cubicBezTo>
                      <a:cubicBezTo>
                        <a:pt x="18" y="7"/>
                        <a:pt x="18" y="8"/>
                        <a:pt x="19" y="8"/>
                      </a:cubicBezTo>
                      <a:lnTo>
                        <a:pt x="11" y="13"/>
                      </a:lnTo>
                      <a:close/>
                      <a:moveTo>
                        <a:pt x="15" y="68"/>
                      </a:moveTo>
                      <a:cubicBezTo>
                        <a:pt x="12" y="66"/>
                        <a:pt x="12" y="66"/>
                        <a:pt x="12" y="66"/>
                      </a:cubicBezTo>
                      <a:cubicBezTo>
                        <a:pt x="15" y="62"/>
                        <a:pt x="15" y="62"/>
                        <a:pt x="15" y="62"/>
                      </a:cubicBezTo>
                      <a:cubicBezTo>
                        <a:pt x="17" y="64"/>
                        <a:pt x="17" y="64"/>
                        <a:pt x="17" y="64"/>
                      </a:cubicBezTo>
                      <a:lnTo>
                        <a:pt x="15" y="68"/>
                      </a:lnTo>
                      <a:close/>
                      <a:moveTo>
                        <a:pt x="53" y="66"/>
                      </a:move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48" y="64"/>
                        <a:pt x="48" y="64"/>
                        <a:pt x="48" y="64"/>
                      </a:cubicBezTo>
                      <a:cubicBezTo>
                        <a:pt x="50" y="62"/>
                        <a:pt x="50" y="62"/>
                        <a:pt x="50" y="62"/>
                      </a:cubicBezTo>
                      <a:lnTo>
                        <a:pt x="53" y="66"/>
                      </a:lnTo>
                      <a:close/>
                      <a:moveTo>
                        <a:pt x="33" y="64"/>
                      </a:moveTo>
                      <a:cubicBezTo>
                        <a:pt x="18" y="64"/>
                        <a:pt x="6" y="52"/>
                        <a:pt x="6" y="37"/>
                      </a:cubicBezTo>
                      <a:cubicBezTo>
                        <a:pt x="6" y="22"/>
                        <a:pt x="18" y="10"/>
                        <a:pt x="33" y="10"/>
                      </a:cubicBezTo>
                      <a:cubicBezTo>
                        <a:pt x="48" y="10"/>
                        <a:pt x="60" y="22"/>
                        <a:pt x="60" y="37"/>
                      </a:cubicBezTo>
                      <a:cubicBezTo>
                        <a:pt x="60" y="52"/>
                        <a:pt x="48" y="64"/>
                        <a:pt x="33" y="64"/>
                      </a:cubicBezTo>
                      <a:close/>
                      <a:moveTo>
                        <a:pt x="64" y="38"/>
                      </a:moveTo>
                      <a:cubicBezTo>
                        <a:pt x="64" y="40"/>
                        <a:pt x="63" y="41"/>
                        <a:pt x="62" y="41"/>
                      </a:cubicBezTo>
                      <a:cubicBezTo>
                        <a:pt x="62" y="40"/>
                        <a:pt x="62" y="38"/>
                        <a:pt x="62" y="37"/>
                      </a:cubicBezTo>
                      <a:cubicBezTo>
                        <a:pt x="62" y="35"/>
                        <a:pt x="62" y="34"/>
                        <a:pt x="62" y="32"/>
                      </a:cubicBezTo>
                      <a:cubicBezTo>
                        <a:pt x="63" y="33"/>
                        <a:pt x="64" y="34"/>
                        <a:pt x="64" y="35"/>
                      </a:cubicBezTo>
                      <a:lnTo>
                        <a:pt x="64" y="38"/>
                      </a:lnTo>
                      <a:close/>
                      <a:moveTo>
                        <a:pt x="33" y="12"/>
                      </a:moveTo>
                      <a:cubicBezTo>
                        <a:pt x="19" y="12"/>
                        <a:pt x="8" y="23"/>
                        <a:pt x="8" y="37"/>
                      </a:cubicBezTo>
                      <a:cubicBezTo>
                        <a:pt x="8" y="50"/>
                        <a:pt x="19" y="61"/>
                        <a:pt x="33" y="61"/>
                      </a:cubicBezTo>
                      <a:cubicBezTo>
                        <a:pt x="46" y="61"/>
                        <a:pt x="57" y="50"/>
                        <a:pt x="57" y="37"/>
                      </a:cubicBezTo>
                      <a:cubicBezTo>
                        <a:pt x="57" y="23"/>
                        <a:pt x="46" y="12"/>
                        <a:pt x="33" y="12"/>
                      </a:cubicBezTo>
                      <a:close/>
                      <a:moveTo>
                        <a:pt x="33" y="60"/>
                      </a:moveTo>
                      <a:cubicBezTo>
                        <a:pt x="20" y="60"/>
                        <a:pt x="10" y="49"/>
                        <a:pt x="10" y="37"/>
                      </a:cubicBezTo>
                      <a:cubicBezTo>
                        <a:pt x="10" y="24"/>
                        <a:pt x="20" y="14"/>
                        <a:pt x="33" y="14"/>
                      </a:cubicBezTo>
                      <a:cubicBezTo>
                        <a:pt x="45" y="14"/>
                        <a:pt x="56" y="24"/>
                        <a:pt x="56" y="37"/>
                      </a:cubicBezTo>
                      <a:cubicBezTo>
                        <a:pt x="56" y="49"/>
                        <a:pt x="45" y="60"/>
                        <a:pt x="33" y="60"/>
                      </a:cubicBezTo>
                      <a:close/>
                      <a:moveTo>
                        <a:pt x="36" y="35"/>
                      </a:moveTo>
                      <a:cubicBezTo>
                        <a:pt x="49" y="35"/>
                        <a:pt x="49" y="35"/>
                        <a:pt x="49" y="35"/>
                      </a:cubicBezTo>
                      <a:cubicBezTo>
                        <a:pt x="49" y="38"/>
                        <a:pt x="49" y="38"/>
                        <a:pt x="49" y="38"/>
                      </a:cubicBezTo>
                      <a:cubicBezTo>
                        <a:pt x="36" y="38"/>
                        <a:pt x="36" y="38"/>
                        <a:pt x="36" y="38"/>
                      </a:cubicBezTo>
                      <a:cubicBezTo>
                        <a:pt x="35" y="40"/>
                        <a:pt x="34" y="40"/>
                        <a:pt x="32" y="40"/>
                      </a:cubicBezTo>
                      <a:cubicBezTo>
                        <a:pt x="30" y="40"/>
                        <a:pt x="28" y="39"/>
                        <a:pt x="28" y="36"/>
                      </a:cubicBezTo>
                      <a:cubicBezTo>
                        <a:pt x="28" y="34"/>
                        <a:pt x="29" y="33"/>
                        <a:pt x="31" y="32"/>
                      </a:cubicBezTo>
                      <a:cubicBezTo>
                        <a:pt x="31" y="16"/>
                        <a:pt x="31" y="16"/>
                        <a:pt x="31" y="16"/>
                      </a:cubicBezTo>
                      <a:cubicBezTo>
                        <a:pt x="34" y="16"/>
                        <a:pt x="34" y="16"/>
                        <a:pt x="34" y="16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5" y="33"/>
                        <a:pt x="36" y="34"/>
                        <a:pt x="36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8" name="任意多边形: 形状 137">
                  <a:extLst>
                    <a:ext uri="{FF2B5EF4-FFF2-40B4-BE49-F238E27FC236}">
                      <a16:creationId xmlns:a16="http://schemas.microsoft.com/office/drawing/2014/main" id="{F30E0241-1D7F-4BCA-BE9C-883EE8E09A64}"/>
                    </a:ext>
                  </a:extLst>
                </p:cNvPr>
                <p:cNvSpPr/>
                <p:nvPr/>
              </p:nvSpPr>
              <p:spPr bwMode="auto">
                <a:xfrm>
                  <a:off x="4005090" y="4403507"/>
                  <a:ext cx="381281" cy="361892"/>
                </a:xfrm>
                <a:custGeom>
                  <a:avLst/>
                  <a:gdLst>
                    <a:gd name="T0" fmla="*/ 75 w 75"/>
                    <a:gd name="T1" fmla="*/ 27 h 71"/>
                    <a:gd name="T2" fmla="*/ 69 w 75"/>
                    <a:gd name="T3" fmla="*/ 14 h 71"/>
                    <a:gd name="T4" fmla="*/ 64 w 75"/>
                    <a:gd name="T5" fmla="*/ 0 h 71"/>
                    <a:gd name="T6" fmla="*/ 5 w 75"/>
                    <a:gd name="T7" fmla="*/ 11 h 71"/>
                    <a:gd name="T8" fmla="*/ 1 w 75"/>
                    <a:gd name="T9" fmla="*/ 26 h 71"/>
                    <a:gd name="T10" fmla="*/ 0 w 75"/>
                    <a:gd name="T11" fmla="*/ 31 h 71"/>
                    <a:gd name="T12" fmla="*/ 1 w 75"/>
                    <a:gd name="T13" fmla="*/ 65 h 71"/>
                    <a:gd name="T14" fmla="*/ 70 w 75"/>
                    <a:gd name="T15" fmla="*/ 71 h 71"/>
                    <a:gd name="T16" fmla="*/ 70 w 75"/>
                    <a:gd name="T17" fmla="*/ 61 h 71"/>
                    <a:gd name="T18" fmla="*/ 4 w 75"/>
                    <a:gd name="T19" fmla="*/ 26 h 71"/>
                    <a:gd name="T20" fmla="*/ 71 w 75"/>
                    <a:gd name="T21" fmla="*/ 26 h 71"/>
                    <a:gd name="T22" fmla="*/ 58 w 75"/>
                    <a:gd name="T23" fmla="*/ 33 h 71"/>
                    <a:gd name="T24" fmla="*/ 54 w 75"/>
                    <a:gd name="T25" fmla="*/ 28 h 71"/>
                    <a:gd name="T26" fmla="*/ 52 w 75"/>
                    <a:gd name="T27" fmla="*/ 31 h 71"/>
                    <a:gd name="T28" fmla="*/ 44 w 75"/>
                    <a:gd name="T29" fmla="*/ 31 h 71"/>
                    <a:gd name="T30" fmla="*/ 52 w 75"/>
                    <a:gd name="T31" fmla="*/ 31 h 71"/>
                    <a:gd name="T32" fmla="*/ 37 w 75"/>
                    <a:gd name="T33" fmla="*/ 33 h 71"/>
                    <a:gd name="T34" fmla="*/ 42 w 75"/>
                    <a:gd name="T35" fmla="*/ 28 h 71"/>
                    <a:gd name="T36" fmla="*/ 28 w 75"/>
                    <a:gd name="T37" fmla="*/ 33 h 71"/>
                    <a:gd name="T38" fmla="*/ 23 w 75"/>
                    <a:gd name="T39" fmla="*/ 28 h 71"/>
                    <a:gd name="T40" fmla="*/ 21 w 75"/>
                    <a:gd name="T41" fmla="*/ 28 h 71"/>
                    <a:gd name="T42" fmla="*/ 17 w 75"/>
                    <a:gd name="T43" fmla="*/ 33 h 71"/>
                    <a:gd name="T44" fmla="*/ 21 w 75"/>
                    <a:gd name="T45" fmla="*/ 28 h 71"/>
                    <a:gd name="T46" fmla="*/ 18 w 75"/>
                    <a:gd name="T47" fmla="*/ 35 h 71"/>
                    <a:gd name="T48" fmla="*/ 28 w 75"/>
                    <a:gd name="T49" fmla="*/ 35 h 71"/>
                    <a:gd name="T50" fmla="*/ 38 w 75"/>
                    <a:gd name="T51" fmla="*/ 35 h 71"/>
                    <a:gd name="T52" fmla="*/ 48 w 75"/>
                    <a:gd name="T53" fmla="*/ 35 h 71"/>
                    <a:gd name="T54" fmla="*/ 58 w 75"/>
                    <a:gd name="T55" fmla="*/ 35 h 71"/>
                    <a:gd name="T56" fmla="*/ 67 w 75"/>
                    <a:gd name="T57" fmla="*/ 62 h 71"/>
                    <a:gd name="T58" fmla="*/ 29 w 75"/>
                    <a:gd name="T59" fmla="*/ 40 h 71"/>
                    <a:gd name="T60" fmla="*/ 13 w 75"/>
                    <a:gd name="T61" fmla="*/ 62 h 71"/>
                    <a:gd name="T62" fmla="*/ 12 w 75"/>
                    <a:gd name="T63" fmla="*/ 33 h 71"/>
                    <a:gd name="T64" fmla="*/ 28 w 75"/>
                    <a:gd name="T65" fmla="*/ 42 h 71"/>
                    <a:gd name="T66" fmla="*/ 68 w 75"/>
                    <a:gd name="T67" fmla="*/ 33 h 71"/>
                    <a:gd name="T68" fmla="*/ 64 w 75"/>
                    <a:gd name="T69" fmla="*/ 28 h 71"/>
                    <a:gd name="T70" fmla="*/ 68 w 75"/>
                    <a:gd name="T71" fmla="*/ 33 h 71"/>
                    <a:gd name="T72" fmla="*/ 11 w 75"/>
                    <a:gd name="T73" fmla="*/ 14 h 71"/>
                    <a:gd name="T74" fmla="*/ 11 w 75"/>
                    <a:gd name="T75" fmla="*/ 3 h 71"/>
                    <a:gd name="T76" fmla="*/ 67 w 75"/>
                    <a:gd name="T77" fmla="*/ 11 h 71"/>
                    <a:gd name="T78" fmla="*/ 11 w 75"/>
                    <a:gd name="T79" fmla="*/ 31 h 71"/>
                    <a:gd name="T80" fmla="*/ 3 w 75"/>
                    <a:gd name="T81" fmla="*/ 31 h 71"/>
                    <a:gd name="T82" fmla="*/ 4 w 75"/>
                    <a:gd name="T83" fmla="*/ 65 h 71"/>
                    <a:gd name="T84" fmla="*/ 29 w 75"/>
                    <a:gd name="T85" fmla="*/ 64 h 71"/>
                    <a:gd name="T86" fmla="*/ 71 w 75"/>
                    <a:gd name="T87" fmla="*/ 67 h 71"/>
                    <a:gd name="T88" fmla="*/ 4 w 75"/>
                    <a:gd name="T89" fmla="*/ 67 h 71"/>
                    <a:gd name="T90" fmla="*/ 62 w 75"/>
                    <a:gd name="T91" fmla="*/ 56 h 71"/>
                    <a:gd name="T92" fmla="*/ 39 w 75"/>
                    <a:gd name="T93" fmla="*/ 40 h 71"/>
                    <a:gd name="T94" fmla="*/ 39 w 75"/>
                    <a:gd name="T95" fmla="*/ 57 h 71"/>
                    <a:gd name="T96" fmla="*/ 60 w 75"/>
                    <a:gd name="T97" fmla="*/ 55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5" h="71">
                      <a:moveTo>
                        <a:pt x="75" y="31"/>
                      </a:moveTo>
                      <a:cubicBezTo>
                        <a:pt x="75" y="28"/>
                        <a:pt x="75" y="28"/>
                        <a:pt x="75" y="28"/>
                      </a:cubicBezTo>
                      <a:cubicBezTo>
                        <a:pt x="75" y="27"/>
                        <a:pt x="75" y="27"/>
                        <a:pt x="75" y="27"/>
                      </a:cubicBezTo>
                      <a:cubicBezTo>
                        <a:pt x="75" y="27"/>
                        <a:pt x="75" y="26"/>
                        <a:pt x="75" y="26"/>
                      </a:cubicBezTo>
                      <a:cubicBezTo>
                        <a:pt x="70" y="14"/>
                        <a:pt x="70" y="14"/>
                        <a:pt x="70" y="14"/>
                      </a:cubicBezTo>
                      <a:cubicBezTo>
                        <a:pt x="70" y="14"/>
                        <a:pt x="69" y="14"/>
                        <a:pt x="69" y="14"/>
                      </a:cubicBezTo>
                      <a:cubicBezTo>
                        <a:pt x="70" y="13"/>
                        <a:pt x="70" y="12"/>
                        <a:pt x="70" y="11"/>
                      </a:cubicBezTo>
                      <a:cubicBezTo>
                        <a:pt x="70" y="5"/>
                        <a:pt x="70" y="5"/>
                        <a:pt x="70" y="5"/>
                      </a:cubicBezTo>
                      <a:cubicBezTo>
                        <a:pt x="70" y="2"/>
                        <a:pt x="67" y="0"/>
                        <a:pt x="64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8" y="0"/>
                        <a:pt x="5" y="2"/>
                        <a:pt x="5" y="5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5" y="12"/>
                        <a:pt x="5" y="13"/>
                        <a:pt x="6" y="14"/>
                      </a:cubicBezTo>
                      <a:cubicBezTo>
                        <a:pt x="6" y="14"/>
                        <a:pt x="6" y="14"/>
                        <a:pt x="5" y="14"/>
                      </a:cubicBezTo>
                      <a:cubicBezTo>
                        <a:pt x="1" y="26"/>
                        <a:pt x="1" y="26"/>
                        <a:pt x="1" y="26"/>
                      </a:cubicBezTo>
                      <a:cubicBezTo>
                        <a:pt x="0" y="26"/>
                        <a:pt x="0" y="27"/>
                        <a:pt x="0" y="27"/>
                      </a:cubicBezTo>
                      <a:cubicBezTo>
                        <a:pt x="0" y="27"/>
                        <a:pt x="0" y="27"/>
                        <a:pt x="0" y="28"/>
                      </a:cubicBezTo>
                      <a:cubicBezTo>
                        <a:pt x="0" y="31"/>
                        <a:pt x="0" y="31"/>
                        <a:pt x="0" y="31"/>
                      </a:cubicBezTo>
                      <a:cubicBezTo>
                        <a:pt x="0" y="33"/>
                        <a:pt x="2" y="36"/>
                        <a:pt x="5" y="36"/>
                      </a:cubicBezTo>
                      <a:cubicBezTo>
                        <a:pt x="5" y="61"/>
                        <a:pt x="5" y="61"/>
                        <a:pt x="5" y="61"/>
                      </a:cubicBezTo>
                      <a:cubicBezTo>
                        <a:pt x="3" y="61"/>
                        <a:pt x="1" y="63"/>
                        <a:pt x="1" y="65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1" y="69"/>
                        <a:pt x="3" y="71"/>
                        <a:pt x="6" y="71"/>
                      </a:cubicBezTo>
                      <a:cubicBezTo>
                        <a:pt x="70" y="71"/>
                        <a:pt x="70" y="71"/>
                        <a:pt x="70" y="71"/>
                      </a:cubicBezTo>
                      <a:cubicBezTo>
                        <a:pt x="72" y="71"/>
                        <a:pt x="74" y="69"/>
                        <a:pt x="74" y="67"/>
                      </a:cubicBezTo>
                      <a:cubicBezTo>
                        <a:pt x="74" y="65"/>
                        <a:pt x="74" y="65"/>
                        <a:pt x="74" y="65"/>
                      </a:cubicBezTo>
                      <a:cubicBezTo>
                        <a:pt x="74" y="63"/>
                        <a:pt x="72" y="61"/>
                        <a:pt x="70" y="61"/>
                      </a:cubicBezTo>
                      <a:cubicBezTo>
                        <a:pt x="70" y="36"/>
                        <a:pt x="70" y="36"/>
                        <a:pt x="70" y="36"/>
                      </a:cubicBezTo>
                      <a:cubicBezTo>
                        <a:pt x="73" y="36"/>
                        <a:pt x="75" y="33"/>
                        <a:pt x="75" y="31"/>
                      </a:cubicBezTo>
                      <a:close/>
                      <a:moveTo>
                        <a:pt x="4" y="26"/>
                      </a:moveTo>
                      <a:cubicBezTo>
                        <a:pt x="8" y="16"/>
                        <a:pt x="8" y="16"/>
                        <a:pt x="8" y="16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71" y="26"/>
                        <a:pt x="71" y="26"/>
                        <a:pt x="71" y="26"/>
                      </a:cubicBezTo>
                      <a:lnTo>
                        <a:pt x="4" y="26"/>
                      </a:lnTo>
                      <a:close/>
                      <a:moveTo>
                        <a:pt x="62" y="31"/>
                      </a:moveTo>
                      <a:cubicBezTo>
                        <a:pt x="62" y="32"/>
                        <a:pt x="60" y="33"/>
                        <a:pt x="58" y="33"/>
                      </a:cubicBezTo>
                      <a:cubicBezTo>
                        <a:pt x="57" y="33"/>
                        <a:pt x="57" y="33"/>
                        <a:pt x="57" y="33"/>
                      </a:cubicBezTo>
                      <a:cubicBezTo>
                        <a:pt x="55" y="33"/>
                        <a:pt x="54" y="32"/>
                        <a:pt x="54" y="31"/>
                      </a:cubicBezTo>
                      <a:cubicBezTo>
                        <a:pt x="54" y="28"/>
                        <a:pt x="54" y="28"/>
                        <a:pt x="54" y="28"/>
                      </a:cubicBezTo>
                      <a:cubicBezTo>
                        <a:pt x="62" y="28"/>
                        <a:pt x="62" y="28"/>
                        <a:pt x="62" y="28"/>
                      </a:cubicBezTo>
                      <a:lnTo>
                        <a:pt x="62" y="31"/>
                      </a:lnTo>
                      <a:close/>
                      <a:moveTo>
                        <a:pt x="52" y="31"/>
                      </a:moveTo>
                      <a:cubicBezTo>
                        <a:pt x="52" y="32"/>
                        <a:pt x="50" y="33"/>
                        <a:pt x="48" y="33"/>
                      </a:cubicBezTo>
                      <a:cubicBezTo>
                        <a:pt x="47" y="33"/>
                        <a:pt x="47" y="33"/>
                        <a:pt x="47" y="33"/>
                      </a:cubicBezTo>
                      <a:cubicBezTo>
                        <a:pt x="45" y="33"/>
                        <a:pt x="44" y="32"/>
                        <a:pt x="44" y="31"/>
                      </a:cubicBezTo>
                      <a:cubicBezTo>
                        <a:pt x="44" y="28"/>
                        <a:pt x="44" y="28"/>
                        <a:pt x="44" y="28"/>
                      </a:cubicBezTo>
                      <a:cubicBezTo>
                        <a:pt x="52" y="28"/>
                        <a:pt x="52" y="28"/>
                        <a:pt x="52" y="28"/>
                      </a:cubicBezTo>
                      <a:lnTo>
                        <a:pt x="52" y="31"/>
                      </a:lnTo>
                      <a:close/>
                      <a:moveTo>
                        <a:pt x="42" y="31"/>
                      </a:moveTo>
                      <a:cubicBezTo>
                        <a:pt x="42" y="32"/>
                        <a:pt x="40" y="33"/>
                        <a:pt x="38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5" y="33"/>
                        <a:pt x="34" y="32"/>
                        <a:pt x="34" y="31"/>
                      </a:cubicBezTo>
                      <a:cubicBezTo>
                        <a:pt x="34" y="28"/>
                        <a:pt x="34" y="28"/>
                        <a:pt x="34" y="28"/>
                      </a:cubicBezTo>
                      <a:cubicBezTo>
                        <a:pt x="42" y="28"/>
                        <a:pt x="42" y="28"/>
                        <a:pt x="42" y="28"/>
                      </a:cubicBezTo>
                      <a:lnTo>
                        <a:pt x="42" y="31"/>
                      </a:lnTo>
                      <a:close/>
                      <a:moveTo>
                        <a:pt x="32" y="31"/>
                      </a:moveTo>
                      <a:cubicBezTo>
                        <a:pt x="32" y="32"/>
                        <a:pt x="30" y="33"/>
                        <a:pt x="28" y="33"/>
                      </a:cubicBezTo>
                      <a:cubicBezTo>
                        <a:pt x="27" y="33"/>
                        <a:pt x="27" y="33"/>
                        <a:pt x="27" y="33"/>
                      </a:cubicBezTo>
                      <a:cubicBezTo>
                        <a:pt x="25" y="33"/>
                        <a:pt x="23" y="32"/>
                        <a:pt x="23" y="31"/>
                      </a:cubicBezTo>
                      <a:cubicBezTo>
                        <a:pt x="23" y="28"/>
                        <a:pt x="23" y="28"/>
                        <a:pt x="23" y="28"/>
                      </a:cubicBezTo>
                      <a:cubicBezTo>
                        <a:pt x="32" y="28"/>
                        <a:pt x="32" y="28"/>
                        <a:pt x="32" y="28"/>
                      </a:cubicBezTo>
                      <a:lnTo>
                        <a:pt x="32" y="31"/>
                      </a:lnTo>
                      <a:close/>
                      <a:moveTo>
                        <a:pt x="21" y="28"/>
                      </a:moveTo>
                      <a:cubicBezTo>
                        <a:pt x="21" y="31"/>
                        <a:pt x="21" y="31"/>
                        <a:pt x="21" y="31"/>
                      </a:cubicBezTo>
                      <a:cubicBezTo>
                        <a:pt x="21" y="32"/>
                        <a:pt x="20" y="33"/>
                        <a:pt x="18" y="33"/>
                      </a:cubicBezTo>
                      <a:cubicBezTo>
                        <a:pt x="17" y="33"/>
                        <a:pt x="17" y="33"/>
                        <a:pt x="17" y="33"/>
                      </a:cubicBezTo>
                      <a:cubicBezTo>
                        <a:pt x="15" y="33"/>
                        <a:pt x="13" y="32"/>
                        <a:pt x="13" y="31"/>
                      </a:cubicBezTo>
                      <a:cubicBezTo>
                        <a:pt x="13" y="28"/>
                        <a:pt x="13" y="28"/>
                        <a:pt x="13" y="28"/>
                      </a:cubicBezTo>
                      <a:lnTo>
                        <a:pt x="21" y="28"/>
                      </a:lnTo>
                      <a:close/>
                      <a:moveTo>
                        <a:pt x="12" y="33"/>
                      </a:moveTo>
                      <a:cubicBezTo>
                        <a:pt x="13" y="35"/>
                        <a:pt x="15" y="35"/>
                        <a:pt x="17" y="35"/>
                      </a:cubicBezTo>
                      <a:cubicBezTo>
                        <a:pt x="18" y="35"/>
                        <a:pt x="18" y="35"/>
                        <a:pt x="18" y="35"/>
                      </a:cubicBezTo>
                      <a:cubicBezTo>
                        <a:pt x="20" y="35"/>
                        <a:pt x="21" y="35"/>
                        <a:pt x="22" y="33"/>
                      </a:cubicBezTo>
                      <a:cubicBezTo>
                        <a:pt x="23" y="35"/>
                        <a:pt x="25" y="35"/>
                        <a:pt x="27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2" y="35"/>
                        <a:pt x="33" y="33"/>
                      </a:cubicBezTo>
                      <a:cubicBezTo>
                        <a:pt x="34" y="35"/>
                        <a:pt x="35" y="35"/>
                        <a:pt x="37" y="35"/>
                      </a:cubicBezTo>
                      <a:cubicBezTo>
                        <a:pt x="38" y="35"/>
                        <a:pt x="38" y="35"/>
                        <a:pt x="38" y="35"/>
                      </a:cubicBezTo>
                      <a:cubicBezTo>
                        <a:pt x="40" y="35"/>
                        <a:pt x="42" y="35"/>
                        <a:pt x="43" y="33"/>
                      </a:cubicBezTo>
                      <a:cubicBezTo>
                        <a:pt x="44" y="35"/>
                        <a:pt x="45" y="35"/>
                        <a:pt x="47" y="35"/>
                      </a:cubicBezTo>
                      <a:cubicBezTo>
                        <a:pt x="48" y="35"/>
                        <a:pt x="48" y="35"/>
                        <a:pt x="48" y="35"/>
                      </a:cubicBezTo>
                      <a:cubicBezTo>
                        <a:pt x="50" y="35"/>
                        <a:pt x="52" y="35"/>
                        <a:pt x="53" y="33"/>
                      </a:cubicBezTo>
                      <a:cubicBezTo>
                        <a:pt x="54" y="35"/>
                        <a:pt x="55" y="35"/>
                        <a:pt x="57" y="35"/>
                      </a:cubicBezTo>
                      <a:cubicBezTo>
                        <a:pt x="58" y="35"/>
                        <a:pt x="58" y="35"/>
                        <a:pt x="58" y="35"/>
                      </a:cubicBezTo>
                      <a:cubicBezTo>
                        <a:pt x="60" y="35"/>
                        <a:pt x="62" y="35"/>
                        <a:pt x="63" y="33"/>
                      </a:cubicBezTo>
                      <a:cubicBezTo>
                        <a:pt x="64" y="35"/>
                        <a:pt x="65" y="35"/>
                        <a:pt x="67" y="35"/>
                      </a:cubicBezTo>
                      <a:cubicBezTo>
                        <a:pt x="67" y="62"/>
                        <a:pt x="67" y="62"/>
                        <a:pt x="67" y="62"/>
                      </a:cubicBezTo>
                      <a:cubicBezTo>
                        <a:pt x="30" y="62"/>
                        <a:pt x="30" y="62"/>
                        <a:pt x="30" y="62"/>
                      </a:cubicBezTo>
                      <a:cubicBezTo>
                        <a:pt x="30" y="41"/>
                        <a:pt x="30" y="41"/>
                        <a:pt x="30" y="41"/>
                      </a:cubicBezTo>
                      <a:cubicBezTo>
                        <a:pt x="30" y="40"/>
                        <a:pt x="30" y="40"/>
                        <a:pt x="29" y="40"/>
                      </a:cubicBezTo>
                      <a:cubicBezTo>
                        <a:pt x="14" y="40"/>
                        <a:pt x="14" y="40"/>
                        <a:pt x="14" y="40"/>
                      </a:cubicBezTo>
                      <a:cubicBezTo>
                        <a:pt x="13" y="40"/>
                        <a:pt x="13" y="40"/>
                        <a:pt x="13" y="41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8" y="62"/>
                        <a:pt x="8" y="62"/>
                        <a:pt x="8" y="62"/>
                      </a:cubicBezTo>
                      <a:cubicBezTo>
                        <a:pt x="8" y="35"/>
                        <a:pt x="8" y="35"/>
                        <a:pt x="8" y="35"/>
                      </a:cubicBezTo>
                      <a:cubicBezTo>
                        <a:pt x="10" y="35"/>
                        <a:pt x="11" y="35"/>
                        <a:pt x="12" y="33"/>
                      </a:cubicBezTo>
                      <a:close/>
                      <a:moveTo>
                        <a:pt x="15" y="62"/>
                      </a:moveTo>
                      <a:cubicBezTo>
                        <a:pt x="15" y="42"/>
                        <a:pt x="15" y="42"/>
                        <a:pt x="15" y="42"/>
                      </a:cubicBezTo>
                      <a:cubicBezTo>
                        <a:pt x="28" y="42"/>
                        <a:pt x="28" y="42"/>
                        <a:pt x="28" y="42"/>
                      </a:cubicBezTo>
                      <a:cubicBezTo>
                        <a:pt x="28" y="62"/>
                        <a:pt x="28" y="62"/>
                        <a:pt x="28" y="62"/>
                      </a:cubicBezTo>
                      <a:lnTo>
                        <a:pt x="15" y="62"/>
                      </a:lnTo>
                      <a:close/>
                      <a:moveTo>
                        <a:pt x="68" y="33"/>
                      </a:moveTo>
                      <a:cubicBezTo>
                        <a:pt x="67" y="33"/>
                        <a:pt x="67" y="33"/>
                        <a:pt x="67" y="33"/>
                      </a:cubicBezTo>
                      <a:cubicBezTo>
                        <a:pt x="65" y="33"/>
                        <a:pt x="64" y="32"/>
                        <a:pt x="64" y="31"/>
                      </a:cubicBezTo>
                      <a:cubicBezTo>
                        <a:pt x="64" y="28"/>
                        <a:pt x="64" y="28"/>
                        <a:pt x="64" y="28"/>
                      </a:cubicBezTo>
                      <a:cubicBezTo>
                        <a:pt x="72" y="28"/>
                        <a:pt x="72" y="28"/>
                        <a:pt x="72" y="28"/>
                      </a:cubicBezTo>
                      <a:cubicBezTo>
                        <a:pt x="72" y="31"/>
                        <a:pt x="72" y="31"/>
                        <a:pt x="72" y="31"/>
                      </a:cubicBezTo>
                      <a:cubicBezTo>
                        <a:pt x="72" y="32"/>
                        <a:pt x="70" y="33"/>
                        <a:pt x="68" y="33"/>
                      </a:cubicBezTo>
                      <a:close/>
                      <a:moveTo>
                        <a:pt x="67" y="11"/>
                      </a:moveTo>
                      <a:cubicBezTo>
                        <a:pt x="67" y="13"/>
                        <a:pt x="66" y="14"/>
                        <a:pt x="64" y="14"/>
                      </a:cubicBezTo>
                      <a:cubicBezTo>
                        <a:pt x="11" y="14"/>
                        <a:pt x="11" y="14"/>
                        <a:pt x="11" y="14"/>
                      </a:cubicBezTo>
                      <a:cubicBezTo>
                        <a:pt x="9" y="14"/>
                        <a:pt x="8" y="13"/>
                        <a:pt x="8" y="11"/>
                      </a:cubicBezTo>
                      <a:cubicBezTo>
                        <a:pt x="8" y="5"/>
                        <a:pt x="8" y="5"/>
                        <a:pt x="8" y="5"/>
                      </a:cubicBezTo>
                      <a:cubicBezTo>
                        <a:pt x="8" y="4"/>
                        <a:pt x="9" y="3"/>
                        <a:pt x="11" y="3"/>
                      </a:cubicBezTo>
                      <a:cubicBezTo>
                        <a:pt x="64" y="3"/>
                        <a:pt x="64" y="3"/>
                        <a:pt x="64" y="3"/>
                      </a:cubicBezTo>
                      <a:cubicBezTo>
                        <a:pt x="66" y="3"/>
                        <a:pt x="67" y="4"/>
                        <a:pt x="67" y="5"/>
                      </a:cubicBezTo>
                      <a:lnTo>
                        <a:pt x="67" y="11"/>
                      </a:lnTo>
                      <a:close/>
                      <a:moveTo>
                        <a:pt x="3" y="28"/>
                      </a:moveTo>
                      <a:cubicBezTo>
                        <a:pt x="11" y="28"/>
                        <a:pt x="11" y="28"/>
                        <a:pt x="11" y="28"/>
                      </a:cubicBezTo>
                      <a:cubicBezTo>
                        <a:pt x="11" y="31"/>
                        <a:pt x="11" y="31"/>
                        <a:pt x="11" y="31"/>
                      </a:cubicBezTo>
                      <a:cubicBezTo>
                        <a:pt x="11" y="32"/>
                        <a:pt x="10" y="33"/>
                        <a:pt x="8" y="33"/>
                      </a:cubicBezTo>
                      <a:cubicBezTo>
                        <a:pt x="7" y="33"/>
                        <a:pt x="7" y="33"/>
                        <a:pt x="7" y="33"/>
                      </a:cubicBezTo>
                      <a:cubicBezTo>
                        <a:pt x="5" y="33"/>
                        <a:pt x="3" y="32"/>
                        <a:pt x="3" y="31"/>
                      </a:cubicBezTo>
                      <a:lnTo>
                        <a:pt x="3" y="28"/>
                      </a:lnTo>
                      <a:close/>
                      <a:moveTo>
                        <a:pt x="4" y="67"/>
                      </a:moveTo>
                      <a:cubicBezTo>
                        <a:pt x="4" y="65"/>
                        <a:pt x="4" y="65"/>
                        <a:pt x="4" y="65"/>
                      </a:cubicBezTo>
                      <a:cubicBezTo>
                        <a:pt x="4" y="65"/>
                        <a:pt x="5" y="64"/>
                        <a:pt x="6" y="64"/>
                      </a:cubicBezTo>
                      <a:cubicBezTo>
                        <a:pt x="14" y="64"/>
                        <a:pt x="14" y="64"/>
                        <a:pt x="14" y="64"/>
                      </a:cubicBezTo>
                      <a:cubicBezTo>
                        <a:pt x="29" y="64"/>
                        <a:pt x="29" y="64"/>
                        <a:pt x="29" y="64"/>
                      </a:cubicBezTo>
                      <a:cubicBezTo>
                        <a:pt x="70" y="64"/>
                        <a:pt x="70" y="64"/>
                        <a:pt x="70" y="64"/>
                      </a:cubicBezTo>
                      <a:cubicBezTo>
                        <a:pt x="70" y="64"/>
                        <a:pt x="71" y="65"/>
                        <a:pt x="71" y="65"/>
                      </a:cubicBezTo>
                      <a:cubicBezTo>
                        <a:pt x="71" y="67"/>
                        <a:pt x="71" y="67"/>
                        <a:pt x="71" y="67"/>
                      </a:cubicBezTo>
                      <a:cubicBezTo>
                        <a:pt x="71" y="68"/>
                        <a:pt x="70" y="68"/>
                        <a:pt x="70" y="68"/>
                      </a:cubicBezTo>
                      <a:cubicBezTo>
                        <a:pt x="6" y="68"/>
                        <a:pt x="6" y="68"/>
                        <a:pt x="6" y="68"/>
                      </a:cubicBezTo>
                      <a:cubicBezTo>
                        <a:pt x="5" y="68"/>
                        <a:pt x="4" y="68"/>
                        <a:pt x="4" y="67"/>
                      </a:cubicBezTo>
                      <a:close/>
                      <a:moveTo>
                        <a:pt x="39" y="57"/>
                      </a:moveTo>
                      <a:cubicBezTo>
                        <a:pt x="61" y="57"/>
                        <a:pt x="61" y="57"/>
                        <a:pt x="61" y="57"/>
                      </a:cubicBezTo>
                      <a:cubicBezTo>
                        <a:pt x="62" y="57"/>
                        <a:pt x="62" y="56"/>
                        <a:pt x="62" y="56"/>
                      </a:cubicBezTo>
                      <a:cubicBezTo>
                        <a:pt x="62" y="41"/>
                        <a:pt x="62" y="41"/>
                        <a:pt x="62" y="41"/>
                      </a:cubicBezTo>
                      <a:cubicBezTo>
                        <a:pt x="62" y="40"/>
                        <a:pt x="62" y="40"/>
                        <a:pt x="61" y="40"/>
                      </a:cubicBezTo>
                      <a:cubicBezTo>
                        <a:pt x="39" y="40"/>
                        <a:pt x="39" y="40"/>
                        <a:pt x="39" y="40"/>
                      </a:cubicBezTo>
                      <a:cubicBezTo>
                        <a:pt x="38" y="40"/>
                        <a:pt x="38" y="40"/>
                        <a:pt x="38" y="41"/>
                      </a:cubicBezTo>
                      <a:cubicBezTo>
                        <a:pt x="38" y="56"/>
                        <a:pt x="38" y="56"/>
                        <a:pt x="38" y="56"/>
                      </a:cubicBezTo>
                      <a:cubicBezTo>
                        <a:pt x="38" y="56"/>
                        <a:pt x="38" y="57"/>
                        <a:pt x="39" y="57"/>
                      </a:cubicBezTo>
                      <a:close/>
                      <a:moveTo>
                        <a:pt x="40" y="42"/>
                      </a:moveTo>
                      <a:cubicBezTo>
                        <a:pt x="60" y="42"/>
                        <a:pt x="60" y="42"/>
                        <a:pt x="60" y="42"/>
                      </a:cubicBezTo>
                      <a:cubicBezTo>
                        <a:pt x="60" y="55"/>
                        <a:pt x="60" y="55"/>
                        <a:pt x="60" y="55"/>
                      </a:cubicBezTo>
                      <a:cubicBezTo>
                        <a:pt x="40" y="55"/>
                        <a:pt x="40" y="55"/>
                        <a:pt x="40" y="55"/>
                      </a:cubicBezTo>
                      <a:lnTo>
                        <a:pt x="40" y="4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39" name="任意多边形: 形状 138">
                  <a:extLst>
                    <a:ext uri="{FF2B5EF4-FFF2-40B4-BE49-F238E27FC236}">
                      <a16:creationId xmlns:a16="http://schemas.microsoft.com/office/drawing/2014/main" id="{B7331C07-CE9E-48A8-AFAD-237F98670BB1}"/>
                    </a:ext>
                  </a:extLst>
                </p:cNvPr>
                <p:cNvSpPr/>
                <p:nvPr/>
              </p:nvSpPr>
              <p:spPr bwMode="auto">
                <a:xfrm>
                  <a:off x="7846795" y="3914474"/>
                  <a:ext cx="466121" cy="394832"/>
                </a:xfrm>
                <a:custGeom>
                  <a:avLst/>
                  <a:gdLst>
                    <a:gd name="T0" fmla="*/ 70 w 72"/>
                    <a:gd name="T1" fmla="*/ 16 h 61"/>
                    <a:gd name="T2" fmla="*/ 56 w 72"/>
                    <a:gd name="T3" fmla="*/ 18 h 61"/>
                    <a:gd name="T4" fmla="*/ 43 w 72"/>
                    <a:gd name="T5" fmla="*/ 46 h 61"/>
                    <a:gd name="T6" fmla="*/ 12 w 72"/>
                    <a:gd name="T7" fmla="*/ 46 h 61"/>
                    <a:gd name="T8" fmla="*/ 13 w 72"/>
                    <a:gd name="T9" fmla="*/ 49 h 61"/>
                    <a:gd name="T10" fmla="*/ 48 w 72"/>
                    <a:gd name="T11" fmla="*/ 51 h 61"/>
                    <a:gd name="T12" fmla="*/ 13 w 72"/>
                    <a:gd name="T13" fmla="*/ 52 h 61"/>
                    <a:gd name="T14" fmla="*/ 9 w 72"/>
                    <a:gd name="T15" fmla="*/ 45 h 61"/>
                    <a:gd name="T16" fmla="*/ 7 w 72"/>
                    <a:gd name="T17" fmla="*/ 42 h 61"/>
                    <a:gd name="T18" fmla="*/ 1 w 72"/>
                    <a:gd name="T19" fmla="*/ 23 h 61"/>
                    <a:gd name="T20" fmla="*/ 10 w 72"/>
                    <a:gd name="T21" fmla="*/ 41 h 61"/>
                    <a:gd name="T22" fmla="*/ 43 w 72"/>
                    <a:gd name="T23" fmla="*/ 43 h 61"/>
                    <a:gd name="T24" fmla="*/ 54 w 72"/>
                    <a:gd name="T25" fmla="*/ 17 h 61"/>
                    <a:gd name="T26" fmla="*/ 70 w 72"/>
                    <a:gd name="T27" fmla="*/ 13 h 61"/>
                    <a:gd name="T28" fmla="*/ 18 w 72"/>
                    <a:gd name="T29" fmla="*/ 57 h 61"/>
                    <a:gd name="T30" fmla="*/ 11 w 72"/>
                    <a:gd name="T31" fmla="*/ 57 h 61"/>
                    <a:gd name="T32" fmla="*/ 18 w 72"/>
                    <a:gd name="T33" fmla="*/ 57 h 61"/>
                    <a:gd name="T34" fmla="*/ 14 w 72"/>
                    <a:gd name="T35" fmla="*/ 55 h 61"/>
                    <a:gd name="T36" fmla="*/ 14 w 72"/>
                    <a:gd name="T37" fmla="*/ 59 h 61"/>
                    <a:gd name="T38" fmla="*/ 45 w 72"/>
                    <a:gd name="T39" fmla="*/ 57 h 61"/>
                    <a:gd name="T40" fmla="*/ 38 w 72"/>
                    <a:gd name="T41" fmla="*/ 57 h 61"/>
                    <a:gd name="T42" fmla="*/ 45 w 72"/>
                    <a:gd name="T43" fmla="*/ 57 h 61"/>
                    <a:gd name="T44" fmla="*/ 41 w 72"/>
                    <a:gd name="T45" fmla="*/ 55 h 61"/>
                    <a:gd name="T46" fmla="*/ 41 w 72"/>
                    <a:gd name="T47" fmla="*/ 59 h 61"/>
                    <a:gd name="T48" fmla="*/ 12 w 72"/>
                    <a:gd name="T49" fmla="*/ 37 h 61"/>
                    <a:gd name="T50" fmla="*/ 45 w 72"/>
                    <a:gd name="T51" fmla="*/ 36 h 61"/>
                    <a:gd name="T52" fmla="*/ 12 w 72"/>
                    <a:gd name="T53" fmla="*/ 35 h 61"/>
                    <a:gd name="T54" fmla="*/ 12 w 72"/>
                    <a:gd name="T55" fmla="*/ 37 h 61"/>
                    <a:gd name="T56" fmla="*/ 12 w 72"/>
                    <a:gd name="T57" fmla="*/ 40 h 61"/>
                    <a:gd name="T58" fmla="*/ 43 w 72"/>
                    <a:gd name="T59" fmla="*/ 41 h 61"/>
                    <a:gd name="T60" fmla="*/ 43 w 72"/>
                    <a:gd name="T61" fmla="*/ 39 h 61"/>
                    <a:gd name="T62" fmla="*/ 37 w 72"/>
                    <a:gd name="T63" fmla="*/ 31 h 61"/>
                    <a:gd name="T64" fmla="*/ 44 w 72"/>
                    <a:gd name="T65" fmla="*/ 30 h 61"/>
                    <a:gd name="T66" fmla="*/ 43 w 72"/>
                    <a:gd name="T67" fmla="*/ 0 h 61"/>
                    <a:gd name="T68" fmla="*/ 36 w 72"/>
                    <a:gd name="T69" fmla="*/ 0 h 61"/>
                    <a:gd name="T70" fmla="*/ 37 w 72"/>
                    <a:gd name="T71" fmla="*/ 31 h 61"/>
                    <a:gd name="T72" fmla="*/ 31 w 72"/>
                    <a:gd name="T73" fmla="*/ 31 h 61"/>
                    <a:gd name="T74" fmla="*/ 32 w 72"/>
                    <a:gd name="T75" fmla="*/ 8 h 61"/>
                    <a:gd name="T76" fmla="*/ 25 w 72"/>
                    <a:gd name="T77" fmla="*/ 8 h 61"/>
                    <a:gd name="T78" fmla="*/ 24 w 72"/>
                    <a:gd name="T79" fmla="*/ 30 h 61"/>
                    <a:gd name="T80" fmla="*/ 13 w 72"/>
                    <a:gd name="T81" fmla="*/ 31 h 61"/>
                    <a:gd name="T82" fmla="*/ 20 w 72"/>
                    <a:gd name="T83" fmla="*/ 30 h 61"/>
                    <a:gd name="T84" fmla="*/ 20 w 72"/>
                    <a:gd name="T85" fmla="*/ 16 h 61"/>
                    <a:gd name="T86" fmla="*/ 13 w 72"/>
                    <a:gd name="T87" fmla="*/ 16 h 61"/>
                    <a:gd name="T88" fmla="*/ 13 w 72"/>
                    <a:gd name="T89" fmla="*/ 31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72" h="61">
                      <a:moveTo>
                        <a:pt x="72" y="14"/>
                      </a:moveTo>
                      <a:cubicBezTo>
                        <a:pt x="72" y="15"/>
                        <a:pt x="71" y="16"/>
                        <a:pt x="70" y="16"/>
                      </a:cubicBezTo>
                      <a:cubicBezTo>
                        <a:pt x="59" y="16"/>
                        <a:pt x="59" y="16"/>
                        <a:pt x="59" y="16"/>
                      </a:cubicBezTo>
                      <a:cubicBezTo>
                        <a:pt x="58" y="16"/>
                        <a:pt x="57" y="17"/>
                        <a:pt x="56" y="18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8" y="44"/>
                        <a:pt x="46" y="46"/>
                        <a:pt x="43" y="46"/>
                      </a:cubicBezTo>
                      <a:cubicBezTo>
                        <a:pt x="13" y="46"/>
                        <a:pt x="13" y="46"/>
                        <a:pt x="13" y="46"/>
                      </a:cubicBezTo>
                      <a:cubicBezTo>
                        <a:pt x="13" y="46"/>
                        <a:pt x="12" y="46"/>
                        <a:pt x="12" y="46"/>
                      </a:cubicBezTo>
                      <a:cubicBezTo>
                        <a:pt x="12" y="48"/>
                        <a:pt x="12" y="48"/>
                        <a:pt x="12" y="48"/>
                      </a:cubicBezTo>
                      <a:cubicBezTo>
                        <a:pt x="12" y="49"/>
                        <a:pt x="12" y="49"/>
                        <a:pt x="13" y="49"/>
                      </a:cubicBezTo>
                      <a:cubicBezTo>
                        <a:pt x="47" y="49"/>
                        <a:pt x="47" y="49"/>
                        <a:pt x="47" y="49"/>
                      </a:cubicBezTo>
                      <a:cubicBezTo>
                        <a:pt x="47" y="49"/>
                        <a:pt x="48" y="50"/>
                        <a:pt x="48" y="51"/>
                      </a:cubicBezTo>
                      <a:cubicBezTo>
                        <a:pt x="48" y="52"/>
                        <a:pt x="47" y="52"/>
                        <a:pt x="47" y="52"/>
                      </a:cubicBezTo>
                      <a:cubicBezTo>
                        <a:pt x="13" y="52"/>
                        <a:pt x="13" y="52"/>
                        <a:pt x="13" y="52"/>
                      </a:cubicBezTo>
                      <a:cubicBezTo>
                        <a:pt x="11" y="52"/>
                        <a:pt x="9" y="50"/>
                        <a:pt x="9" y="48"/>
                      </a:cubicBezTo>
                      <a:cubicBezTo>
                        <a:pt x="9" y="45"/>
                        <a:pt x="9" y="45"/>
                        <a:pt x="9" y="45"/>
                      </a:cubicBezTo>
                      <a:cubicBezTo>
                        <a:pt x="9" y="45"/>
                        <a:pt x="9" y="44"/>
                        <a:pt x="9" y="44"/>
                      </a:cubicBezTo>
                      <a:cubicBezTo>
                        <a:pt x="8" y="44"/>
                        <a:pt x="8" y="43"/>
                        <a:pt x="7" y="42"/>
                      </a:cubicBezTo>
                      <a:cubicBezTo>
                        <a:pt x="0" y="25"/>
                        <a:pt x="0" y="25"/>
                        <a:pt x="0" y="25"/>
                      </a:cubicBezTo>
                      <a:cubicBezTo>
                        <a:pt x="0" y="24"/>
                        <a:pt x="0" y="23"/>
                        <a:pt x="1" y="23"/>
                      </a:cubicBezTo>
                      <a:cubicBezTo>
                        <a:pt x="1" y="22"/>
                        <a:pt x="2" y="23"/>
                        <a:pt x="3" y="24"/>
                      </a:cubicBezTo>
                      <a:cubicBezTo>
                        <a:pt x="10" y="41"/>
                        <a:pt x="10" y="41"/>
                        <a:pt x="10" y="41"/>
                      </a:cubicBezTo>
                      <a:cubicBezTo>
                        <a:pt x="11" y="42"/>
                        <a:pt x="12" y="43"/>
                        <a:pt x="13" y="43"/>
                      </a:cubicBezTo>
                      <a:cubicBezTo>
                        <a:pt x="43" y="43"/>
                        <a:pt x="43" y="43"/>
                        <a:pt x="43" y="43"/>
                      </a:cubicBezTo>
                      <a:cubicBezTo>
                        <a:pt x="44" y="43"/>
                        <a:pt x="46" y="42"/>
                        <a:pt x="46" y="41"/>
                      </a:cubicBezTo>
                      <a:cubicBezTo>
                        <a:pt x="54" y="17"/>
                        <a:pt x="54" y="17"/>
                        <a:pt x="54" y="17"/>
                      </a:cubicBezTo>
                      <a:cubicBezTo>
                        <a:pt x="54" y="15"/>
                        <a:pt x="57" y="13"/>
                        <a:pt x="59" y="13"/>
                      </a:cubicBezTo>
                      <a:cubicBezTo>
                        <a:pt x="70" y="13"/>
                        <a:pt x="70" y="13"/>
                        <a:pt x="70" y="13"/>
                      </a:cubicBezTo>
                      <a:cubicBezTo>
                        <a:pt x="71" y="13"/>
                        <a:pt x="72" y="13"/>
                        <a:pt x="72" y="14"/>
                      </a:cubicBezTo>
                      <a:close/>
                      <a:moveTo>
                        <a:pt x="18" y="57"/>
                      </a:moveTo>
                      <a:cubicBezTo>
                        <a:pt x="18" y="59"/>
                        <a:pt x="16" y="61"/>
                        <a:pt x="14" y="61"/>
                      </a:cubicBezTo>
                      <a:cubicBezTo>
                        <a:pt x="12" y="61"/>
                        <a:pt x="11" y="59"/>
                        <a:pt x="11" y="57"/>
                      </a:cubicBezTo>
                      <a:cubicBezTo>
                        <a:pt x="11" y="55"/>
                        <a:pt x="12" y="53"/>
                        <a:pt x="14" y="53"/>
                      </a:cubicBezTo>
                      <a:cubicBezTo>
                        <a:pt x="16" y="53"/>
                        <a:pt x="18" y="55"/>
                        <a:pt x="18" y="57"/>
                      </a:cubicBezTo>
                      <a:close/>
                      <a:moveTo>
                        <a:pt x="16" y="57"/>
                      </a:moveTo>
                      <a:cubicBezTo>
                        <a:pt x="16" y="56"/>
                        <a:pt x="15" y="55"/>
                        <a:pt x="14" y="55"/>
                      </a:cubicBezTo>
                      <a:cubicBezTo>
                        <a:pt x="14" y="55"/>
                        <a:pt x="13" y="56"/>
                        <a:pt x="13" y="57"/>
                      </a:cubicBezTo>
                      <a:cubicBezTo>
                        <a:pt x="13" y="58"/>
                        <a:pt x="14" y="59"/>
                        <a:pt x="14" y="59"/>
                      </a:cubicBezTo>
                      <a:cubicBezTo>
                        <a:pt x="15" y="59"/>
                        <a:pt x="16" y="58"/>
                        <a:pt x="16" y="57"/>
                      </a:cubicBezTo>
                      <a:close/>
                      <a:moveTo>
                        <a:pt x="45" y="57"/>
                      </a:moveTo>
                      <a:cubicBezTo>
                        <a:pt x="45" y="59"/>
                        <a:pt x="43" y="61"/>
                        <a:pt x="41" y="61"/>
                      </a:cubicBezTo>
                      <a:cubicBezTo>
                        <a:pt x="39" y="61"/>
                        <a:pt x="38" y="59"/>
                        <a:pt x="38" y="57"/>
                      </a:cubicBezTo>
                      <a:cubicBezTo>
                        <a:pt x="38" y="55"/>
                        <a:pt x="39" y="53"/>
                        <a:pt x="41" y="53"/>
                      </a:cubicBezTo>
                      <a:cubicBezTo>
                        <a:pt x="43" y="53"/>
                        <a:pt x="45" y="55"/>
                        <a:pt x="45" y="57"/>
                      </a:cubicBezTo>
                      <a:close/>
                      <a:moveTo>
                        <a:pt x="43" y="57"/>
                      </a:moveTo>
                      <a:cubicBezTo>
                        <a:pt x="43" y="56"/>
                        <a:pt x="42" y="55"/>
                        <a:pt x="41" y="55"/>
                      </a:cubicBezTo>
                      <a:cubicBezTo>
                        <a:pt x="40" y="55"/>
                        <a:pt x="40" y="56"/>
                        <a:pt x="40" y="57"/>
                      </a:cubicBezTo>
                      <a:cubicBezTo>
                        <a:pt x="40" y="58"/>
                        <a:pt x="40" y="59"/>
                        <a:pt x="41" y="59"/>
                      </a:cubicBezTo>
                      <a:cubicBezTo>
                        <a:pt x="42" y="59"/>
                        <a:pt x="43" y="58"/>
                        <a:pt x="43" y="57"/>
                      </a:cubicBezTo>
                      <a:close/>
                      <a:moveTo>
                        <a:pt x="12" y="37"/>
                      </a:moveTo>
                      <a:cubicBezTo>
                        <a:pt x="44" y="37"/>
                        <a:pt x="44" y="37"/>
                        <a:pt x="44" y="37"/>
                      </a:cubicBezTo>
                      <a:cubicBezTo>
                        <a:pt x="45" y="37"/>
                        <a:pt x="45" y="36"/>
                        <a:pt x="45" y="36"/>
                      </a:cubicBezTo>
                      <a:cubicBezTo>
                        <a:pt x="45" y="35"/>
                        <a:pt x="45" y="35"/>
                        <a:pt x="44" y="35"/>
                      </a:cubicBezTo>
                      <a:cubicBezTo>
                        <a:pt x="12" y="35"/>
                        <a:pt x="12" y="35"/>
                        <a:pt x="12" y="35"/>
                      </a:cubicBezTo>
                      <a:cubicBezTo>
                        <a:pt x="11" y="35"/>
                        <a:pt x="11" y="35"/>
                        <a:pt x="11" y="36"/>
                      </a:cubicBezTo>
                      <a:cubicBezTo>
                        <a:pt x="11" y="36"/>
                        <a:pt x="11" y="37"/>
                        <a:pt x="12" y="37"/>
                      </a:cubicBezTo>
                      <a:close/>
                      <a:moveTo>
                        <a:pt x="13" y="39"/>
                      </a:moveTo>
                      <a:cubicBezTo>
                        <a:pt x="13" y="39"/>
                        <a:pt x="12" y="40"/>
                        <a:pt x="12" y="40"/>
                      </a:cubicBezTo>
                      <a:cubicBezTo>
                        <a:pt x="12" y="41"/>
                        <a:pt x="13" y="41"/>
                        <a:pt x="13" y="41"/>
                      </a:cubicBezTo>
                      <a:cubicBezTo>
                        <a:pt x="43" y="41"/>
                        <a:pt x="43" y="41"/>
                        <a:pt x="43" y="41"/>
                      </a:cubicBezTo>
                      <a:cubicBezTo>
                        <a:pt x="44" y="41"/>
                        <a:pt x="44" y="41"/>
                        <a:pt x="44" y="40"/>
                      </a:cubicBezTo>
                      <a:cubicBezTo>
                        <a:pt x="44" y="40"/>
                        <a:pt x="44" y="39"/>
                        <a:pt x="43" y="39"/>
                      </a:cubicBezTo>
                      <a:lnTo>
                        <a:pt x="13" y="39"/>
                      </a:lnTo>
                      <a:close/>
                      <a:moveTo>
                        <a:pt x="37" y="31"/>
                      </a:moveTo>
                      <a:cubicBezTo>
                        <a:pt x="43" y="31"/>
                        <a:pt x="43" y="31"/>
                        <a:pt x="43" y="31"/>
                      </a:cubicBezTo>
                      <a:cubicBezTo>
                        <a:pt x="43" y="31"/>
                        <a:pt x="44" y="30"/>
                        <a:pt x="44" y="30"/>
                      </a:cubicBezTo>
                      <a:cubicBezTo>
                        <a:pt x="44" y="0"/>
                        <a:pt x="44" y="0"/>
                        <a:pt x="44" y="0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30"/>
                        <a:pt x="36" y="30"/>
                        <a:pt x="36" y="30"/>
                      </a:cubicBezTo>
                      <a:cubicBezTo>
                        <a:pt x="36" y="30"/>
                        <a:pt x="36" y="31"/>
                        <a:pt x="37" y="31"/>
                      </a:cubicBezTo>
                      <a:close/>
                      <a:moveTo>
                        <a:pt x="25" y="31"/>
                      </a:moveTo>
                      <a:cubicBezTo>
                        <a:pt x="31" y="31"/>
                        <a:pt x="31" y="31"/>
                        <a:pt x="31" y="31"/>
                      </a:cubicBezTo>
                      <a:cubicBezTo>
                        <a:pt x="32" y="31"/>
                        <a:pt x="32" y="30"/>
                        <a:pt x="32" y="30"/>
                      </a:cubicBezTo>
                      <a:cubicBezTo>
                        <a:pt x="32" y="8"/>
                        <a:pt x="32" y="8"/>
                        <a:pt x="32" y="8"/>
                      </a:cubicBezTo>
                      <a:cubicBezTo>
                        <a:pt x="32" y="8"/>
                        <a:pt x="32" y="8"/>
                        <a:pt x="31" y="8"/>
                      </a:cubicBezTo>
                      <a:cubicBezTo>
                        <a:pt x="25" y="8"/>
                        <a:pt x="25" y="8"/>
                        <a:pt x="25" y="8"/>
                      </a:cubicBezTo>
                      <a:cubicBezTo>
                        <a:pt x="25" y="8"/>
                        <a:pt x="24" y="8"/>
                        <a:pt x="24" y="8"/>
                      </a:cubicBezTo>
                      <a:cubicBezTo>
                        <a:pt x="24" y="30"/>
                        <a:pt x="24" y="30"/>
                        <a:pt x="24" y="30"/>
                      </a:cubicBezTo>
                      <a:cubicBezTo>
                        <a:pt x="24" y="30"/>
                        <a:pt x="25" y="31"/>
                        <a:pt x="25" y="31"/>
                      </a:cubicBezTo>
                      <a:close/>
                      <a:moveTo>
                        <a:pt x="13" y="31"/>
                      </a:move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0" y="31"/>
                        <a:pt x="20" y="30"/>
                        <a:pt x="20" y="30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20" y="16"/>
                        <a:pt x="20" y="16"/>
                        <a:pt x="20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16"/>
                        <a:pt x="13" y="16"/>
                        <a:pt x="13" y="16"/>
                      </a:cubicBezTo>
                      <a:cubicBezTo>
                        <a:pt x="13" y="30"/>
                        <a:pt x="13" y="30"/>
                        <a:pt x="13" y="30"/>
                      </a:cubicBezTo>
                      <a:cubicBezTo>
                        <a:pt x="13" y="30"/>
                        <a:pt x="13" y="31"/>
                        <a:pt x="13" y="3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0" name="任意多边形: 形状 139">
                  <a:extLst>
                    <a:ext uri="{FF2B5EF4-FFF2-40B4-BE49-F238E27FC236}">
                      <a16:creationId xmlns:a16="http://schemas.microsoft.com/office/drawing/2014/main" id="{A60D1D86-3CF2-40F9-AD81-3D1B19326085}"/>
                    </a:ext>
                  </a:extLst>
                </p:cNvPr>
                <p:cNvSpPr/>
                <p:nvPr/>
              </p:nvSpPr>
              <p:spPr bwMode="auto">
                <a:xfrm>
                  <a:off x="7570099" y="3638869"/>
                  <a:ext cx="315379" cy="352140"/>
                </a:xfrm>
                <a:custGeom>
                  <a:avLst/>
                  <a:gdLst>
                    <a:gd name="T0" fmla="*/ 55 w 69"/>
                    <a:gd name="T1" fmla="*/ 0 h 77"/>
                    <a:gd name="T2" fmla="*/ 45 w 69"/>
                    <a:gd name="T3" fmla="*/ 5 h 77"/>
                    <a:gd name="T4" fmla="*/ 31 w 69"/>
                    <a:gd name="T5" fmla="*/ 7 h 77"/>
                    <a:gd name="T6" fmla="*/ 24 w 69"/>
                    <a:gd name="T7" fmla="*/ 7 h 77"/>
                    <a:gd name="T8" fmla="*/ 10 w 69"/>
                    <a:gd name="T9" fmla="*/ 5 h 77"/>
                    <a:gd name="T10" fmla="*/ 0 w 69"/>
                    <a:gd name="T11" fmla="*/ 69 h 77"/>
                    <a:gd name="T12" fmla="*/ 69 w 69"/>
                    <a:gd name="T13" fmla="*/ 14 h 77"/>
                    <a:gd name="T14" fmla="*/ 10 w 69"/>
                    <a:gd name="T15" fmla="*/ 13 h 77"/>
                    <a:gd name="T16" fmla="*/ 24 w 69"/>
                    <a:gd name="T17" fmla="*/ 10 h 77"/>
                    <a:gd name="T18" fmla="*/ 31 w 69"/>
                    <a:gd name="T19" fmla="*/ 10 h 77"/>
                    <a:gd name="T20" fmla="*/ 45 w 69"/>
                    <a:gd name="T21" fmla="*/ 13 h 77"/>
                    <a:gd name="T22" fmla="*/ 55 w 69"/>
                    <a:gd name="T23" fmla="*/ 17 h 77"/>
                    <a:gd name="T24" fmla="*/ 66 w 69"/>
                    <a:gd name="T25" fmla="*/ 14 h 77"/>
                    <a:gd name="T26" fmla="*/ 7 w 69"/>
                    <a:gd name="T27" fmla="*/ 10 h 77"/>
                    <a:gd name="T28" fmla="*/ 61 w 69"/>
                    <a:gd name="T29" fmla="*/ 74 h 77"/>
                    <a:gd name="T30" fmla="*/ 34 w 69"/>
                    <a:gd name="T31" fmla="*/ 39 h 77"/>
                    <a:gd name="T32" fmla="*/ 34 w 69"/>
                    <a:gd name="T33" fmla="*/ 39 h 77"/>
                    <a:gd name="T34" fmla="*/ 33 w 69"/>
                    <a:gd name="T35" fmla="*/ 36 h 77"/>
                    <a:gd name="T36" fmla="*/ 44 w 69"/>
                    <a:gd name="T37" fmla="*/ 33 h 77"/>
                    <a:gd name="T38" fmla="*/ 45 w 69"/>
                    <a:gd name="T39" fmla="*/ 36 h 77"/>
                    <a:gd name="T40" fmla="*/ 54 w 69"/>
                    <a:gd name="T41" fmla="*/ 39 h 77"/>
                    <a:gd name="T42" fmla="*/ 54 w 69"/>
                    <a:gd name="T43" fmla="*/ 39 h 77"/>
                    <a:gd name="T44" fmla="*/ 53 w 69"/>
                    <a:gd name="T45" fmla="*/ 36 h 77"/>
                    <a:gd name="T46" fmla="*/ 14 w 69"/>
                    <a:gd name="T47" fmla="*/ 43 h 77"/>
                    <a:gd name="T48" fmla="*/ 15 w 69"/>
                    <a:gd name="T49" fmla="*/ 46 h 77"/>
                    <a:gd name="T50" fmla="*/ 24 w 69"/>
                    <a:gd name="T51" fmla="*/ 49 h 77"/>
                    <a:gd name="T52" fmla="*/ 24 w 69"/>
                    <a:gd name="T53" fmla="*/ 49 h 77"/>
                    <a:gd name="T54" fmla="*/ 23 w 69"/>
                    <a:gd name="T55" fmla="*/ 46 h 77"/>
                    <a:gd name="T56" fmla="*/ 34 w 69"/>
                    <a:gd name="T57" fmla="*/ 43 h 77"/>
                    <a:gd name="T58" fmla="*/ 35 w 69"/>
                    <a:gd name="T59" fmla="*/ 46 h 77"/>
                    <a:gd name="T60" fmla="*/ 44 w 69"/>
                    <a:gd name="T61" fmla="*/ 49 h 77"/>
                    <a:gd name="T62" fmla="*/ 44 w 69"/>
                    <a:gd name="T63" fmla="*/ 49 h 77"/>
                    <a:gd name="T64" fmla="*/ 43 w 69"/>
                    <a:gd name="T65" fmla="*/ 46 h 77"/>
                    <a:gd name="T66" fmla="*/ 54 w 69"/>
                    <a:gd name="T67" fmla="*/ 43 h 77"/>
                    <a:gd name="T68" fmla="*/ 55 w 69"/>
                    <a:gd name="T69" fmla="*/ 46 h 77"/>
                    <a:gd name="T70" fmla="*/ 14 w 69"/>
                    <a:gd name="T71" fmla="*/ 59 h 77"/>
                    <a:gd name="T72" fmla="*/ 14 w 69"/>
                    <a:gd name="T73" fmla="*/ 59 h 77"/>
                    <a:gd name="T74" fmla="*/ 13 w 69"/>
                    <a:gd name="T75" fmla="*/ 56 h 77"/>
                    <a:gd name="T76" fmla="*/ 24 w 69"/>
                    <a:gd name="T77" fmla="*/ 53 h 77"/>
                    <a:gd name="T78" fmla="*/ 25 w 69"/>
                    <a:gd name="T79" fmla="*/ 56 h 77"/>
                    <a:gd name="T80" fmla="*/ 34 w 69"/>
                    <a:gd name="T81" fmla="*/ 59 h 77"/>
                    <a:gd name="T82" fmla="*/ 34 w 69"/>
                    <a:gd name="T83" fmla="*/ 59 h 77"/>
                    <a:gd name="T84" fmla="*/ 33 w 69"/>
                    <a:gd name="T85" fmla="*/ 56 h 77"/>
                    <a:gd name="T86" fmla="*/ 44 w 69"/>
                    <a:gd name="T87" fmla="*/ 53 h 77"/>
                    <a:gd name="T88" fmla="*/ 45 w 69"/>
                    <a:gd name="T89" fmla="*/ 56 h 77"/>
                    <a:gd name="T90" fmla="*/ 54 w 69"/>
                    <a:gd name="T91" fmla="*/ 59 h 77"/>
                    <a:gd name="T92" fmla="*/ 54 w 69"/>
                    <a:gd name="T93" fmla="*/ 59 h 77"/>
                    <a:gd name="T94" fmla="*/ 53 w 69"/>
                    <a:gd name="T95" fmla="*/ 56 h 77"/>
                    <a:gd name="T96" fmla="*/ 14 w 69"/>
                    <a:gd name="T97" fmla="*/ 63 h 77"/>
                    <a:gd name="T98" fmla="*/ 15 w 69"/>
                    <a:gd name="T99" fmla="*/ 65 h 77"/>
                    <a:gd name="T100" fmla="*/ 24 w 69"/>
                    <a:gd name="T101" fmla="*/ 68 h 77"/>
                    <a:gd name="T102" fmla="*/ 24 w 69"/>
                    <a:gd name="T103" fmla="*/ 68 h 77"/>
                    <a:gd name="T104" fmla="*/ 23 w 69"/>
                    <a:gd name="T105" fmla="*/ 65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9" h="77">
                      <a:moveTo>
                        <a:pt x="61" y="7"/>
                      </a:moveTo>
                      <a:cubicBezTo>
                        <a:pt x="59" y="7"/>
                        <a:pt x="59" y="7"/>
                        <a:pt x="59" y="7"/>
                      </a:cubicBezTo>
                      <a:cubicBezTo>
                        <a:pt x="59" y="5"/>
                        <a:pt x="59" y="5"/>
                        <a:pt x="59" y="5"/>
                      </a:cubicBezTo>
                      <a:cubicBezTo>
                        <a:pt x="59" y="2"/>
                        <a:pt x="57" y="0"/>
                        <a:pt x="55" y="0"/>
                      </a:cubicBezTo>
                      <a:cubicBezTo>
                        <a:pt x="53" y="0"/>
                        <a:pt x="51" y="2"/>
                        <a:pt x="51" y="5"/>
                      </a:cubicBezTo>
                      <a:cubicBezTo>
                        <a:pt x="51" y="7"/>
                        <a:pt x="51" y="7"/>
                        <a:pt x="51" y="7"/>
                      </a:cubicBezTo>
                      <a:cubicBezTo>
                        <a:pt x="45" y="7"/>
                        <a:pt x="45" y="7"/>
                        <a:pt x="45" y="7"/>
                      </a:cubicBezTo>
                      <a:cubicBezTo>
                        <a:pt x="45" y="5"/>
                        <a:pt x="45" y="5"/>
                        <a:pt x="45" y="5"/>
                      </a:cubicBezTo>
                      <a:cubicBezTo>
                        <a:pt x="45" y="2"/>
                        <a:pt x="43" y="0"/>
                        <a:pt x="41" y="0"/>
                      </a:cubicBezTo>
                      <a:cubicBezTo>
                        <a:pt x="39" y="0"/>
                        <a:pt x="37" y="2"/>
                        <a:pt x="37" y="5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1" y="7"/>
                        <a:pt x="31" y="7"/>
                        <a:pt x="31" y="7"/>
                      </a:cubicBezTo>
                      <a:cubicBezTo>
                        <a:pt x="31" y="5"/>
                        <a:pt x="31" y="5"/>
                        <a:pt x="31" y="5"/>
                      </a:cubicBezTo>
                      <a:cubicBezTo>
                        <a:pt x="31" y="2"/>
                        <a:pt x="29" y="0"/>
                        <a:pt x="27" y="0"/>
                      </a:cubicBezTo>
                      <a:cubicBezTo>
                        <a:pt x="25" y="0"/>
                        <a:pt x="24" y="2"/>
                        <a:pt x="24" y="5"/>
                      </a:cubicBezTo>
                      <a:cubicBezTo>
                        <a:pt x="24" y="7"/>
                        <a:pt x="24" y="7"/>
                        <a:pt x="24" y="7"/>
                      </a:cubicBezTo>
                      <a:cubicBezTo>
                        <a:pt x="17" y="7"/>
                        <a:pt x="17" y="7"/>
                        <a:pt x="17" y="7"/>
                      </a:cubicBezTo>
                      <a:cubicBezTo>
                        <a:pt x="17" y="5"/>
                        <a:pt x="17" y="5"/>
                        <a:pt x="17" y="5"/>
                      </a:cubicBezTo>
                      <a:cubicBezTo>
                        <a:pt x="17" y="2"/>
                        <a:pt x="16" y="0"/>
                        <a:pt x="14" y="0"/>
                      </a:cubicBezTo>
                      <a:cubicBezTo>
                        <a:pt x="11" y="0"/>
                        <a:pt x="10" y="2"/>
                        <a:pt x="10" y="5"/>
                      </a:cubicBezTo>
                      <a:cubicBezTo>
                        <a:pt x="10" y="7"/>
                        <a:pt x="10" y="7"/>
                        <a:pt x="10" y="7"/>
                      </a:cubicBezTo>
                      <a:cubicBezTo>
                        <a:pt x="7" y="7"/>
                        <a:pt x="7" y="7"/>
                        <a:pt x="7" y="7"/>
                      </a:cubicBezTo>
                      <a:cubicBezTo>
                        <a:pt x="3" y="7"/>
                        <a:pt x="0" y="10"/>
                        <a:pt x="0" y="14"/>
                      </a:cubicBezTo>
                      <a:cubicBezTo>
                        <a:pt x="0" y="69"/>
                        <a:pt x="0" y="69"/>
                        <a:pt x="0" y="69"/>
                      </a:cubicBezTo>
                      <a:cubicBezTo>
                        <a:pt x="0" y="74"/>
                        <a:pt x="3" y="77"/>
                        <a:pt x="7" y="77"/>
                      </a:cubicBezTo>
                      <a:cubicBezTo>
                        <a:pt x="61" y="77"/>
                        <a:pt x="61" y="77"/>
                        <a:pt x="61" y="77"/>
                      </a:cubicBezTo>
                      <a:cubicBezTo>
                        <a:pt x="65" y="77"/>
                        <a:pt x="69" y="74"/>
                        <a:pt x="69" y="69"/>
                      </a:cubicBezTo>
                      <a:cubicBezTo>
                        <a:pt x="69" y="14"/>
                        <a:pt x="69" y="14"/>
                        <a:pt x="69" y="14"/>
                      </a:cubicBezTo>
                      <a:cubicBezTo>
                        <a:pt x="69" y="10"/>
                        <a:pt x="65" y="7"/>
                        <a:pt x="61" y="7"/>
                      </a:cubicBezTo>
                      <a:close/>
                      <a:moveTo>
                        <a:pt x="7" y="10"/>
                      </a:moveTo>
                      <a:cubicBezTo>
                        <a:pt x="10" y="10"/>
                        <a:pt x="10" y="10"/>
                        <a:pt x="10" y="10"/>
                      </a:cubicBezTo>
                      <a:cubicBezTo>
                        <a:pt x="10" y="13"/>
                        <a:pt x="10" y="13"/>
                        <a:pt x="10" y="13"/>
                      </a:cubicBezTo>
                      <a:cubicBezTo>
                        <a:pt x="10" y="15"/>
                        <a:pt x="11" y="17"/>
                        <a:pt x="14" y="17"/>
                      </a:cubicBezTo>
                      <a:cubicBezTo>
                        <a:pt x="16" y="17"/>
                        <a:pt x="17" y="15"/>
                        <a:pt x="17" y="13"/>
                      </a:cubicBezTo>
                      <a:cubicBezTo>
                        <a:pt x="17" y="10"/>
                        <a:pt x="17" y="10"/>
                        <a:pt x="17" y="10"/>
                      </a:cubicBezTo>
                      <a:cubicBezTo>
                        <a:pt x="24" y="10"/>
                        <a:pt x="24" y="10"/>
                        <a:pt x="24" y="10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4" y="15"/>
                        <a:pt x="25" y="17"/>
                        <a:pt x="27" y="17"/>
                      </a:cubicBezTo>
                      <a:cubicBezTo>
                        <a:pt x="29" y="17"/>
                        <a:pt x="31" y="15"/>
                        <a:pt x="31" y="13"/>
                      </a:cubicBezTo>
                      <a:cubicBezTo>
                        <a:pt x="31" y="10"/>
                        <a:pt x="31" y="10"/>
                        <a:pt x="31" y="10"/>
                      </a:cubicBezTo>
                      <a:cubicBezTo>
                        <a:pt x="37" y="10"/>
                        <a:pt x="37" y="10"/>
                        <a:pt x="37" y="10"/>
                      </a:cubicBezTo>
                      <a:cubicBezTo>
                        <a:pt x="37" y="13"/>
                        <a:pt x="37" y="13"/>
                        <a:pt x="37" y="13"/>
                      </a:cubicBezTo>
                      <a:cubicBezTo>
                        <a:pt x="37" y="15"/>
                        <a:pt x="39" y="17"/>
                        <a:pt x="41" y="17"/>
                      </a:cubicBezTo>
                      <a:cubicBezTo>
                        <a:pt x="43" y="17"/>
                        <a:pt x="45" y="15"/>
                        <a:pt x="45" y="13"/>
                      </a:cubicBezTo>
                      <a:cubicBezTo>
                        <a:pt x="45" y="10"/>
                        <a:pt x="45" y="10"/>
                        <a:pt x="45" y="10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3"/>
                        <a:pt x="51" y="13"/>
                        <a:pt x="51" y="13"/>
                      </a:cubicBezTo>
                      <a:cubicBezTo>
                        <a:pt x="51" y="15"/>
                        <a:pt x="53" y="17"/>
                        <a:pt x="55" y="17"/>
                      </a:cubicBezTo>
                      <a:cubicBezTo>
                        <a:pt x="57" y="17"/>
                        <a:pt x="59" y="15"/>
                        <a:pt x="59" y="13"/>
                      </a:cubicBezTo>
                      <a:cubicBezTo>
                        <a:pt x="59" y="10"/>
                        <a:pt x="59" y="10"/>
                        <a:pt x="59" y="10"/>
                      </a:cubicBezTo>
                      <a:cubicBezTo>
                        <a:pt x="61" y="10"/>
                        <a:pt x="61" y="10"/>
                        <a:pt x="61" y="10"/>
                      </a:cubicBezTo>
                      <a:cubicBezTo>
                        <a:pt x="64" y="10"/>
                        <a:pt x="66" y="12"/>
                        <a:pt x="66" y="14"/>
                      </a:cubicBezTo>
                      <a:cubicBezTo>
                        <a:pt x="66" y="26"/>
                        <a:pt x="66" y="26"/>
                        <a:pt x="66" y="26"/>
                      </a:cubicBezTo>
                      <a:cubicBezTo>
                        <a:pt x="3" y="26"/>
                        <a:pt x="3" y="26"/>
                        <a:pt x="3" y="26"/>
                      </a:cubicBezTo>
                      <a:cubicBezTo>
                        <a:pt x="3" y="14"/>
                        <a:pt x="3" y="14"/>
                        <a:pt x="3" y="14"/>
                      </a:cubicBezTo>
                      <a:cubicBezTo>
                        <a:pt x="3" y="12"/>
                        <a:pt x="5" y="10"/>
                        <a:pt x="7" y="10"/>
                      </a:cubicBezTo>
                      <a:close/>
                      <a:moveTo>
                        <a:pt x="3" y="28"/>
                      </a:moveTo>
                      <a:cubicBezTo>
                        <a:pt x="66" y="28"/>
                        <a:pt x="66" y="28"/>
                        <a:pt x="66" y="28"/>
                      </a:cubicBezTo>
                      <a:cubicBezTo>
                        <a:pt x="66" y="69"/>
                        <a:pt x="66" y="69"/>
                        <a:pt x="66" y="69"/>
                      </a:cubicBezTo>
                      <a:cubicBezTo>
                        <a:pt x="66" y="72"/>
                        <a:pt x="64" y="74"/>
                        <a:pt x="61" y="74"/>
                      </a:cubicBezTo>
                      <a:cubicBezTo>
                        <a:pt x="7" y="74"/>
                        <a:pt x="7" y="74"/>
                        <a:pt x="7" y="74"/>
                      </a:cubicBezTo>
                      <a:cubicBezTo>
                        <a:pt x="5" y="74"/>
                        <a:pt x="3" y="72"/>
                        <a:pt x="3" y="69"/>
                      </a:cubicBezTo>
                      <a:lnTo>
                        <a:pt x="3" y="28"/>
                      </a:lnTo>
                      <a:close/>
                      <a:moveTo>
                        <a:pt x="34" y="39"/>
                      </a:moveTo>
                      <a:cubicBezTo>
                        <a:pt x="36" y="39"/>
                        <a:pt x="37" y="38"/>
                        <a:pt x="37" y="36"/>
                      </a:cubicBezTo>
                      <a:cubicBezTo>
                        <a:pt x="37" y="34"/>
                        <a:pt x="36" y="33"/>
                        <a:pt x="34" y="33"/>
                      </a:cubicBezTo>
                      <a:cubicBezTo>
                        <a:pt x="33" y="33"/>
                        <a:pt x="31" y="34"/>
                        <a:pt x="31" y="36"/>
                      </a:cubicBezTo>
                      <a:cubicBezTo>
                        <a:pt x="31" y="38"/>
                        <a:pt x="33" y="39"/>
                        <a:pt x="34" y="39"/>
                      </a:cubicBezTo>
                      <a:close/>
                      <a:moveTo>
                        <a:pt x="34" y="35"/>
                      </a:moveTo>
                      <a:cubicBezTo>
                        <a:pt x="35" y="35"/>
                        <a:pt x="35" y="36"/>
                        <a:pt x="35" y="36"/>
                      </a:cubicBezTo>
                      <a:cubicBezTo>
                        <a:pt x="35" y="36"/>
                        <a:pt x="35" y="37"/>
                        <a:pt x="34" y="37"/>
                      </a:cubicBezTo>
                      <a:cubicBezTo>
                        <a:pt x="34" y="37"/>
                        <a:pt x="33" y="36"/>
                        <a:pt x="33" y="36"/>
                      </a:cubicBezTo>
                      <a:cubicBezTo>
                        <a:pt x="33" y="36"/>
                        <a:pt x="34" y="35"/>
                        <a:pt x="34" y="35"/>
                      </a:cubicBezTo>
                      <a:close/>
                      <a:moveTo>
                        <a:pt x="44" y="39"/>
                      </a:moveTo>
                      <a:cubicBezTo>
                        <a:pt x="46" y="39"/>
                        <a:pt x="47" y="38"/>
                        <a:pt x="47" y="36"/>
                      </a:cubicBezTo>
                      <a:cubicBezTo>
                        <a:pt x="47" y="34"/>
                        <a:pt x="46" y="33"/>
                        <a:pt x="44" y="33"/>
                      </a:cubicBezTo>
                      <a:cubicBezTo>
                        <a:pt x="43" y="33"/>
                        <a:pt x="41" y="34"/>
                        <a:pt x="41" y="36"/>
                      </a:cubicBezTo>
                      <a:cubicBezTo>
                        <a:pt x="41" y="38"/>
                        <a:pt x="43" y="39"/>
                        <a:pt x="44" y="39"/>
                      </a:cubicBezTo>
                      <a:close/>
                      <a:moveTo>
                        <a:pt x="44" y="35"/>
                      </a:moveTo>
                      <a:cubicBezTo>
                        <a:pt x="45" y="35"/>
                        <a:pt x="45" y="36"/>
                        <a:pt x="45" y="36"/>
                      </a:cubicBezTo>
                      <a:cubicBezTo>
                        <a:pt x="45" y="36"/>
                        <a:pt x="45" y="37"/>
                        <a:pt x="44" y="37"/>
                      </a:cubicBezTo>
                      <a:cubicBezTo>
                        <a:pt x="44" y="37"/>
                        <a:pt x="43" y="36"/>
                        <a:pt x="43" y="36"/>
                      </a:cubicBezTo>
                      <a:cubicBezTo>
                        <a:pt x="43" y="36"/>
                        <a:pt x="44" y="35"/>
                        <a:pt x="44" y="35"/>
                      </a:cubicBezTo>
                      <a:close/>
                      <a:moveTo>
                        <a:pt x="54" y="39"/>
                      </a:moveTo>
                      <a:cubicBezTo>
                        <a:pt x="56" y="39"/>
                        <a:pt x="57" y="38"/>
                        <a:pt x="57" y="36"/>
                      </a:cubicBezTo>
                      <a:cubicBezTo>
                        <a:pt x="57" y="34"/>
                        <a:pt x="56" y="33"/>
                        <a:pt x="54" y="33"/>
                      </a:cubicBezTo>
                      <a:cubicBezTo>
                        <a:pt x="52" y="33"/>
                        <a:pt x="51" y="34"/>
                        <a:pt x="51" y="36"/>
                      </a:cubicBezTo>
                      <a:cubicBezTo>
                        <a:pt x="51" y="38"/>
                        <a:pt x="52" y="39"/>
                        <a:pt x="54" y="39"/>
                      </a:cubicBezTo>
                      <a:close/>
                      <a:moveTo>
                        <a:pt x="54" y="35"/>
                      </a:moveTo>
                      <a:cubicBezTo>
                        <a:pt x="55" y="35"/>
                        <a:pt x="55" y="36"/>
                        <a:pt x="55" y="36"/>
                      </a:cubicBezTo>
                      <a:cubicBezTo>
                        <a:pt x="55" y="36"/>
                        <a:pt x="55" y="37"/>
                        <a:pt x="54" y="37"/>
                      </a:cubicBezTo>
                      <a:cubicBezTo>
                        <a:pt x="54" y="37"/>
                        <a:pt x="53" y="36"/>
                        <a:pt x="53" y="36"/>
                      </a:cubicBezTo>
                      <a:cubicBezTo>
                        <a:pt x="53" y="36"/>
                        <a:pt x="54" y="35"/>
                        <a:pt x="54" y="35"/>
                      </a:cubicBezTo>
                      <a:close/>
                      <a:moveTo>
                        <a:pt x="14" y="49"/>
                      </a:moveTo>
                      <a:cubicBezTo>
                        <a:pt x="16" y="49"/>
                        <a:pt x="17" y="47"/>
                        <a:pt x="17" y="46"/>
                      </a:cubicBezTo>
                      <a:cubicBezTo>
                        <a:pt x="17" y="44"/>
                        <a:pt x="16" y="43"/>
                        <a:pt x="14" y="43"/>
                      </a:cubicBezTo>
                      <a:cubicBezTo>
                        <a:pt x="13" y="43"/>
                        <a:pt x="11" y="44"/>
                        <a:pt x="11" y="46"/>
                      </a:cubicBezTo>
                      <a:cubicBezTo>
                        <a:pt x="11" y="47"/>
                        <a:pt x="13" y="49"/>
                        <a:pt x="14" y="49"/>
                      </a:cubicBezTo>
                      <a:close/>
                      <a:moveTo>
                        <a:pt x="14" y="45"/>
                      </a:moveTo>
                      <a:cubicBezTo>
                        <a:pt x="15" y="45"/>
                        <a:pt x="15" y="45"/>
                        <a:pt x="15" y="46"/>
                      </a:cubicBezTo>
                      <a:cubicBezTo>
                        <a:pt x="15" y="46"/>
                        <a:pt x="15" y="47"/>
                        <a:pt x="14" y="47"/>
                      </a:cubicBezTo>
                      <a:cubicBezTo>
                        <a:pt x="14" y="47"/>
                        <a:pt x="13" y="46"/>
                        <a:pt x="13" y="46"/>
                      </a:cubicBezTo>
                      <a:cubicBezTo>
                        <a:pt x="13" y="45"/>
                        <a:pt x="14" y="45"/>
                        <a:pt x="14" y="45"/>
                      </a:cubicBezTo>
                      <a:close/>
                      <a:moveTo>
                        <a:pt x="24" y="49"/>
                      </a:moveTo>
                      <a:cubicBezTo>
                        <a:pt x="26" y="49"/>
                        <a:pt x="27" y="47"/>
                        <a:pt x="27" y="46"/>
                      </a:cubicBezTo>
                      <a:cubicBezTo>
                        <a:pt x="27" y="44"/>
                        <a:pt x="26" y="43"/>
                        <a:pt x="24" y="43"/>
                      </a:cubicBezTo>
                      <a:cubicBezTo>
                        <a:pt x="23" y="43"/>
                        <a:pt x="21" y="44"/>
                        <a:pt x="21" y="46"/>
                      </a:cubicBezTo>
                      <a:cubicBezTo>
                        <a:pt x="21" y="47"/>
                        <a:pt x="23" y="49"/>
                        <a:pt x="24" y="49"/>
                      </a:cubicBezTo>
                      <a:close/>
                      <a:moveTo>
                        <a:pt x="24" y="45"/>
                      </a:moveTo>
                      <a:cubicBezTo>
                        <a:pt x="25" y="45"/>
                        <a:pt x="25" y="45"/>
                        <a:pt x="25" y="46"/>
                      </a:cubicBezTo>
                      <a:cubicBezTo>
                        <a:pt x="25" y="46"/>
                        <a:pt x="25" y="47"/>
                        <a:pt x="24" y="47"/>
                      </a:cubicBezTo>
                      <a:cubicBezTo>
                        <a:pt x="24" y="47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lose/>
                      <a:moveTo>
                        <a:pt x="34" y="49"/>
                      </a:moveTo>
                      <a:cubicBezTo>
                        <a:pt x="36" y="49"/>
                        <a:pt x="37" y="47"/>
                        <a:pt x="37" y="46"/>
                      </a:cubicBezTo>
                      <a:cubicBezTo>
                        <a:pt x="37" y="44"/>
                        <a:pt x="36" y="43"/>
                        <a:pt x="34" y="43"/>
                      </a:cubicBezTo>
                      <a:cubicBezTo>
                        <a:pt x="33" y="43"/>
                        <a:pt x="31" y="44"/>
                        <a:pt x="31" y="46"/>
                      </a:cubicBezTo>
                      <a:cubicBezTo>
                        <a:pt x="31" y="47"/>
                        <a:pt x="33" y="49"/>
                        <a:pt x="34" y="49"/>
                      </a:cubicBezTo>
                      <a:close/>
                      <a:moveTo>
                        <a:pt x="34" y="45"/>
                      </a:moveTo>
                      <a:cubicBezTo>
                        <a:pt x="35" y="45"/>
                        <a:pt x="35" y="45"/>
                        <a:pt x="35" y="46"/>
                      </a:cubicBezTo>
                      <a:cubicBezTo>
                        <a:pt x="35" y="46"/>
                        <a:pt x="35" y="47"/>
                        <a:pt x="34" y="47"/>
                      </a:cubicBezTo>
                      <a:cubicBezTo>
                        <a:pt x="34" y="47"/>
                        <a:pt x="33" y="46"/>
                        <a:pt x="33" y="46"/>
                      </a:cubicBezTo>
                      <a:cubicBezTo>
                        <a:pt x="33" y="45"/>
                        <a:pt x="34" y="45"/>
                        <a:pt x="34" y="45"/>
                      </a:cubicBezTo>
                      <a:close/>
                      <a:moveTo>
                        <a:pt x="44" y="49"/>
                      </a:moveTo>
                      <a:cubicBezTo>
                        <a:pt x="46" y="49"/>
                        <a:pt x="47" y="47"/>
                        <a:pt x="47" y="46"/>
                      </a:cubicBezTo>
                      <a:cubicBezTo>
                        <a:pt x="47" y="44"/>
                        <a:pt x="46" y="43"/>
                        <a:pt x="44" y="43"/>
                      </a:cubicBezTo>
                      <a:cubicBezTo>
                        <a:pt x="43" y="43"/>
                        <a:pt x="41" y="44"/>
                        <a:pt x="41" y="46"/>
                      </a:cubicBezTo>
                      <a:cubicBezTo>
                        <a:pt x="41" y="47"/>
                        <a:pt x="43" y="49"/>
                        <a:pt x="44" y="49"/>
                      </a:cubicBezTo>
                      <a:close/>
                      <a:moveTo>
                        <a:pt x="44" y="45"/>
                      </a:moveTo>
                      <a:cubicBezTo>
                        <a:pt x="45" y="45"/>
                        <a:pt x="45" y="45"/>
                        <a:pt x="45" y="46"/>
                      </a:cubicBezTo>
                      <a:cubicBezTo>
                        <a:pt x="45" y="46"/>
                        <a:pt x="45" y="47"/>
                        <a:pt x="44" y="47"/>
                      </a:cubicBezTo>
                      <a:cubicBezTo>
                        <a:pt x="44" y="47"/>
                        <a:pt x="43" y="46"/>
                        <a:pt x="43" y="46"/>
                      </a:cubicBezTo>
                      <a:cubicBezTo>
                        <a:pt x="43" y="45"/>
                        <a:pt x="44" y="45"/>
                        <a:pt x="44" y="45"/>
                      </a:cubicBezTo>
                      <a:close/>
                      <a:moveTo>
                        <a:pt x="54" y="49"/>
                      </a:moveTo>
                      <a:cubicBezTo>
                        <a:pt x="56" y="49"/>
                        <a:pt x="57" y="47"/>
                        <a:pt x="57" y="46"/>
                      </a:cubicBezTo>
                      <a:cubicBezTo>
                        <a:pt x="57" y="44"/>
                        <a:pt x="56" y="43"/>
                        <a:pt x="54" y="43"/>
                      </a:cubicBezTo>
                      <a:cubicBezTo>
                        <a:pt x="52" y="43"/>
                        <a:pt x="51" y="44"/>
                        <a:pt x="51" y="46"/>
                      </a:cubicBezTo>
                      <a:cubicBezTo>
                        <a:pt x="51" y="47"/>
                        <a:pt x="52" y="49"/>
                        <a:pt x="54" y="49"/>
                      </a:cubicBezTo>
                      <a:close/>
                      <a:moveTo>
                        <a:pt x="54" y="45"/>
                      </a:moveTo>
                      <a:cubicBezTo>
                        <a:pt x="55" y="45"/>
                        <a:pt x="55" y="45"/>
                        <a:pt x="55" y="46"/>
                      </a:cubicBezTo>
                      <a:cubicBezTo>
                        <a:pt x="55" y="46"/>
                        <a:pt x="55" y="47"/>
                        <a:pt x="54" y="47"/>
                      </a:cubicBezTo>
                      <a:cubicBezTo>
                        <a:pt x="54" y="47"/>
                        <a:pt x="53" y="46"/>
                        <a:pt x="53" y="46"/>
                      </a:cubicBezTo>
                      <a:cubicBezTo>
                        <a:pt x="53" y="45"/>
                        <a:pt x="54" y="45"/>
                        <a:pt x="54" y="45"/>
                      </a:cubicBezTo>
                      <a:close/>
                      <a:moveTo>
                        <a:pt x="14" y="59"/>
                      </a:moveTo>
                      <a:cubicBezTo>
                        <a:pt x="16" y="59"/>
                        <a:pt x="17" y="57"/>
                        <a:pt x="17" y="56"/>
                      </a:cubicBezTo>
                      <a:cubicBezTo>
                        <a:pt x="17" y="54"/>
                        <a:pt x="16" y="53"/>
                        <a:pt x="14" y="53"/>
                      </a:cubicBezTo>
                      <a:cubicBezTo>
                        <a:pt x="13" y="53"/>
                        <a:pt x="11" y="54"/>
                        <a:pt x="11" y="56"/>
                      </a:cubicBezTo>
                      <a:cubicBezTo>
                        <a:pt x="11" y="57"/>
                        <a:pt x="13" y="59"/>
                        <a:pt x="14" y="59"/>
                      </a:cubicBezTo>
                      <a:close/>
                      <a:moveTo>
                        <a:pt x="14" y="55"/>
                      </a:moveTo>
                      <a:cubicBezTo>
                        <a:pt x="15" y="55"/>
                        <a:pt x="15" y="55"/>
                        <a:pt x="15" y="56"/>
                      </a:cubicBezTo>
                      <a:cubicBezTo>
                        <a:pt x="15" y="56"/>
                        <a:pt x="15" y="57"/>
                        <a:pt x="14" y="57"/>
                      </a:cubicBezTo>
                      <a:cubicBezTo>
                        <a:pt x="14" y="57"/>
                        <a:pt x="13" y="56"/>
                        <a:pt x="13" y="56"/>
                      </a:cubicBezTo>
                      <a:cubicBezTo>
                        <a:pt x="13" y="55"/>
                        <a:pt x="14" y="55"/>
                        <a:pt x="14" y="55"/>
                      </a:cubicBezTo>
                      <a:close/>
                      <a:moveTo>
                        <a:pt x="24" y="59"/>
                      </a:moveTo>
                      <a:cubicBezTo>
                        <a:pt x="26" y="59"/>
                        <a:pt x="27" y="57"/>
                        <a:pt x="27" y="56"/>
                      </a:cubicBezTo>
                      <a:cubicBezTo>
                        <a:pt x="27" y="54"/>
                        <a:pt x="26" y="53"/>
                        <a:pt x="24" y="53"/>
                      </a:cubicBezTo>
                      <a:cubicBezTo>
                        <a:pt x="23" y="53"/>
                        <a:pt x="21" y="54"/>
                        <a:pt x="21" y="56"/>
                      </a:cubicBezTo>
                      <a:cubicBezTo>
                        <a:pt x="21" y="57"/>
                        <a:pt x="23" y="59"/>
                        <a:pt x="24" y="59"/>
                      </a:cubicBezTo>
                      <a:close/>
                      <a:moveTo>
                        <a:pt x="24" y="55"/>
                      </a:moveTo>
                      <a:cubicBezTo>
                        <a:pt x="25" y="55"/>
                        <a:pt x="25" y="55"/>
                        <a:pt x="25" y="56"/>
                      </a:cubicBezTo>
                      <a:cubicBezTo>
                        <a:pt x="25" y="56"/>
                        <a:pt x="25" y="57"/>
                        <a:pt x="24" y="57"/>
                      </a:cubicBezTo>
                      <a:cubicBezTo>
                        <a:pt x="24" y="57"/>
                        <a:pt x="23" y="56"/>
                        <a:pt x="23" y="56"/>
                      </a:cubicBezTo>
                      <a:cubicBezTo>
                        <a:pt x="23" y="55"/>
                        <a:pt x="24" y="55"/>
                        <a:pt x="24" y="55"/>
                      </a:cubicBezTo>
                      <a:close/>
                      <a:moveTo>
                        <a:pt x="34" y="59"/>
                      </a:moveTo>
                      <a:cubicBezTo>
                        <a:pt x="36" y="59"/>
                        <a:pt x="37" y="57"/>
                        <a:pt x="37" y="56"/>
                      </a:cubicBezTo>
                      <a:cubicBezTo>
                        <a:pt x="37" y="54"/>
                        <a:pt x="36" y="53"/>
                        <a:pt x="34" y="53"/>
                      </a:cubicBezTo>
                      <a:cubicBezTo>
                        <a:pt x="33" y="53"/>
                        <a:pt x="31" y="54"/>
                        <a:pt x="31" y="56"/>
                      </a:cubicBezTo>
                      <a:cubicBezTo>
                        <a:pt x="31" y="57"/>
                        <a:pt x="33" y="59"/>
                        <a:pt x="34" y="59"/>
                      </a:cubicBezTo>
                      <a:close/>
                      <a:moveTo>
                        <a:pt x="34" y="55"/>
                      </a:moveTo>
                      <a:cubicBezTo>
                        <a:pt x="35" y="55"/>
                        <a:pt x="35" y="55"/>
                        <a:pt x="35" y="56"/>
                      </a:cubicBezTo>
                      <a:cubicBezTo>
                        <a:pt x="35" y="56"/>
                        <a:pt x="35" y="57"/>
                        <a:pt x="34" y="57"/>
                      </a:cubicBezTo>
                      <a:cubicBezTo>
                        <a:pt x="34" y="57"/>
                        <a:pt x="33" y="56"/>
                        <a:pt x="33" y="56"/>
                      </a:cubicBezTo>
                      <a:cubicBezTo>
                        <a:pt x="33" y="55"/>
                        <a:pt x="34" y="55"/>
                        <a:pt x="34" y="55"/>
                      </a:cubicBezTo>
                      <a:close/>
                      <a:moveTo>
                        <a:pt x="44" y="59"/>
                      </a:moveTo>
                      <a:cubicBezTo>
                        <a:pt x="46" y="59"/>
                        <a:pt x="47" y="57"/>
                        <a:pt x="47" y="56"/>
                      </a:cubicBezTo>
                      <a:cubicBezTo>
                        <a:pt x="47" y="54"/>
                        <a:pt x="46" y="53"/>
                        <a:pt x="44" y="53"/>
                      </a:cubicBezTo>
                      <a:cubicBezTo>
                        <a:pt x="43" y="53"/>
                        <a:pt x="41" y="54"/>
                        <a:pt x="41" y="56"/>
                      </a:cubicBezTo>
                      <a:cubicBezTo>
                        <a:pt x="41" y="57"/>
                        <a:pt x="43" y="59"/>
                        <a:pt x="44" y="59"/>
                      </a:cubicBezTo>
                      <a:close/>
                      <a:moveTo>
                        <a:pt x="44" y="55"/>
                      </a:moveTo>
                      <a:cubicBezTo>
                        <a:pt x="45" y="55"/>
                        <a:pt x="45" y="55"/>
                        <a:pt x="45" y="56"/>
                      </a:cubicBezTo>
                      <a:cubicBezTo>
                        <a:pt x="45" y="56"/>
                        <a:pt x="45" y="57"/>
                        <a:pt x="44" y="57"/>
                      </a:cubicBezTo>
                      <a:cubicBezTo>
                        <a:pt x="44" y="57"/>
                        <a:pt x="43" y="56"/>
                        <a:pt x="43" y="56"/>
                      </a:cubicBezTo>
                      <a:cubicBezTo>
                        <a:pt x="43" y="55"/>
                        <a:pt x="44" y="55"/>
                        <a:pt x="44" y="55"/>
                      </a:cubicBezTo>
                      <a:close/>
                      <a:moveTo>
                        <a:pt x="54" y="59"/>
                      </a:moveTo>
                      <a:cubicBezTo>
                        <a:pt x="56" y="59"/>
                        <a:pt x="57" y="57"/>
                        <a:pt x="57" y="56"/>
                      </a:cubicBezTo>
                      <a:cubicBezTo>
                        <a:pt x="57" y="54"/>
                        <a:pt x="56" y="53"/>
                        <a:pt x="54" y="53"/>
                      </a:cubicBezTo>
                      <a:cubicBezTo>
                        <a:pt x="52" y="53"/>
                        <a:pt x="51" y="54"/>
                        <a:pt x="51" y="56"/>
                      </a:cubicBezTo>
                      <a:cubicBezTo>
                        <a:pt x="51" y="57"/>
                        <a:pt x="52" y="59"/>
                        <a:pt x="54" y="59"/>
                      </a:cubicBezTo>
                      <a:close/>
                      <a:moveTo>
                        <a:pt x="54" y="55"/>
                      </a:moveTo>
                      <a:cubicBezTo>
                        <a:pt x="55" y="55"/>
                        <a:pt x="55" y="55"/>
                        <a:pt x="55" y="56"/>
                      </a:cubicBezTo>
                      <a:cubicBezTo>
                        <a:pt x="55" y="56"/>
                        <a:pt x="55" y="57"/>
                        <a:pt x="54" y="57"/>
                      </a:cubicBezTo>
                      <a:cubicBezTo>
                        <a:pt x="54" y="57"/>
                        <a:pt x="53" y="56"/>
                        <a:pt x="53" y="56"/>
                      </a:cubicBezTo>
                      <a:cubicBezTo>
                        <a:pt x="53" y="55"/>
                        <a:pt x="54" y="55"/>
                        <a:pt x="54" y="55"/>
                      </a:cubicBezTo>
                      <a:close/>
                      <a:moveTo>
                        <a:pt x="14" y="68"/>
                      </a:moveTo>
                      <a:cubicBezTo>
                        <a:pt x="16" y="68"/>
                        <a:pt x="17" y="67"/>
                        <a:pt x="17" y="65"/>
                      </a:cubicBezTo>
                      <a:cubicBezTo>
                        <a:pt x="17" y="64"/>
                        <a:pt x="16" y="63"/>
                        <a:pt x="14" y="63"/>
                      </a:cubicBezTo>
                      <a:cubicBezTo>
                        <a:pt x="13" y="63"/>
                        <a:pt x="11" y="64"/>
                        <a:pt x="11" y="65"/>
                      </a:cubicBezTo>
                      <a:cubicBezTo>
                        <a:pt x="11" y="67"/>
                        <a:pt x="13" y="68"/>
                        <a:pt x="14" y="68"/>
                      </a:cubicBezTo>
                      <a:close/>
                      <a:moveTo>
                        <a:pt x="14" y="65"/>
                      </a:moveTo>
                      <a:cubicBezTo>
                        <a:pt x="15" y="65"/>
                        <a:pt x="15" y="65"/>
                        <a:pt x="15" y="65"/>
                      </a:cubicBezTo>
                      <a:cubicBezTo>
                        <a:pt x="15" y="66"/>
                        <a:pt x="15" y="66"/>
                        <a:pt x="14" y="66"/>
                      </a:cubicBezTo>
                      <a:cubicBezTo>
                        <a:pt x="14" y="66"/>
                        <a:pt x="13" y="66"/>
                        <a:pt x="13" y="65"/>
                      </a:cubicBezTo>
                      <a:cubicBezTo>
                        <a:pt x="13" y="65"/>
                        <a:pt x="14" y="65"/>
                        <a:pt x="14" y="65"/>
                      </a:cubicBezTo>
                      <a:close/>
                      <a:moveTo>
                        <a:pt x="24" y="68"/>
                      </a:moveTo>
                      <a:cubicBezTo>
                        <a:pt x="26" y="68"/>
                        <a:pt x="27" y="67"/>
                        <a:pt x="27" y="65"/>
                      </a:cubicBezTo>
                      <a:cubicBezTo>
                        <a:pt x="27" y="64"/>
                        <a:pt x="26" y="63"/>
                        <a:pt x="24" y="63"/>
                      </a:cubicBezTo>
                      <a:cubicBezTo>
                        <a:pt x="23" y="63"/>
                        <a:pt x="21" y="64"/>
                        <a:pt x="21" y="65"/>
                      </a:cubicBezTo>
                      <a:cubicBezTo>
                        <a:pt x="21" y="67"/>
                        <a:pt x="23" y="68"/>
                        <a:pt x="24" y="68"/>
                      </a:cubicBezTo>
                      <a:close/>
                      <a:moveTo>
                        <a:pt x="24" y="65"/>
                      </a:moveTo>
                      <a:cubicBezTo>
                        <a:pt x="25" y="65"/>
                        <a:pt x="25" y="65"/>
                        <a:pt x="25" y="65"/>
                      </a:cubicBezTo>
                      <a:cubicBezTo>
                        <a:pt x="25" y="66"/>
                        <a:pt x="25" y="66"/>
                        <a:pt x="24" y="66"/>
                      </a:cubicBezTo>
                      <a:cubicBezTo>
                        <a:pt x="24" y="66"/>
                        <a:pt x="23" y="66"/>
                        <a:pt x="23" y="65"/>
                      </a:cubicBezTo>
                      <a:cubicBezTo>
                        <a:pt x="23" y="65"/>
                        <a:pt x="24" y="65"/>
                        <a:pt x="24" y="6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1" name="任意多边形: 形状 140">
                  <a:extLst>
                    <a:ext uri="{FF2B5EF4-FFF2-40B4-BE49-F238E27FC236}">
                      <a16:creationId xmlns:a16="http://schemas.microsoft.com/office/drawing/2014/main" id="{BC8252EE-602A-4192-B8E7-2F744A750B92}"/>
                    </a:ext>
                  </a:extLst>
                </p:cNvPr>
                <p:cNvSpPr/>
                <p:nvPr/>
              </p:nvSpPr>
              <p:spPr bwMode="auto">
                <a:xfrm>
                  <a:off x="6205014" y="4967685"/>
                  <a:ext cx="408285" cy="476333"/>
                </a:xfrm>
                <a:custGeom>
                  <a:avLst/>
                  <a:gdLst>
                    <a:gd name="T0" fmla="*/ 36 w 56"/>
                    <a:gd name="T1" fmla="*/ 14 h 65"/>
                    <a:gd name="T2" fmla="*/ 43 w 56"/>
                    <a:gd name="T3" fmla="*/ 2 h 65"/>
                    <a:gd name="T4" fmla="*/ 41 w 56"/>
                    <a:gd name="T5" fmla="*/ 0 h 65"/>
                    <a:gd name="T6" fmla="*/ 13 w 56"/>
                    <a:gd name="T7" fmla="*/ 1 h 65"/>
                    <a:gd name="T8" fmla="*/ 20 w 56"/>
                    <a:gd name="T9" fmla="*/ 14 h 65"/>
                    <a:gd name="T10" fmla="*/ 0 w 56"/>
                    <a:gd name="T11" fmla="*/ 37 h 65"/>
                    <a:gd name="T12" fmla="*/ 7 w 56"/>
                    <a:gd name="T13" fmla="*/ 65 h 65"/>
                    <a:gd name="T14" fmla="*/ 56 w 56"/>
                    <a:gd name="T15" fmla="*/ 58 h 65"/>
                    <a:gd name="T16" fmla="*/ 36 w 56"/>
                    <a:gd name="T17" fmla="*/ 15 h 65"/>
                    <a:gd name="T18" fmla="*/ 23 w 56"/>
                    <a:gd name="T19" fmla="*/ 4 h 65"/>
                    <a:gd name="T20" fmla="*/ 21 w 56"/>
                    <a:gd name="T21" fmla="*/ 5 h 65"/>
                    <a:gd name="T22" fmla="*/ 22 w 56"/>
                    <a:gd name="T23" fmla="*/ 13 h 65"/>
                    <a:gd name="T24" fmla="*/ 39 w 56"/>
                    <a:gd name="T25" fmla="*/ 3 h 65"/>
                    <a:gd name="T26" fmla="*/ 26 w 56"/>
                    <a:gd name="T27" fmla="*/ 13 h 65"/>
                    <a:gd name="T28" fmla="*/ 33 w 56"/>
                    <a:gd name="T29" fmla="*/ 15 h 65"/>
                    <a:gd name="T30" fmla="*/ 23 w 56"/>
                    <a:gd name="T31" fmla="*/ 16 h 65"/>
                    <a:gd name="T32" fmla="*/ 53 w 56"/>
                    <a:gd name="T33" fmla="*/ 58 h 65"/>
                    <a:gd name="T34" fmla="*/ 7 w 56"/>
                    <a:gd name="T35" fmla="*/ 62 h 65"/>
                    <a:gd name="T36" fmla="*/ 3 w 56"/>
                    <a:gd name="T37" fmla="*/ 37 h 65"/>
                    <a:gd name="T38" fmla="*/ 34 w 56"/>
                    <a:gd name="T39" fmla="*/ 18 h 65"/>
                    <a:gd name="T40" fmla="*/ 53 w 56"/>
                    <a:gd name="T41" fmla="*/ 58 h 65"/>
                    <a:gd name="T42" fmla="*/ 8 w 56"/>
                    <a:gd name="T43" fmla="*/ 54 h 65"/>
                    <a:gd name="T44" fmla="*/ 12 w 56"/>
                    <a:gd name="T45" fmla="*/ 58 h 65"/>
                    <a:gd name="T46" fmla="*/ 6 w 56"/>
                    <a:gd name="T47" fmla="*/ 54 h 65"/>
                    <a:gd name="T48" fmla="*/ 23 w 56"/>
                    <a:gd name="T49" fmla="*/ 21 h 65"/>
                    <a:gd name="T50" fmla="*/ 23 w 56"/>
                    <a:gd name="T51" fmla="*/ 23 h 65"/>
                    <a:gd name="T52" fmla="*/ 28 w 56"/>
                    <a:gd name="T53" fmla="*/ 28 h 65"/>
                    <a:gd name="T54" fmla="*/ 28 w 56"/>
                    <a:gd name="T55" fmla="*/ 53 h 65"/>
                    <a:gd name="T56" fmla="*/ 28 w 56"/>
                    <a:gd name="T57" fmla="*/ 28 h 65"/>
                    <a:gd name="T58" fmla="*/ 17 w 56"/>
                    <a:gd name="T59" fmla="*/ 41 h 65"/>
                    <a:gd name="T60" fmla="*/ 38 w 56"/>
                    <a:gd name="T61" fmla="*/ 41 h 65"/>
                    <a:gd name="T62" fmla="*/ 26 w 56"/>
                    <a:gd name="T63" fmla="*/ 37 h 65"/>
                    <a:gd name="T64" fmla="*/ 32 w 56"/>
                    <a:gd name="T65" fmla="*/ 44 h 65"/>
                    <a:gd name="T66" fmla="*/ 29 w 56"/>
                    <a:gd name="T67" fmla="*/ 49 h 65"/>
                    <a:gd name="T68" fmla="*/ 27 w 56"/>
                    <a:gd name="T69" fmla="*/ 49 h 65"/>
                    <a:gd name="T70" fmla="*/ 24 w 56"/>
                    <a:gd name="T71" fmla="*/ 44 h 65"/>
                    <a:gd name="T72" fmla="*/ 26 w 56"/>
                    <a:gd name="T73" fmla="*/ 44 h 65"/>
                    <a:gd name="T74" fmla="*/ 30 w 56"/>
                    <a:gd name="T75" fmla="*/ 44 h 65"/>
                    <a:gd name="T76" fmla="*/ 24 w 56"/>
                    <a:gd name="T77" fmla="*/ 37 h 65"/>
                    <a:gd name="T78" fmla="*/ 27 w 56"/>
                    <a:gd name="T79" fmla="*/ 32 h 65"/>
                    <a:gd name="T80" fmla="*/ 29 w 56"/>
                    <a:gd name="T81" fmla="*/ 32 h 65"/>
                    <a:gd name="T82" fmla="*/ 32 w 56"/>
                    <a:gd name="T83" fmla="*/ 37 h 65"/>
                    <a:gd name="T84" fmla="*/ 30 w 56"/>
                    <a:gd name="T85" fmla="*/ 37 h 65"/>
                    <a:gd name="T86" fmla="*/ 26 w 56"/>
                    <a:gd name="T87" fmla="*/ 37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56" h="65">
                      <a:moveTo>
                        <a:pt x="36" y="15"/>
                      </a:moveTo>
                      <a:cubicBezTo>
                        <a:pt x="36" y="14"/>
                        <a:pt x="36" y="14"/>
                        <a:pt x="36" y="14"/>
                      </a:cubicBezTo>
                      <a:cubicBezTo>
                        <a:pt x="43" y="3"/>
                        <a:pt x="43" y="3"/>
                        <a:pt x="43" y="3"/>
                      </a:cubicBezTo>
                      <a:cubicBezTo>
                        <a:pt x="43" y="3"/>
                        <a:pt x="43" y="3"/>
                        <a:pt x="43" y="2"/>
                      </a:cubicBezTo>
                      <a:cubicBezTo>
                        <a:pt x="43" y="1"/>
                        <a:pt x="42" y="0"/>
                        <a:pt x="41" y="0"/>
                      </a:cubicBezTo>
                      <a:cubicBezTo>
                        <a:pt x="41" y="0"/>
                        <a:pt x="41" y="0"/>
                        <a:pt x="41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4" y="0"/>
                        <a:pt x="13" y="0"/>
                        <a:pt x="13" y="1"/>
                      </a:cubicBezTo>
                      <a:cubicBezTo>
                        <a:pt x="12" y="2"/>
                        <a:pt x="12" y="3"/>
                        <a:pt x="13" y="3"/>
                      </a:cubicBezTo>
                      <a:cubicBezTo>
                        <a:pt x="20" y="14"/>
                        <a:pt x="20" y="14"/>
                        <a:pt x="20" y="14"/>
                      </a:cubicBezTo>
                      <a:cubicBezTo>
                        <a:pt x="20" y="15"/>
                        <a:pt x="20" y="15"/>
                        <a:pt x="20" y="15"/>
                      </a:cubicBezTo>
                      <a:cubicBezTo>
                        <a:pt x="9" y="16"/>
                        <a:pt x="0" y="26"/>
                        <a:pt x="0" y="37"/>
                      </a:cubicBezTo>
                      <a:cubicBezTo>
                        <a:pt x="0" y="58"/>
                        <a:pt x="0" y="58"/>
                        <a:pt x="0" y="58"/>
                      </a:cubicBezTo>
                      <a:cubicBezTo>
                        <a:pt x="0" y="61"/>
                        <a:pt x="3" y="65"/>
                        <a:pt x="7" y="65"/>
                      </a:cubicBezTo>
                      <a:cubicBezTo>
                        <a:pt x="49" y="65"/>
                        <a:pt x="49" y="65"/>
                        <a:pt x="49" y="65"/>
                      </a:cubicBezTo>
                      <a:cubicBezTo>
                        <a:pt x="53" y="65"/>
                        <a:pt x="56" y="61"/>
                        <a:pt x="56" y="58"/>
                      </a:cubicBezTo>
                      <a:cubicBezTo>
                        <a:pt x="56" y="37"/>
                        <a:pt x="56" y="37"/>
                        <a:pt x="56" y="37"/>
                      </a:cubicBezTo>
                      <a:cubicBezTo>
                        <a:pt x="56" y="26"/>
                        <a:pt x="47" y="16"/>
                        <a:pt x="36" y="15"/>
                      </a:cubicBezTo>
                      <a:close/>
                      <a:moveTo>
                        <a:pt x="26" y="13"/>
                      </a:moveTo>
                      <a:cubicBezTo>
                        <a:pt x="23" y="4"/>
                        <a:pt x="23" y="4"/>
                        <a:pt x="23" y="4"/>
                      </a:cubicBezTo>
                      <a:cubicBezTo>
                        <a:pt x="22" y="3"/>
                        <a:pt x="22" y="3"/>
                        <a:pt x="21" y="3"/>
                      </a:cubicBezTo>
                      <a:cubicBezTo>
                        <a:pt x="21" y="4"/>
                        <a:pt x="21" y="4"/>
                        <a:pt x="21" y="5"/>
                      </a:cubicBezTo>
                      <a:cubicBezTo>
                        <a:pt x="24" y="13"/>
                        <a:pt x="24" y="13"/>
                        <a:pt x="24" y="13"/>
                      </a:cubicBezTo>
                      <a:cubicBezTo>
                        <a:pt x="22" y="13"/>
                        <a:pt x="22" y="13"/>
                        <a:pt x="22" y="13"/>
                      </a:cubicBezTo>
                      <a:cubicBezTo>
                        <a:pt x="16" y="3"/>
                        <a:pt x="16" y="3"/>
                        <a:pt x="16" y="3"/>
                      </a:cubicBezTo>
                      <a:cubicBezTo>
                        <a:pt x="39" y="3"/>
                        <a:pt x="39" y="3"/>
                        <a:pt x="39" y="3"/>
                      </a:cubicBezTo>
                      <a:cubicBezTo>
                        <a:pt x="33" y="13"/>
                        <a:pt x="33" y="13"/>
                        <a:pt x="33" y="13"/>
                      </a:cubicBezTo>
                      <a:lnTo>
                        <a:pt x="26" y="13"/>
                      </a:lnTo>
                      <a:close/>
                      <a:moveTo>
                        <a:pt x="23" y="15"/>
                      </a:moveTo>
                      <a:cubicBezTo>
                        <a:pt x="33" y="15"/>
                        <a:pt x="33" y="15"/>
                        <a:pt x="33" y="15"/>
                      </a:cubicBezTo>
                      <a:cubicBezTo>
                        <a:pt x="33" y="16"/>
                        <a:pt x="33" y="16"/>
                        <a:pt x="33" y="16"/>
                      </a:cubicBezTo>
                      <a:cubicBezTo>
                        <a:pt x="23" y="16"/>
                        <a:pt x="23" y="16"/>
                        <a:pt x="23" y="16"/>
                      </a:cubicBezTo>
                      <a:lnTo>
                        <a:pt x="23" y="15"/>
                      </a:lnTo>
                      <a:close/>
                      <a:moveTo>
                        <a:pt x="53" y="58"/>
                      </a:moveTo>
                      <a:cubicBezTo>
                        <a:pt x="53" y="60"/>
                        <a:pt x="51" y="62"/>
                        <a:pt x="49" y="62"/>
                      </a:cubicBezTo>
                      <a:cubicBezTo>
                        <a:pt x="7" y="62"/>
                        <a:pt x="7" y="62"/>
                        <a:pt x="7" y="62"/>
                      </a:cubicBezTo>
                      <a:cubicBezTo>
                        <a:pt x="5" y="62"/>
                        <a:pt x="3" y="60"/>
                        <a:pt x="3" y="58"/>
                      </a:cubicBezTo>
                      <a:cubicBezTo>
                        <a:pt x="3" y="37"/>
                        <a:pt x="3" y="37"/>
                        <a:pt x="3" y="37"/>
                      </a:cubicBezTo>
                      <a:cubicBezTo>
                        <a:pt x="3" y="26"/>
                        <a:pt x="11" y="18"/>
                        <a:pt x="22" y="18"/>
                      </a:cubicBezTo>
                      <a:cubicBezTo>
                        <a:pt x="34" y="18"/>
                        <a:pt x="34" y="18"/>
                        <a:pt x="34" y="18"/>
                      </a:cubicBezTo>
                      <a:cubicBezTo>
                        <a:pt x="44" y="18"/>
                        <a:pt x="53" y="26"/>
                        <a:pt x="53" y="37"/>
                      </a:cubicBezTo>
                      <a:lnTo>
                        <a:pt x="53" y="58"/>
                      </a:lnTo>
                      <a:close/>
                      <a:moveTo>
                        <a:pt x="8" y="38"/>
                      </a:moveTo>
                      <a:cubicBezTo>
                        <a:pt x="8" y="54"/>
                        <a:pt x="8" y="54"/>
                        <a:pt x="8" y="54"/>
                      </a:cubicBezTo>
                      <a:cubicBezTo>
                        <a:pt x="8" y="55"/>
                        <a:pt x="9" y="57"/>
                        <a:pt x="11" y="57"/>
                      </a:cubicBezTo>
                      <a:cubicBezTo>
                        <a:pt x="11" y="57"/>
                        <a:pt x="12" y="57"/>
                        <a:pt x="12" y="58"/>
                      </a:cubicBezTo>
                      <a:cubicBezTo>
                        <a:pt x="12" y="58"/>
                        <a:pt x="11" y="59"/>
                        <a:pt x="11" y="59"/>
                      </a:cubicBezTo>
                      <a:cubicBezTo>
                        <a:pt x="8" y="59"/>
                        <a:pt x="6" y="56"/>
                        <a:pt x="6" y="54"/>
                      </a:cubicBezTo>
                      <a:cubicBezTo>
                        <a:pt x="6" y="38"/>
                        <a:pt x="6" y="38"/>
                        <a:pt x="6" y="38"/>
                      </a:cubicBezTo>
                      <a:cubicBezTo>
                        <a:pt x="6" y="28"/>
                        <a:pt x="14" y="21"/>
                        <a:pt x="23" y="21"/>
                      </a:cubicBezTo>
                      <a:cubicBezTo>
                        <a:pt x="24" y="21"/>
                        <a:pt x="24" y="21"/>
                        <a:pt x="24" y="22"/>
                      </a:cubicBezTo>
                      <a:cubicBezTo>
                        <a:pt x="24" y="22"/>
                        <a:pt x="24" y="23"/>
                        <a:pt x="23" y="23"/>
                      </a:cubicBezTo>
                      <a:cubicBezTo>
                        <a:pt x="15" y="23"/>
                        <a:pt x="8" y="29"/>
                        <a:pt x="8" y="38"/>
                      </a:cubicBezTo>
                      <a:close/>
                      <a:moveTo>
                        <a:pt x="28" y="28"/>
                      </a:moveTo>
                      <a:cubicBezTo>
                        <a:pt x="21" y="28"/>
                        <a:pt x="15" y="34"/>
                        <a:pt x="15" y="41"/>
                      </a:cubicBezTo>
                      <a:cubicBezTo>
                        <a:pt x="15" y="47"/>
                        <a:pt x="21" y="53"/>
                        <a:pt x="28" y="53"/>
                      </a:cubicBezTo>
                      <a:cubicBezTo>
                        <a:pt x="35" y="53"/>
                        <a:pt x="40" y="47"/>
                        <a:pt x="40" y="41"/>
                      </a:cubicBezTo>
                      <a:cubicBezTo>
                        <a:pt x="40" y="34"/>
                        <a:pt x="35" y="28"/>
                        <a:pt x="28" y="28"/>
                      </a:cubicBezTo>
                      <a:close/>
                      <a:moveTo>
                        <a:pt x="28" y="51"/>
                      </a:moveTo>
                      <a:cubicBezTo>
                        <a:pt x="22" y="51"/>
                        <a:pt x="17" y="46"/>
                        <a:pt x="17" y="41"/>
                      </a:cubicBezTo>
                      <a:cubicBezTo>
                        <a:pt x="17" y="35"/>
                        <a:pt x="22" y="30"/>
                        <a:pt x="28" y="30"/>
                      </a:cubicBezTo>
                      <a:cubicBezTo>
                        <a:pt x="33" y="30"/>
                        <a:pt x="38" y="35"/>
                        <a:pt x="38" y="41"/>
                      </a:cubicBezTo>
                      <a:cubicBezTo>
                        <a:pt x="38" y="46"/>
                        <a:pt x="33" y="51"/>
                        <a:pt x="28" y="51"/>
                      </a:cubicBezTo>
                      <a:close/>
                      <a:moveTo>
                        <a:pt x="26" y="37"/>
                      </a:moveTo>
                      <a:cubicBezTo>
                        <a:pt x="26" y="39"/>
                        <a:pt x="27" y="40"/>
                        <a:pt x="28" y="40"/>
                      </a:cubicBezTo>
                      <a:cubicBezTo>
                        <a:pt x="30" y="40"/>
                        <a:pt x="32" y="41"/>
                        <a:pt x="32" y="44"/>
                      </a:cubicBezTo>
                      <a:cubicBezTo>
                        <a:pt x="32" y="46"/>
                        <a:pt x="31" y="47"/>
                        <a:pt x="29" y="48"/>
                      </a:cubicBezTo>
                      <a:cubicBezTo>
                        <a:pt x="29" y="49"/>
                        <a:pt x="29" y="49"/>
                        <a:pt x="29" y="49"/>
                      </a:cubicBezTo>
                      <a:cubicBezTo>
                        <a:pt x="29" y="49"/>
                        <a:pt x="28" y="50"/>
                        <a:pt x="28" y="50"/>
                      </a:cubicBezTo>
                      <a:cubicBezTo>
                        <a:pt x="27" y="50"/>
                        <a:pt x="27" y="49"/>
                        <a:pt x="27" y="49"/>
                      </a:cubicBezTo>
                      <a:cubicBezTo>
                        <a:pt x="27" y="48"/>
                        <a:pt x="27" y="48"/>
                        <a:pt x="27" y="48"/>
                      </a:cubicBezTo>
                      <a:cubicBezTo>
                        <a:pt x="25" y="47"/>
                        <a:pt x="24" y="46"/>
                        <a:pt x="24" y="44"/>
                      </a:cubicBezTo>
                      <a:cubicBezTo>
                        <a:pt x="24" y="43"/>
                        <a:pt x="24" y="43"/>
                        <a:pt x="25" y="43"/>
                      </a:cubicBezTo>
                      <a:cubicBezTo>
                        <a:pt x="25" y="43"/>
                        <a:pt x="26" y="43"/>
                        <a:pt x="26" y="44"/>
                      </a:cubicBezTo>
                      <a:cubicBezTo>
                        <a:pt x="26" y="45"/>
                        <a:pt x="27" y="46"/>
                        <a:pt x="28" y="46"/>
                      </a:cubicBezTo>
                      <a:cubicBezTo>
                        <a:pt x="29" y="46"/>
                        <a:pt x="30" y="45"/>
                        <a:pt x="30" y="44"/>
                      </a:cubicBezTo>
                      <a:cubicBezTo>
                        <a:pt x="30" y="42"/>
                        <a:pt x="29" y="42"/>
                        <a:pt x="28" y="42"/>
                      </a:cubicBezTo>
                      <a:cubicBezTo>
                        <a:pt x="25" y="42"/>
                        <a:pt x="24" y="40"/>
                        <a:pt x="24" y="37"/>
                      </a:cubicBezTo>
                      <a:cubicBezTo>
                        <a:pt x="24" y="36"/>
                        <a:pt x="25" y="34"/>
                        <a:pt x="27" y="34"/>
                      </a:cubicBezTo>
                      <a:cubicBezTo>
                        <a:pt x="27" y="32"/>
                        <a:pt x="27" y="32"/>
                        <a:pt x="27" y="32"/>
                      </a:cubicBezTo>
                      <a:cubicBezTo>
                        <a:pt x="27" y="32"/>
                        <a:pt x="27" y="31"/>
                        <a:pt x="28" y="31"/>
                      </a:cubicBezTo>
                      <a:cubicBezTo>
                        <a:pt x="28" y="31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9" y="33"/>
                      </a:cubicBezTo>
                      <a:cubicBezTo>
                        <a:pt x="30" y="34"/>
                        <a:pt x="32" y="35"/>
                        <a:pt x="32" y="37"/>
                      </a:cubicBezTo>
                      <a:cubicBezTo>
                        <a:pt x="32" y="38"/>
                        <a:pt x="31" y="38"/>
                        <a:pt x="31" y="38"/>
                      </a:cubicBezTo>
                      <a:cubicBezTo>
                        <a:pt x="30" y="38"/>
                        <a:pt x="30" y="38"/>
                        <a:pt x="30" y="37"/>
                      </a:cubicBezTo>
                      <a:cubicBezTo>
                        <a:pt x="30" y="36"/>
                        <a:pt x="29" y="35"/>
                        <a:pt x="28" y="35"/>
                      </a:cubicBezTo>
                      <a:cubicBezTo>
                        <a:pt x="27" y="35"/>
                        <a:pt x="26" y="36"/>
                        <a:pt x="26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2" name="任意多边形: 形状 141">
                  <a:extLst>
                    <a:ext uri="{FF2B5EF4-FFF2-40B4-BE49-F238E27FC236}">
                      <a16:creationId xmlns:a16="http://schemas.microsoft.com/office/drawing/2014/main" id="{3B82A66D-922C-44F2-A1BE-4CD0947BDC0F}"/>
                    </a:ext>
                  </a:extLst>
                </p:cNvPr>
                <p:cNvSpPr/>
                <p:nvPr/>
              </p:nvSpPr>
              <p:spPr bwMode="auto">
                <a:xfrm>
                  <a:off x="7018317" y="3794644"/>
                  <a:ext cx="481168" cy="312108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2 w 77"/>
                    <a:gd name="T11" fmla="*/ 46 h 48"/>
                    <a:gd name="T12" fmla="*/ 14 w 77"/>
                    <a:gd name="T13" fmla="*/ 47 h 48"/>
                    <a:gd name="T14" fmla="*/ 16 w 77"/>
                    <a:gd name="T15" fmla="*/ 48 h 48"/>
                    <a:gd name="T16" fmla="*/ 19 w 77"/>
                    <a:gd name="T17" fmla="*/ 48 h 48"/>
                    <a:gd name="T18" fmla="*/ 22 w 77"/>
                    <a:gd name="T19" fmla="*/ 47 h 48"/>
                    <a:gd name="T20" fmla="*/ 24 w 77"/>
                    <a:gd name="T21" fmla="*/ 46 h 48"/>
                    <a:gd name="T22" fmla="*/ 25 w 77"/>
                    <a:gd name="T23" fmla="*/ 43 h 48"/>
                    <a:gd name="T24" fmla="*/ 50 w 77"/>
                    <a:gd name="T25" fmla="*/ 42 h 48"/>
                    <a:gd name="T26" fmla="*/ 51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3 w 77"/>
                    <a:gd name="T37" fmla="*/ 47 h 48"/>
                    <a:gd name="T38" fmla="*/ 64 w 77"/>
                    <a:gd name="T39" fmla="*/ 46 h 48"/>
                    <a:gd name="T40" fmla="*/ 66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20 w 77"/>
                    <a:gd name="T53" fmla="*/ 43 h 48"/>
                    <a:gd name="T54" fmla="*/ 16 w 77"/>
                    <a:gd name="T55" fmla="*/ 44 h 48"/>
                    <a:gd name="T56" fmla="*/ 14 w 77"/>
                    <a:gd name="T57" fmla="*/ 42 h 48"/>
                    <a:gd name="T58" fmla="*/ 13 w 77"/>
                    <a:gd name="T59" fmla="*/ 40 h 48"/>
                    <a:gd name="T60" fmla="*/ 15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2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2 w 77"/>
                    <a:gd name="T73" fmla="*/ 12 h 48"/>
                    <a:gd name="T74" fmla="*/ 29 w 77"/>
                    <a:gd name="T75" fmla="*/ 12 h 48"/>
                    <a:gd name="T76" fmla="*/ 23 w 77"/>
                    <a:gd name="T77" fmla="*/ 33 h 48"/>
                    <a:gd name="T78" fmla="*/ 25 w 77"/>
                    <a:gd name="T79" fmla="*/ 35 h 48"/>
                    <a:gd name="T80" fmla="*/ 51 w 77"/>
                    <a:gd name="T81" fmla="*/ 35 h 48"/>
                    <a:gd name="T82" fmla="*/ 62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4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1 w 77"/>
                    <a:gd name="T97" fmla="*/ 36 h 48"/>
                    <a:gd name="T98" fmla="*/ 63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58 w 77"/>
                    <a:gd name="T105" fmla="*/ 31 h 48"/>
                    <a:gd name="T106" fmla="*/ 31 w 77"/>
                    <a:gd name="T107" fmla="*/ 32 h 48"/>
                    <a:gd name="T108" fmla="*/ 74 w 77"/>
                    <a:gd name="T109" fmla="*/ 3 h 48"/>
                    <a:gd name="T110" fmla="*/ 18 w 77"/>
                    <a:gd name="T111" fmla="*/ 29 h 48"/>
                    <a:gd name="T112" fmla="*/ 14 w 77"/>
                    <a:gd name="T113" fmla="*/ 27 h 48"/>
                    <a:gd name="T114" fmla="*/ 26 w 77"/>
                    <a:gd name="T115" fmla="*/ 13 h 48"/>
                    <a:gd name="T116" fmla="*/ 6 w 77"/>
                    <a:gd name="T117" fmla="*/ 23 h 48"/>
                    <a:gd name="T118" fmla="*/ 26 w 77"/>
                    <a:gd name="T119" fmla="*/ 25 h 48"/>
                    <a:gd name="T120" fmla="*/ 26 w 77"/>
                    <a:gd name="T121" fmla="*/ 13 h 48"/>
                    <a:gd name="T122" fmla="*/ 14 w 77"/>
                    <a:gd name="T123" fmla="*/ 15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2" y="8"/>
                        <a:pt x="12" y="8"/>
                        <a:pt x="12" y="8"/>
                      </a:cubicBezTo>
                      <a:cubicBezTo>
                        <a:pt x="11" y="8"/>
                        <a:pt x="11" y="8"/>
                        <a:pt x="10" y="9"/>
                      </a:cubicBezTo>
                      <a:cubicBezTo>
                        <a:pt x="1" y="22"/>
                        <a:pt x="1" y="22"/>
                        <a:pt x="1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10" y="43"/>
                      </a:cubicBezTo>
                      <a:cubicBezTo>
                        <a:pt x="10" y="43"/>
                        <a:pt x="10" y="43"/>
                        <a:pt x="10" y="43"/>
                      </a:cubicBezTo>
                      <a:cubicBezTo>
                        <a:pt x="10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1" y="45"/>
                      </a:cubicBezTo>
                      <a:cubicBezTo>
                        <a:pt x="11" y="45"/>
                        <a:pt x="11" y="45"/>
                        <a:pt x="11" y="46"/>
                      </a:cubicBezTo>
                      <a:cubicBezTo>
                        <a:pt x="11" y="46"/>
                        <a:pt x="12" y="46"/>
                        <a:pt x="12" y="46"/>
                      </a:cubicBezTo>
                      <a:cubicBezTo>
                        <a:pt x="12" y="46"/>
                        <a:pt x="12" y="46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7"/>
                        <a:pt x="13" y="47"/>
                        <a:pt x="14" y="47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5" y="48"/>
                        <a:pt x="16" y="48"/>
                        <a:pt x="16" y="48"/>
                      </a:cubicBezTo>
                      <a:cubicBezTo>
                        <a:pt x="16" y="48"/>
                        <a:pt x="17" y="48"/>
                        <a:pt x="17" y="48"/>
                      </a:cubicBezTo>
                      <a:cubicBezTo>
                        <a:pt x="18" y="48"/>
                        <a:pt x="19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20" y="48"/>
                        <a:pt x="20" y="48"/>
                        <a:pt x="21" y="48"/>
                      </a:cubicBezTo>
                      <a:cubicBezTo>
                        <a:pt x="21" y="48"/>
                        <a:pt x="21" y="48"/>
                        <a:pt x="21" y="47"/>
                      </a:cubicBezTo>
                      <a:cubicBezTo>
                        <a:pt x="21" y="47"/>
                        <a:pt x="22" y="47"/>
                        <a:pt x="22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6"/>
                        <a:pt x="23" y="46"/>
                        <a:pt x="24" y="46"/>
                      </a:cubicBezTo>
                      <a:cubicBezTo>
                        <a:pt x="24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5" y="44"/>
                      </a:cubicBezTo>
                      <a:cubicBezTo>
                        <a:pt x="25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6" y="42"/>
                        <a:pt x="26" y="42"/>
                      </a:cubicBezTo>
                      <a:cubicBezTo>
                        <a:pt x="50" y="42"/>
                        <a:pt x="50" y="42"/>
                        <a:pt x="50" y="42"/>
                      </a:cubicBezTo>
                      <a:cubicBezTo>
                        <a:pt x="50" y="42"/>
                        <a:pt x="50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1" y="44"/>
                        <a:pt x="51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2" y="45"/>
                        <a:pt x="52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3" y="46"/>
                        <a:pt x="53" y="46"/>
                        <a:pt x="53" y="47"/>
                      </a:cubicBezTo>
                      <a:cubicBezTo>
                        <a:pt x="53" y="47"/>
                        <a:pt x="53" y="47"/>
                        <a:pt x="54" y="47"/>
                      </a:cubicBezTo>
                      <a:cubicBezTo>
                        <a:pt x="54" y="47"/>
                        <a:pt x="54" y="47"/>
                        <a:pt x="54" y="47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5" y="48"/>
                        <a:pt x="56" y="48"/>
                        <a:pt x="56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7" y="48"/>
                        <a:pt x="57" y="48"/>
                        <a:pt x="58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0" y="48"/>
                      </a:cubicBezTo>
                      <a:cubicBezTo>
                        <a:pt x="60" y="48"/>
                        <a:pt x="61" y="48"/>
                        <a:pt x="61" y="48"/>
                      </a:cubicBezTo>
                      <a:cubicBezTo>
                        <a:pt x="61" y="48"/>
                        <a:pt x="61" y="48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7"/>
                        <a:pt x="63" y="47"/>
                        <a:pt x="63" y="47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6"/>
                        <a:pt x="64" y="46"/>
                        <a:pt x="64" y="46"/>
                      </a:cubicBezTo>
                      <a:cubicBezTo>
                        <a:pt x="64" y="45"/>
                        <a:pt x="65" y="45"/>
                        <a:pt x="65" y="45"/>
                      </a:cubicBezTo>
                      <a:cubicBezTo>
                        <a:pt x="65" y="45"/>
                        <a:pt x="65" y="45"/>
                        <a:pt x="65" y="44"/>
                      </a:cubicBezTo>
                      <a:cubicBezTo>
                        <a:pt x="65" y="44"/>
                        <a:pt x="66" y="44"/>
                        <a:pt x="66" y="43"/>
                      </a:cubicBezTo>
                      <a:cubicBezTo>
                        <a:pt x="66" y="43"/>
                        <a:pt x="66" y="43"/>
                        <a:pt x="66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9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10" y="36"/>
                        <a:pt x="9" y="37"/>
                        <a:pt x="9" y="39"/>
                      </a:cubicBezTo>
                      <a:close/>
                      <a:moveTo>
                        <a:pt x="22" y="41"/>
                      </a:moveTo>
                      <a:cubicBezTo>
                        <a:pt x="22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1" y="43"/>
                        <a:pt x="21" y="43"/>
                        <a:pt x="20" y="43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4"/>
                        <a:pt x="19" y="44"/>
                        <a:pt x="19" y="44"/>
                      </a:cubicBezTo>
                      <a:cubicBezTo>
                        <a:pt x="19" y="44"/>
                        <a:pt x="18" y="44"/>
                        <a:pt x="17" y="44"/>
                      </a:cubicBezTo>
                      <a:cubicBezTo>
                        <a:pt x="17" y="44"/>
                        <a:pt x="16" y="44"/>
                        <a:pt x="16" y="44"/>
                      </a:cubicBezTo>
                      <a:cubicBezTo>
                        <a:pt x="16" y="44"/>
                        <a:pt x="15" y="44"/>
                        <a:pt x="15" y="43"/>
                      </a:cubicBezTo>
                      <a:cubicBezTo>
                        <a:pt x="15" y="43"/>
                        <a:pt x="15" y="43"/>
                        <a:pt x="15" y="43"/>
                      </a:cubicBezTo>
                      <a:cubicBezTo>
                        <a:pt x="14" y="43"/>
                        <a:pt x="14" y="43"/>
                        <a:pt x="14" y="42"/>
                      </a:cubicBezTo>
                      <a:cubicBezTo>
                        <a:pt x="14" y="42"/>
                        <a:pt x="14" y="42"/>
                        <a:pt x="14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3" y="40"/>
                        <a:pt x="13" y="40"/>
                      </a:cubicBezTo>
                      <a:cubicBezTo>
                        <a:pt x="13" y="39"/>
                        <a:pt x="13" y="38"/>
                        <a:pt x="14" y="37"/>
                      </a:cubicBezTo>
                      <a:cubicBezTo>
                        <a:pt x="14" y="37"/>
                        <a:pt x="14" y="37"/>
                        <a:pt x="14" y="37"/>
                      </a:cubicBezTo>
                      <a:cubicBezTo>
                        <a:pt x="14" y="37"/>
                        <a:pt x="14" y="37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5" y="36"/>
                        <a:pt x="16" y="36"/>
                        <a:pt x="16" y="36"/>
                      </a:cubicBezTo>
                      <a:cubicBezTo>
                        <a:pt x="16" y="35"/>
                        <a:pt x="17" y="35"/>
                        <a:pt x="17" y="35"/>
                      </a:cubicBezTo>
                      <a:cubicBezTo>
                        <a:pt x="18" y="35"/>
                        <a:pt x="19" y="35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6"/>
                        <a:pt x="20" y="36"/>
                        <a:pt x="20" y="36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2" y="38"/>
                        <a:pt x="22" y="39"/>
                        <a:pt x="22" y="40"/>
                      </a:cubicBezTo>
                      <a:cubicBezTo>
                        <a:pt x="22" y="40"/>
                        <a:pt x="22" y="40"/>
                        <a:pt x="22" y="41"/>
                      </a:cubicBezTo>
                      <a:close/>
                      <a:moveTo>
                        <a:pt x="23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4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4" y="23"/>
                        <a:pt x="4" y="22"/>
                      </a:cubicBezTo>
                      <a:cubicBezTo>
                        <a:pt x="12" y="12"/>
                        <a:pt x="12" y="12"/>
                        <a:pt x="12" y="12"/>
                      </a:cubicBezTo>
                      <a:cubicBezTo>
                        <a:pt x="12" y="11"/>
                        <a:pt x="13" y="11"/>
                        <a:pt x="14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9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9" y="33"/>
                        <a:pt x="28" y="33"/>
                      </a:cubicBezTo>
                      <a:lnTo>
                        <a:pt x="23" y="33"/>
                      </a:lnTo>
                      <a:close/>
                      <a:moveTo>
                        <a:pt x="50" y="39"/>
                      </a:moveTo>
                      <a:cubicBezTo>
                        <a:pt x="26" y="39"/>
                        <a:pt x="26" y="39"/>
                        <a:pt x="26" y="39"/>
                      </a:cubicBezTo>
                      <a:cubicBezTo>
                        <a:pt x="26" y="37"/>
                        <a:pt x="25" y="36"/>
                        <a:pt x="25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1" y="35"/>
                        <a:pt x="51" y="35"/>
                        <a:pt x="51" y="35"/>
                      </a:cubicBezTo>
                      <a:cubicBezTo>
                        <a:pt x="50" y="36"/>
                        <a:pt x="50" y="37"/>
                        <a:pt x="50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2" y="42"/>
                      </a:cubicBezTo>
                      <a:cubicBezTo>
                        <a:pt x="62" y="42"/>
                        <a:pt x="62" y="42"/>
                        <a:pt x="62" y="42"/>
                      </a:cubicBezTo>
                      <a:cubicBezTo>
                        <a:pt x="61" y="43"/>
                        <a:pt x="61" y="43"/>
                        <a:pt x="61" y="43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4"/>
                        <a:pt x="60" y="44"/>
                        <a:pt x="60" y="44"/>
                      </a:cubicBezTo>
                      <a:cubicBezTo>
                        <a:pt x="59" y="44"/>
                        <a:pt x="59" y="44"/>
                        <a:pt x="58" y="44"/>
                      </a:cubicBezTo>
                      <a:cubicBezTo>
                        <a:pt x="57" y="44"/>
                        <a:pt x="57" y="44"/>
                        <a:pt x="56" y="44"/>
                      </a:cubicBezTo>
                      <a:cubicBezTo>
                        <a:pt x="56" y="44"/>
                        <a:pt x="56" y="44"/>
                        <a:pt x="56" y="43"/>
                      </a:cubicBezTo>
                      <a:cubicBezTo>
                        <a:pt x="56" y="43"/>
                        <a:pt x="55" y="43"/>
                        <a:pt x="55" y="43"/>
                      </a:cubicBezTo>
                      <a:cubicBezTo>
                        <a:pt x="55" y="43"/>
                        <a:pt x="55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4" y="41"/>
                        <a:pt x="54" y="41"/>
                      </a:cubicBezTo>
                      <a:cubicBezTo>
                        <a:pt x="54" y="40"/>
                        <a:pt x="54" y="40"/>
                        <a:pt x="54" y="40"/>
                      </a:cubicBezTo>
                      <a:cubicBezTo>
                        <a:pt x="54" y="39"/>
                        <a:pt x="54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5" y="37"/>
                        <a:pt x="55" y="37"/>
                        <a:pt x="55" y="36"/>
                      </a:cubicBezTo>
                      <a:cubicBezTo>
                        <a:pt x="55" y="36"/>
                        <a:pt x="55" y="36"/>
                        <a:pt x="56" y="36"/>
                      </a:cubicBezTo>
                      <a:cubicBezTo>
                        <a:pt x="56" y="36"/>
                        <a:pt x="56" y="36"/>
                        <a:pt x="56" y="36"/>
                      </a:cubicBezTo>
                      <a:cubicBezTo>
                        <a:pt x="57" y="35"/>
                        <a:pt x="57" y="35"/>
                        <a:pt x="58" y="35"/>
                      </a:cubicBezTo>
                      <a:cubicBezTo>
                        <a:pt x="59" y="35"/>
                        <a:pt x="59" y="35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6"/>
                        <a:pt x="61" y="36"/>
                        <a:pt x="61" y="36"/>
                      </a:cubicBezTo>
                      <a:cubicBezTo>
                        <a:pt x="61" y="37"/>
                        <a:pt x="61" y="37"/>
                        <a:pt x="62" y="37"/>
                      </a:cubicBezTo>
                      <a:cubicBezTo>
                        <a:pt x="62" y="37"/>
                        <a:pt x="62" y="37"/>
                        <a:pt x="62" y="37"/>
                      </a:cubicBezTo>
                      <a:cubicBezTo>
                        <a:pt x="62" y="38"/>
                        <a:pt x="63" y="39"/>
                        <a:pt x="63" y="40"/>
                      </a:cubicBezTo>
                      <a:cubicBezTo>
                        <a:pt x="63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6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74" y="33"/>
                      </a:moveTo>
                      <a:cubicBezTo>
                        <a:pt x="63" y="33"/>
                        <a:pt x="63" y="33"/>
                        <a:pt x="63" y="33"/>
                      </a:cubicBezTo>
                      <a:cubicBezTo>
                        <a:pt x="62" y="32"/>
                        <a:pt x="60" y="31"/>
                        <a:pt x="58" y="31"/>
                      </a:cubicBezTo>
                      <a:cubicBezTo>
                        <a:pt x="56" y="31"/>
                        <a:pt x="54" y="32"/>
                        <a:pt x="53" y="33"/>
                      </a:cubicBezTo>
                      <a:cubicBezTo>
                        <a:pt x="31" y="33"/>
                        <a:pt x="31" y="33"/>
                        <a:pt x="31" y="33"/>
                      </a:cubicBezTo>
                      <a:cubicBezTo>
                        <a:pt x="31" y="32"/>
                        <a:pt x="31" y="32"/>
                        <a:pt x="31" y="32"/>
                      </a:cubicBezTo>
                      <a:cubicBezTo>
                        <a:pt x="31" y="12"/>
                        <a:pt x="31" y="12"/>
                        <a:pt x="31" y="12"/>
                      </a:cubicBezTo>
                      <a:cubicBezTo>
                        <a:pt x="31" y="3"/>
                        <a:pt x="31" y="3"/>
                        <a:pt x="31" y="3"/>
                      </a:cubicBezTo>
                      <a:cubicBezTo>
                        <a:pt x="74" y="3"/>
                        <a:pt x="74" y="3"/>
                        <a:pt x="74" y="3"/>
                      </a:cubicBezTo>
                      <a:lnTo>
                        <a:pt x="74" y="33"/>
                      </a:lnTo>
                      <a:close/>
                      <a:moveTo>
                        <a:pt x="19" y="28"/>
                      </a:moveTo>
                      <a:cubicBezTo>
                        <a:pt x="19" y="28"/>
                        <a:pt x="18" y="29"/>
                        <a:pt x="18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8" y="27"/>
                        <a:pt x="18" y="27"/>
                        <a:pt x="18" y="27"/>
                      </a:cubicBezTo>
                      <a:cubicBezTo>
                        <a:pt x="18" y="27"/>
                        <a:pt x="19" y="27"/>
                        <a:pt x="19" y="28"/>
                      </a:cubicBez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3" y="13"/>
                        <a:pt x="13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6" y="25"/>
                        <a:pt x="7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7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7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9" y="23"/>
                        <a:pt x="9" y="23"/>
                        <a:pt x="9" y="23"/>
                      </a:cubicBezTo>
                      <a:cubicBezTo>
                        <a:pt x="14" y="15"/>
                        <a:pt x="14" y="15"/>
                        <a:pt x="14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3" name="任意多边形: 形状 142">
                  <a:extLst>
                    <a:ext uri="{FF2B5EF4-FFF2-40B4-BE49-F238E27FC236}">
                      <a16:creationId xmlns:a16="http://schemas.microsoft.com/office/drawing/2014/main" id="{663CE6AF-7359-40C2-B206-8144270A0831}"/>
                    </a:ext>
                  </a:extLst>
                </p:cNvPr>
                <p:cNvSpPr/>
                <p:nvPr/>
              </p:nvSpPr>
              <p:spPr bwMode="auto">
                <a:xfrm>
                  <a:off x="5715763" y="5114922"/>
                  <a:ext cx="353466" cy="230521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4" name="任意多边形: 形状 143">
                  <a:extLst>
                    <a:ext uri="{FF2B5EF4-FFF2-40B4-BE49-F238E27FC236}">
                      <a16:creationId xmlns:a16="http://schemas.microsoft.com/office/drawing/2014/main" id="{39861C91-2ECD-4A6E-A1AF-9C2B0054CF53}"/>
                    </a:ext>
                  </a:extLst>
                </p:cNvPr>
                <p:cNvSpPr/>
                <p:nvPr/>
              </p:nvSpPr>
              <p:spPr bwMode="auto">
                <a:xfrm>
                  <a:off x="4612007" y="988899"/>
                  <a:ext cx="353466" cy="230521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5" name="任意多边形: 形状 144">
                  <a:extLst>
                    <a:ext uri="{FF2B5EF4-FFF2-40B4-BE49-F238E27FC236}">
                      <a16:creationId xmlns:a16="http://schemas.microsoft.com/office/drawing/2014/main" id="{BEEF084A-65C3-4FD1-9F88-9CCC5899CB21}"/>
                    </a:ext>
                  </a:extLst>
                </p:cNvPr>
                <p:cNvSpPr/>
                <p:nvPr/>
              </p:nvSpPr>
              <p:spPr bwMode="auto">
                <a:xfrm>
                  <a:off x="3595411" y="4460937"/>
                  <a:ext cx="353466" cy="230521"/>
                </a:xfrm>
                <a:custGeom>
                  <a:avLst/>
                  <a:gdLst>
                    <a:gd name="T0" fmla="*/ 28 w 77"/>
                    <a:gd name="T1" fmla="*/ 2 h 48"/>
                    <a:gd name="T2" fmla="*/ 10 w 77"/>
                    <a:gd name="T3" fmla="*/ 9 h 48"/>
                    <a:gd name="T4" fmla="*/ 0 w 77"/>
                    <a:gd name="T5" fmla="*/ 34 h 48"/>
                    <a:gd name="T6" fmla="*/ 9 w 77"/>
                    <a:gd name="T7" fmla="*/ 42 h 48"/>
                    <a:gd name="T8" fmla="*/ 10 w 77"/>
                    <a:gd name="T9" fmla="*/ 44 h 48"/>
                    <a:gd name="T10" fmla="*/ 11 w 77"/>
                    <a:gd name="T11" fmla="*/ 46 h 48"/>
                    <a:gd name="T12" fmla="*/ 13 w 77"/>
                    <a:gd name="T13" fmla="*/ 47 h 48"/>
                    <a:gd name="T14" fmla="*/ 15 w 77"/>
                    <a:gd name="T15" fmla="*/ 48 h 48"/>
                    <a:gd name="T16" fmla="*/ 19 w 77"/>
                    <a:gd name="T17" fmla="*/ 48 h 48"/>
                    <a:gd name="T18" fmla="*/ 21 w 77"/>
                    <a:gd name="T19" fmla="*/ 47 h 48"/>
                    <a:gd name="T20" fmla="*/ 23 w 77"/>
                    <a:gd name="T21" fmla="*/ 46 h 48"/>
                    <a:gd name="T22" fmla="*/ 25 w 77"/>
                    <a:gd name="T23" fmla="*/ 43 h 48"/>
                    <a:gd name="T24" fmla="*/ 49 w 77"/>
                    <a:gd name="T25" fmla="*/ 42 h 48"/>
                    <a:gd name="T26" fmla="*/ 50 w 77"/>
                    <a:gd name="T27" fmla="*/ 44 h 48"/>
                    <a:gd name="T28" fmla="*/ 52 w 77"/>
                    <a:gd name="T29" fmla="*/ 46 h 48"/>
                    <a:gd name="T30" fmla="*/ 54 w 77"/>
                    <a:gd name="T31" fmla="*/ 47 h 48"/>
                    <a:gd name="T32" fmla="*/ 56 w 77"/>
                    <a:gd name="T33" fmla="*/ 48 h 48"/>
                    <a:gd name="T34" fmla="*/ 60 w 77"/>
                    <a:gd name="T35" fmla="*/ 48 h 48"/>
                    <a:gd name="T36" fmla="*/ 62 w 77"/>
                    <a:gd name="T37" fmla="*/ 47 h 48"/>
                    <a:gd name="T38" fmla="*/ 64 w 77"/>
                    <a:gd name="T39" fmla="*/ 46 h 48"/>
                    <a:gd name="T40" fmla="*/ 65 w 77"/>
                    <a:gd name="T41" fmla="*/ 43 h 48"/>
                    <a:gd name="T42" fmla="*/ 75 w 77"/>
                    <a:gd name="T43" fmla="*/ 42 h 48"/>
                    <a:gd name="T44" fmla="*/ 77 w 77"/>
                    <a:gd name="T45" fmla="*/ 2 h 48"/>
                    <a:gd name="T46" fmla="*/ 3 w 77"/>
                    <a:gd name="T47" fmla="*/ 39 h 48"/>
                    <a:gd name="T48" fmla="*/ 10 w 77"/>
                    <a:gd name="T49" fmla="*/ 35 h 48"/>
                    <a:gd name="T50" fmla="*/ 21 w 77"/>
                    <a:gd name="T51" fmla="*/ 42 h 48"/>
                    <a:gd name="T52" fmla="*/ 19 w 77"/>
                    <a:gd name="T53" fmla="*/ 43 h 48"/>
                    <a:gd name="T54" fmla="*/ 15 w 77"/>
                    <a:gd name="T55" fmla="*/ 44 h 48"/>
                    <a:gd name="T56" fmla="*/ 13 w 77"/>
                    <a:gd name="T57" fmla="*/ 42 h 48"/>
                    <a:gd name="T58" fmla="*/ 12 w 77"/>
                    <a:gd name="T59" fmla="*/ 40 h 48"/>
                    <a:gd name="T60" fmla="*/ 14 w 77"/>
                    <a:gd name="T61" fmla="*/ 36 h 48"/>
                    <a:gd name="T62" fmla="*/ 17 w 77"/>
                    <a:gd name="T63" fmla="*/ 35 h 48"/>
                    <a:gd name="T64" fmla="*/ 20 w 77"/>
                    <a:gd name="T65" fmla="*/ 36 h 48"/>
                    <a:gd name="T66" fmla="*/ 21 w 77"/>
                    <a:gd name="T67" fmla="*/ 40 h 48"/>
                    <a:gd name="T68" fmla="*/ 17 w 77"/>
                    <a:gd name="T69" fmla="*/ 31 h 48"/>
                    <a:gd name="T70" fmla="*/ 3 w 77"/>
                    <a:gd name="T71" fmla="*/ 32 h 48"/>
                    <a:gd name="T72" fmla="*/ 11 w 77"/>
                    <a:gd name="T73" fmla="*/ 12 h 48"/>
                    <a:gd name="T74" fmla="*/ 29 w 77"/>
                    <a:gd name="T75" fmla="*/ 12 h 48"/>
                    <a:gd name="T76" fmla="*/ 22 w 77"/>
                    <a:gd name="T77" fmla="*/ 33 h 48"/>
                    <a:gd name="T78" fmla="*/ 24 w 77"/>
                    <a:gd name="T79" fmla="*/ 35 h 48"/>
                    <a:gd name="T80" fmla="*/ 50 w 77"/>
                    <a:gd name="T81" fmla="*/ 35 h 48"/>
                    <a:gd name="T82" fmla="*/ 61 w 77"/>
                    <a:gd name="T83" fmla="*/ 42 h 48"/>
                    <a:gd name="T84" fmla="*/ 60 w 77"/>
                    <a:gd name="T85" fmla="*/ 43 h 48"/>
                    <a:gd name="T86" fmla="*/ 56 w 77"/>
                    <a:gd name="T87" fmla="*/ 44 h 48"/>
                    <a:gd name="T88" fmla="*/ 54 w 77"/>
                    <a:gd name="T89" fmla="*/ 42 h 48"/>
                    <a:gd name="T90" fmla="*/ 53 w 77"/>
                    <a:gd name="T91" fmla="*/ 40 h 48"/>
                    <a:gd name="T92" fmla="*/ 55 w 77"/>
                    <a:gd name="T93" fmla="*/ 36 h 48"/>
                    <a:gd name="T94" fmla="*/ 58 w 77"/>
                    <a:gd name="T95" fmla="*/ 35 h 48"/>
                    <a:gd name="T96" fmla="*/ 60 w 77"/>
                    <a:gd name="T97" fmla="*/ 36 h 48"/>
                    <a:gd name="T98" fmla="*/ 62 w 77"/>
                    <a:gd name="T99" fmla="*/ 40 h 48"/>
                    <a:gd name="T100" fmla="*/ 66 w 77"/>
                    <a:gd name="T101" fmla="*/ 39 h 48"/>
                    <a:gd name="T102" fmla="*/ 74 w 77"/>
                    <a:gd name="T103" fmla="*/ 39 h 48"/>
                    <a:gd name="T104" fmla="*/ 12 w 77"/>
                    <a:gd name="T105" fmla="*/ 14 h 48"/>
                    <a:gd name="T106" fmla="*/ 7 w 77"/>
                    <a:gd name="T107" fmla="*/ 25 h 48"/>
                    <a:gd name="T108" fmla="*/ 27 w 77"/>
                    <a:gd name="T109" fmla="*/ 14 h 48"/>
                    <a:gd name="T110" fmla="*/ 8 w 77"/>
                    <a:gd name="T111" fmla="*/ 23 h 48"/>
                    <a:gd name="T112" fmla="*/ 25 w 77"/>
                    <a:gd name="T113" fmla="*/ 23 h 48"/>
                    <a:gd name="T114" fmla="*/ 14 w 77"/>
                    <a:gd name="T115" fmla="*/ 29 h 48"/>
                    <a:gd name="T116" fmla="*/ 17 w 77"/>
                    <a:gd name="T117" fmla="*/ 27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77" h="48">
                      <a:moveTo>
                        <a:pt x="75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9" y="0"/>
                        <a:pt x="28" y="1"/>
                        <a:pt x="28" y="2"/>
                      </a:cubicBezTo>
                      <a:cubicBezTo>
                        <a:pt x="28" y="8"/>
                        <a:pt x="28" y="8"/>
                        <a:pt x="28" y="8"/>
                      </a:cubicBezTo>
                      <a:cubicBezTo>
                        <a:pt x="11" y="8"/>
                        <a:pt x="11" y="8"/>
                        <a:pt x="11" y="8"/>
                      </a:cubicBezTo>
                      <a:cubicBezTo>
                        <a:pt x="11" y="8"/>
                        <a:pt x="10" y="8"/>
                        <a:pt x="10" y="9"/>
                      </a:cubicBezTo>
                      <a:cubicBezTo>
                        <a:pt x="0" y="22"/>
                        <a:pt x="0" y="22"/>
                        <a:pt x="0" y="22"/>
                      </a:cubicBezTo>
                      <a:cubicBezTo>
                        <a:pt x="0" y="22"/>
                        <a:pt x="0" y="22"/>
                        <a:pt x="0" y="23"/>
                      </a:cubicBezTo>
                      <a:cubicBezTo>
                        <a:pt x="0" y="34"/>
                        <a:pt x="0" y="34"/>
                        <a:pt x="0" y="34"/>
                      </a:cubicBezTo>
                      <a:cubicBezTo>
                        <a:pt x="0" y="40"/>
                        <a:pt x="0" y="40"/>
                        <a:pt x="0" y="40"/>
                      </a:cubicBezTo>
                      <a:cubicBezTo>
                        <a:pt x="0" y="41"/>
                        <a:pt x="1" y="42"/>
                        <a:pt x="2" y="42"/>
                      </a:cubicBezTo>
                      <a:cubicBezTo>
                        <a:pt x="9" y="42"/>
                        <a:pt x="9" y="42"/>
                        <a:pt x="9" y="42"/>
                      </a:cubicBezTo>
                      <a:cubicBezTo>
                        <a:pt x="9" y="42"/>
                        <a:pt x="9" y="43"/>
                        <a:pt x="9" y="43"/>
                      </a:cubicBezTo>
                      <a:cubicBezTo>
                        <a:pt x="9" y="43"/>
                        <a:pt x="9" y="43"/>
                        <a:pt x="9" y="43"/>
                      </a:cubicBezTo>
                      <a:cubicBezTo>
                        <a:pt x="9" y="44"/>
                        <a:pt x="10" y="44"/>
                        <a:pt x="10" y="44"/>
                      </a:cubicBezTo>
                      <a:cubicBezTo>
                        <a:pt x="10" y="45"/>
                        <a:pt x="10" y="45"/>
                        <a:pt x="10" y="45"/>
                      </a:cubicBezTo>
                      <a:cubicBezTo>
                        <a:pt x="10" y="45"/>
                        <a:pt x="11" y="45"/>
                        <a:pt x="11" y="46"/>
                      </a:cubicBezTo>
                      <a:cubicBezTo>
                        <a:pt x="11" y="46"/>
                        <a:pt x="11" y="46"/>
                        <a:pt x="11" y="46"/>
                      </a:cubicBezTo>
                      <a:cubicBezTo>
                        <a:pt x="11" y="46"/>
                        <a:pt x="12" y="46"/>
                        <a:pt x="12" y="47"/>
                      </a:cubicBezTo>
                      <a:cubicBezTo>
                        <a:pt x="12" y="47"/>
                        <a:pt x="12" y="47"/>
                        <a:pt x="12" y="47"/>
                      </a:cubicBezTo>
                      <a:cubicBezTo>
                        <a:pt x="13" y="47"/>
                        <a:pt x="13" y="47"/>
                        <a:pt x="13" y="47"/>
                      </a:cubicBezTo>
                      <a:cubicBezTo>
                        <a:pt x="13" y="48"/>
                        <a:pt x="14" y="48"/>
                        <a:pt x="14" y="48"/>
                      </a:cubicBezTo>
                      <a:cubicBezTo>
                        <a:pt x="14" y="48"/>
                        <a:pt x="14" y="48"/>
                        <a:pt x="15" y="48"/>
                      </a:cubicBezTo>
                      <a:cubicBezTo>
                        <a:pt x="15" y="48"/>
                        <a:pt x="15" y="48"/>
                        <a:pt x="15" y="48"/>
                      </a:cubicBezTo>
                      <a:cubicBezTo>
                        <a:pt x="16" y="48"/>
                        <a:pt x="16" y="48"/>
                        <a:pt x="17" y="48"/>
                      </a:cubicBezTo>
                      <a:cubicBezTo>
                        <a:pt x="17" y="48"/>
                        <a:pt x="18" y="48"/>
                        <a:pt x="19" y="48"/>
                      </a:cubicBezTo>
                      <a:cubicBezTo>
                        <a:pt x="19" y="48"/>
                        <a:pt x="19" y="48"/>
                        <a:pt x="19" y="48"/>
                      </a:cubicBezTo>
                      <a:cubicBezTo>
                        <a:pt x="19" y="48"/>
                        <a:pt x="20" y="48"/>
                        <a:pt x="20" y="48"/>
                      </a:cubicBezTo>
                      <a:cubicBezTo>
                        <a:pt x="20" y="48"/>
                        <a:pt x="20" y="48"/>
                        <a:pt x="21" y="47"/>
                      </a:cubicBezTo>
                      <a:cubicBezTo>
                        <a:pt x="21" y="47"/>
                        <a:pt x="21" y="47"/>
                        <a:pt x="21" y="47"/>
                      </a:cubicBezTo>
                      <a:cubicBezTo>
                        <a:pt x="22" y="47"/>
                        <a:pt x="22" y="47"/>
                        <a:pt x="22" y="47"/>
                      </a:cubicBezTo>
                      <a:cubicBezTo>
                        <a:pt x="22" y="46"/>
                        <a:pt x="22" y="46"/>
                        <a:pt x="23" y="46"/>
                      </a:cubicBezTo>
                      <a:cubicBezTo>
                        <a:pt x="23" y="46"/>
                        <a:pt x="23" y="46"/>
                        <a:pt x="23" y="46"/>
                      </a:cubicBezTo>
                      <a:cubicBezTo>
                        <a:pt x="23" y="45"/>
                        <a:pt x="24" y="45"/>
                        <a:pt x="24" y="45"/>
                      </a:cubicBezTo>
                      <a:cubicBezTo>
                        <a:pt x="24" y="45"/>
                        <a:pt x="24" y="45"/>
                        <a:pt x="24" y="44"/>
                      </a:cubicBezTo>
                      <a:cubicBezTo>
                        <a:pt x="24" y="44"/>
                        <a:pt x="25" y="44"/>
                        <a:pt x="25" y="43"/>
                      </a:cubicBezTo>
                      <a:cubicBezTo>
                        <a:pt x="25" y="43"/>
                        <a:pt x="25" y="43"/>
                        <a:pt x="25" y="43"/>
                      </a:cubicBezTo>
                      <a:cubicBezTo>
                        <a:pt x="25" y="43"/>
                        <a:pt x="25" y="42"/>
                        <a:pt x="25" y="42"/>
                      </a:cubicBezTo>
                      <a:cubicBezTo>
                        <a:pt x="49" y="42"/>
                        <a:pt x="49" y="42"/>
                        <a:pt x="49" y="42"/>
                      </a:cubicBezTo>
                      <a:cubicBezTo>
                        <a:pt x="49" y="42"/>
                        <a:pt x="49" y="43"/>
                        <a:pt x="50" y="43"/>
                      </a:cubicBezTo>
                      <a:cubicBezTo>
                        <a:pt x="50" y="43"/>
                        <a:pt x="50" y="43"/>
                        <a:pt x="50" y="43"/>
                      </a:cubicBezTo>
                      <a:cubicBezTo>
                        <a:pt x="50" y="44"/>
                        <a:pt x="50" y="44"/>
                        <a:pt x="50" y="44"/>
                      </a:cubicBezTo>
                      <a:cubicBezTo>
                        <a:pt x="51" y="45"/>
                        <a:pt x="51" y="45"/>
                        <a:pt x="51" y="45"/>
                      </a:cubicBezTo>
                      <a:cubicBezTo>
                        <a:pt x="51" y="45"/>
                        <a:pt x="51" y="45"/>
                        <a:pt x="51" y="46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2" y="46"/>
                        <a:pt x="52" y="46"/>
                        <a:pt x="53" y="47"/>
                      </a:cubicBezTo>
                      <a:cubicBezTo>
                        <a:pt x="53" y="47"/>
                        <a:pt x="53" y="47"/>
                        <a:pt x="53" y="47"/>
                      </a:cubicBezTo>
                      <a:cubicBezTo>
                        <a:pt x="53" y="47"/>
                        <a:pt x="54" y="47"/>
                        <a:pt x="54" y="47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5" y="48"/>
                        <a:pt x="55" y="48"/>
                        <a:pt x="55" y="48"/>
                      </a:cubicBezTo>
                      <a:cubicBezTo>
                        <a:pt x="56" y="48"/>
                        <a:pt x="56" y="48"/>
                        <a:pt x="56" y="48"/>
                      </a:cubicBezTo>
                      <a:cubicBezTo>
                        <a:pt x="56" y="48"/>
                        <a:pt x="57" y="48"/>
                        <a:pt x="58" y="48"/>
                      </a:cubicBezTo>
                      <a:cubicBezTo>
                        <a:pt x="58" y="48"/>
                        <a:pt x="59" y="48"/>
                        <a:pt x="59" y="48"/>
                      </a:cubicBezTo>
                      <a:cubicBezTo>
                        <a:pt x="59" y="48"/>
                        <a:pt x="59" y="48"/>
                        <a:pt x="60" y="48"/>
                      </a:cubicBezTo>
                      <a:cubicBezTo>
                        <a:pt x="60" y="48"/>
                        <a:pt x="60" y="48"/>
                        <a:pt x="61" y="48"/>
                      </a:cubicBezTo>
                      <a:cubicBezTo>
                        <a:pt x="61" y="48"/>
                        <a:pt x="61" y="48"/>
                        <a:pt x="61" y="47"/>
                      </a:cubicBezTo>
                      <a:cubicBezTo>
                        <a:pt x="61" y="47"/>
                        <a:pt x="62" y="47"/>
                        <a:pt x="62" y="47"/>
                      </a:cubicBezTo>
                      <a:cubicBezTo>
                        <a:pt x="62" y="47"/>
                        <a:pt x="62" y="47"/>
                        <a:pt x="63" y="47"/>
                      </a:cubicBezTo>
                      <a:cubicBezTo>
                        <a:pt x="63" y="46"/>
                        <a:pt x="63" y="46"/>
                        <a:pt x="63" y="46"/>
                      </a:cubicBezTo>
                      <a:cubicBezTo>
                        <a:pt x="63" y="46"/>
                        <a:pt x="64" y="46"/>
                        <a:pt x="64" y="46"/>
                      </a:cubicBezTo>
                      <a:cubicBezTo>
                        <a:pt x="64" y="45"/>
                        <a:pt x="64" y="45"/>
                        <a:pt x="64" y="45"/>
                      </a:cubicBezTo>
                      <a:cubicBezTo>
                        <a:pt x="64" y="45"/>
                        <a:pt x="65" y="45"/>
                        <a:pt x="65" y="44"/>
                      </a:cubicBezTo>
                      <a:cubicBezTo>
                        <a:pt x="65" y="44"/>
                        <a:pt x="65" y="44"/>
                        <a:pt x="65" y="43"/>
                      </a:cubicBezTo>
                      <a:cubicBezTo>
                        <a:pt x="65" y="43"/>
                        <a:pt x="65" y="43"/>
                        <a:pt x="65" y="43"/>
                      </a:cubicBezTo>
                      <a:cubicBezTo>
                        <a:pt x="66" y="43"/>
                        <a:pt x="66" y="42"/>
                        <a:pt x="66" y="42"/>
                      </a:cubicBezTo>
                      <a:cubicBezTo>
                        <a:pt x="75" y="42"/>
                        <a:pt x="75" y="42"/>
                        <a:pt x="75" y="42"/>
                      </a:cubicBezTo>
                      <a:cubicBezTo>
                        <a:pt x="76" y="42"/>
                        <a:pt x="77" y="41"/>
                        <a:pt x="77" y="40"/>
                      </a:cubicBezTo>
                      <a:cubicBezTo>
                        <a:pt x="77" y="34"/>
                        <a:pt x="77" y="34"/>
                        <a:pt x="77" y="34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7" y="1"/>
                        <a:pt x="76" y="0"/>
                        <a:pt x="75" y="0"/>
                      </a:cubicBezTo>
                      <a:close/>
                      <a:moveTo>
                        <a:pt x="8" y="39"/>
                      </a:moveTo>
                      <a:cubicBezTo>
                        <a:pt x="3" y="39"/>
                        <a:pt x="3" y="39"/>
                        <a:pt x="3" y="39"/>
                      </a:cubicBezTo>
                      <a:cubicBezTo>
                        <a:pt x="3" y="35"/>
                        <a:pt x="3" y="35"/>
                        <a:pt x="3" y="35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10" y="35"/>
                        <a:pt x="10" y="35"/>
                        <a:pt x="10" y="35"/>
                      </a:cubicBezTo>
                      <a:cubicBezTo>
                        <a:pt x="9" y="36"/>
                        <a:pt x="9" y="37"/>
                        <a:pt x="8" y="39"/>
                      </a:cubicBezTo>
                      <a:close/>
                      <a:moveTo>
                        <a:pt x="21" y="41"/>
                      </a:moveTo>
                      <a:cubicBezTo>
                        <a:pt x="21" y="41"/>
                        <a:pt x="21" y="42"/>
                        <a:pt x="21" y="42"/>
                      </a:cubicBezTo>
                      <a:cubicBezTo>
                        <a:pt x="21" y="42"/>
                        <a:pt x="21" y="42"/>
                        <a:pt x="21" y="42"/>
                      </a:cubicBezTo>
                      <a:cubicBezTo>
                        <a:pt x="20" y="43"/>
                        <a:pt x="20" y="43"/>
                        <a:pt x="20" y="43"/>
                      </a:cubicBezTo>
                      <a:cubicBezTo>
                        <a:pt x="20" y="43"/>
                        <a:pt x="19" y="43"/>
                        <a:pt x="19" y="43"/>
                      </a:cubicBezTo>
                      <a:cubicBezTo>
                        <a:pt x="19" y="44"/>
                        <a:pt x="19" y="44"/>
                        <a:pt x="19" y="44"/>
                      </a:cubicBezTo>
                      <a:cubicBezTo>
                        <a:pt x="18" y="44"/>
                        <a:pt x="17" y="44"/>
                        <a:pt x="17" y="44"/>
                      </a:cubicBezTo>
                      <a:cubicBezTo>
                        <a:pt x="16" y="44"/>
                        <a:pt x="16" y="44"/>
                        <a:pt x="15" y="44"/>
                      </a:cubicBezTo>
                      <a:cubicBezTo>
                        <a:pt x="15" y="44"/>
                        <a:pt x="15" y="44"/>
                        <a:pt x="15" y="43"/>
                      </a:cubicBezTo>
                      <a:cubicBezTo>
                        <a:pt x="14" y="43"/>
                        <a:pt x="14" y="43"/>
                        <a:pt x="14" y="43"/>
                      </a:cubicBezTo>
                      <a:cubicBezTo>
                        <a:pt x="14" y="43"/>
                        <a:pt x="13" y="43"/>
                        <a:pt x="13" y="42"/>
                      </a:cubicBezTo>
                      <a:cubicBezTo>
                        <a:pt x="13" y="42"/>
                        <a:pt x="13" y="42"/>
                        <a:pt x="13" y="42"/>
                      </a:cubicBezTo>
                      <a:cubicBezTo>
                        <a:pt x="13" y="42"/>
                        <a:pt x="13" y="41"/>
                        <a:pt x="13" y="41"/>
                      </a:cubicBezTo>
                      <a:cubicBezTo>
                        <a:pt x="13" y="40"/>
                        <a:pt x="12" y="40"/>
                        <a:pt x="12" y="40"/>
                      </a:cubicBezTo>
                      <a:cubicBezTo>
                        <a:pt x="12" y="39"/>
                        <a:pt x="13" y="38"/>
                        <a:pt x="13" y="37"/>
                      </a:cubicBezTo>
                      <a:cubicBezTo>
                        <a:pt x="13" y="37"/>
                        <a:pt x="13" y="37"/>
                        <a:pt x="13" y="37"/>
                      </a:cubicBezTo>
                      <a:cubicBezTo>
                        <a:pt x="13" y="37"/>
                        <a:pt x="14" y="37"/>
                        <a:pt x="14" y="36"/>
                      </a:cubicBezTo>
                      <a:cubicBezTo>
                        <a:pt x="14" y="36"/>
                        <a:pt x="14" y="36"/>
                        <a:pt x="15" y="36"/>
                      </a:cubicBezTo>
                      <a:cubicBezTo>
                        <a:pt x="15" y="36"/>
                        <a:pt x="15" y="36"/>
                        <a:pt x="15" y="36"/>
                      </a:cubicBezTo>
                      <a:cubicBezTo>
                        <a:pt x="16" y="35"/>
                        <a:pt x="16" y="35"/>
                        <a:pt x="17" y="35"/>
                      </a:cubicBezTo>
                      <a:cubicBezTo>
                        <a:pt x="17" y="35"/>
                        <a:pt x="18" y="35"/>
                        <a:pt x="19" y="36"/>
                      </a:cubicBezTo>
                      <a:cubicBezTo>
                        <a:pt x="19" y="36"/>
                        <a:pt x="19" y="36"/>
                        <a:pt x="19" y="36"/>
                      </a:cubicBezTo>
                      <a:cubicBezTo>
                        <a:pt x="19" y="36"/>
                        <a:pt x="20" y="36"/>
                        <a:pt x="20" y="36"/>
                      </a:cubicBezTo>
                      <a:cubicBezTo>
                        <a:pt x="20" y="37"/>
                        <a:pt x="20" y="37"/>
                        <a:pt x="21" y="37"/>
                      </a:cubicBezTo>
                      <a:cubicBezTo>
                        <a:pt x="21" y="37"/>
                        <a:pt x="21" y="37"/>
                        <a:pt x="21" y="37"/>
                      </a:cubicBezTo>
                      <a:cubicBezTo>
                        <a:pt x="21" y="38"/>
                        <a:pt x="21" y="39"/>
                        <a:pt x="21" y="40"/>
                      </a:cubicBezTo>
                      <a:cubicBezTo>
                        <a:pt x="21" y="40"/>
                        <a:pt x="21" y="40"/>
                        <a:pt x="21" y="41"/>
                      </a:cubicBezTo>
                      <a:close/>
                      <a:moveTo>
                        <a:pt x="22" y="33"/>
                      </a:moveTo>
                      <a:cubicBezTo>
                        <a:pt x="21" y="32"/>
                        <a:pt x="19" y="31"/>
                        <a:pt x="17" y="31"/>
                      </a:cubicBezTo>
                      <a:cubicBezTo>
                        <a:pt x="15" y="31"/>
                        <a:pt x="13" y="32"/>
                        <a:pt x="12" y="33"/>
                      </a:cubicBezTo>
                      <a:cubicBezTo>
                        <a:pt x="4" y="33"/>
                        <a:pt x="4" y="33"/>
                        <a:pt x="4" y="33"/>
                      </a:cubicBezTo>
                      <a:cubicBezTo>
                        <a:pt x="3" y="33"/>
                        <a:pt x="3" y="33"/>
                        <a:pt x="3" y="32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3" y="24"/>
                        <a:pt x="3" y="23"/>
                        <a:pt x="4" y="22"/>
                      </a:cubicBezTo>
                      <a:cubicBezTo>
                        <a:pt x="11" y="12"/>
                        <a:pt x="11" y="12"/>
                        <a:pt x="11" y="12"/>
                      </a:cubicBezTo>
                      <a:cubicBezTo>
                        <a:pt x="12" y="11"/>
                        <a:pt x="13" y="11"/>
                        <a:pt x="13" y="11"/>
                      </a:cubicBezTo>
                      <a:cubicBezTo>
                        <a:pt x="28" y="11"/>
                        <a:pt x="28" y="11"/>
                        <a:pt x="28" y="11"/>
                      </a:cubicBezTo>
                      <a:cubicBezTo>
                        <a:pt x="28" y="11"/>
                        <a:pt x="29" y="11"/>
                        <a:pt x="29" y="12"/>
                      </a:cubicBezTo>
                      <a:cubicBezTo>
                        <a:pt x="29" y="32"/>
                        <a:pt x="29" y="32"/>
                        <a:pt x="29" y="32"/>
                      </a:cubicBezTo>
                      <a:cubicBezTo>
                        <a:pt x="29" y="33"/>
                        <a:pt x="28" y="33"/>
                        <a:pt x="28" y="33"/>
                      </a:cubicBezTo>
                      <a:lnTo>
                        <a:pt x="22" y="33"/>
                      </a:lnTo>
                      <a:close/>
                      <a:moveTo>
                        <a:pt x="49" y="39"/>
                      </a:moveTo>
                      <a:cubicBezTo>
                        <a:pt x="25" y="39"/>
                        <a:pt x="25" y="39"/>
                        <a:pt x="25" y="39"/>
                      </a:cubicBezTo>
                      <a:cubicBezTo>
                        <a:pt x="25" y="37"/>
                        <a:pt x="25" y="36"/>
                        <a:pt x="24" y="35"/>
                      </a:cubicBezTo>
                      <a:cubicBezTo>
                        <a:pt x="28" y="35"/>
                        <a:pt x="28" y="35"/>
                        <a:pt x="28" y="35"/>
                      </a:cubicBezTo>
                      <a:cubicBezTo>
                        <a:pt x="30" y="35"/>
                        <a:pt x="30" y="35"/>
                        <a:pt x="30" y="35"/>
                      </a:cubicBezTo>
                      <a:cubicBezTo>
                        <a:pt x="50" y="35"/>
                        <a:pt x="50" y="35"/>
                        <a:pt x="50" y="35"/>
                      </a:cubicBezTo>
                      <a:cubicBezTo>
                        <a:pt x="50" y="36"/>
                        <a:pt x="49" y="37"/>
                        <a:pt x="49" y="39"/>
                      </a:cubicBezTo>
                      <a:close/>
                      <a:moveTo>
                        <a:pt x="62" y="41"/>
                      </a:moveTo>
                      <a:cubicBezTo>
                        <a:pt x="62" y="41"/>
                        <a:pt x="62" y="42"/>
                        <a:pt x="61" y="42"/>
                      </a:cubicBezTo>
                      <a:cubicBezTo>
                        <a:pt x="61" y="42"/>
                        <a:pt x="61" y="42"/>
                        <a:pt x="61" y="42"/>
                      </a:cubicBezTo>
                      <a:cubicBezTo>
                        <a:pt x="61" y="43"/>
                        <a:pt x="61" y="43"/>
                        <a:pt x="60" y="43"/>
                      </a:cubicBezTo>
                      <a:cubicBezTo>
                        <a:pt x="60" y="43"/>
                        <a:pt x="60" y="43"/>
                        <a:pt x="60" y="43"/>
                      </a:cubicBezTo>
                      <a:cubicBezTo>
                        <a:pt x="60" y="44"/>
                        <a:pt x="59" y="44"/>
                        <a:pt x="59" y="44"/>
                      </a:cubicBezTo>
                      <a:cubicBezTo>
                        <a:pt x="59" y="44"/>
                        <a:pt x="58" y="44"/>
                        <a:pt x="58" y="44"/>
                      </a:cubicBezTo>
                      <a:cubicBezTo>
                        <a:pt x="57" y="44"/>
                        <a:pt x="56" y="44"/>
                        <a:pt x="56" y="44"/>
                      </a:cubicBezTo>
                      <a:cubicBezTo>
                        <a:pt x="56" y="44"/>
                        <a:pt x="55" y="44"/>
                        <a:pt x="55" y="43"/>
                      </a:cubicBezTo>
                      <a:cubicBezTo>
                        <a:pt x="55" y="43"/>
                        <a:pt x="55" y="43"/>
                        <a:pt x="55" y="43"/>
                      </a:cubicBezTo>
                      <a:cubicBezTo>
                        <a:pt x="54" y="43"/>
                        <a:pt x="54" y="43"/>
                        <a:pt x="54" y="42"/>
                      </a:cubicBezTo>
                      <a:cubicBezTo>
                        <a:pt x="54" y="42"/>
                        <a:pt x="54" y="42"/>
                        <a:pt x="54" y="42"/>
                      </a:cubicBezTo>
                      <a:cubicBezTo>
                        <a:pt x="54" y="42"/>
                        <a:pt x="53" y="41"/>
                        <a:pt x="53" y="41"/>
                      </a:cubicBezTo>
                      <a:cubicBezTo>
                        <a:pt x="53" y="40"/>
                        <a:pt x="53" y="40"/>
                        <a:pt x="53" y="40"/>
                      </a:cubicBezTo>
                      <a:cubicBezTo>
                        <a:pt x="53" y="39"/>
                        <a:pt x="53" y="38"/>
                        <a:pt x="54" y="37"/>
                      </a:cubicBezTo>
                      <a:cubicBezTo>
                        <a:pt x="54" y="37"/>
                        <a:pt x="54" y="37"/>
                        <a:pt x="54" y="37"/>
                      </a:cubicBezTo>
                      <a:cubicBezTo>
                        <a:pt x="54" y="37"/>
                        <a:pt x="54" y="37"/>
                        <a:pt x="55" y="36"/>
                      </a:cubicBezTo>
                      <a:cubicBezTo>
                        <a:pt x="55" y="36"/>
                        <a:pt x="55" y="36"/>
                        <a:pt x="55" y="36"/>
                      </a:cubicBezTo>
                      <a:cubicBezTo>
                        <a:pt x="55" y="36"/>
                        <a:pt x="56" y="36"/>
                        <a:pt x="56" y="36"/>
                      </a:cubicBezTo>
                      <a:cubicBezTo>
                        <a:pt x="56" y="35"/>
                        <a:pt x="57" y="35"/>
                        <a:pt x="58" y="35"/>
                      </a:cubicBezTo>
                      <a:cubicBezTo>
                        <a:pt x="58" y="35"/>
                        <a:pt x="59" y="35"/>
                        <a:pt x="59" y="36"/>
                      </a:cubicBezTo>
                      <a:cubicBezTo>
                        <a:pt x="59" y="36"/>
                        <a:pt x="60" y="36"/>
                        <a:pt x="60" y="36"/>
                      </a:cubicBezTo>
                      <a:cubicBezTo>
                        <a:pt x="60" y="36"/>
                        <a:pt x="60" y="36"/>
                        <a:pt x="60" y="36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1" y="37"/>
                        <a:pt x="61" y="37"/>
                        <a:pt x="61" y="37"/>
                      </a:cubicBezTo>
                      <a:cubicBezTo>
                        <a:pt x="62" y="38"/>
                        <a:pt x="62" y="39"/>
                        <a:pt x="62" y="40"/>
                      </a:cubicBezTo>
                      <a:cubicBezTo>
                        <a:pt x="62" y="40"/>
                        <a:pt x="62" y="40"/>
                        <a:pt x="62" y="41"/>
                      </a:cubicBezTo>
                      <a:close/>
                      <a:moveTo>
                        <a:pt x="74" y="39"/>
                      </a:moveTo>
                      <a:cubicBezTo>
                        <a:pt x="66" y="39"/>
                        <a:pt x="66" y="39"/>
                        <a:pt x="66" y="39"/>
                      </a:cubicBezTo>
                      <a:cubicBezTo>
                        <a:pt x="66" y="37"/>
                        <a:pt x="65" y="36"/>
                        <a:pt x="65" y="35"/>
                      </a:cubicBezTo>
                      <a:cubicBezTo>
                        <a:pt x="74" y="35"/>
                        <a:pt x="74" y="35"/>
                        <a:pt x="74" y="35"/>
                      </a:cubicBezTo>
                      <a:lnTo>
                        <a:pt x="74" y="39"/>
                      </a:lnTo>
                      <a:close/>
                      <a:moveTo>
                        <a:pt x="26" y="13"/>
                      </a:moveTo>
                      <a:cubicBezTo>
                        <a:pt x="13" y="13"/>
                        <a:pt x="13" y="13"/>
                        <a:pt x="13" y="13"/>
                      </a:cubicBezTo>
                      <a:cubicBezTo>
                        <a:pt x="12" y="13"/>
                        <a:pt x="12" y="14"/>
                        <a:pt x="12" y="14"/>
                      </a:cubicBezTo>
                      <a:cubicBezTo>
                        <a:pt x="6" y="23"/>
                        <a:pt x="6" y="23"/>
                        <a:pt x="6" y="23"/>
                      </a:cubicBezTo>
                      <a:cubicBezTo>
                        <a:pt x="5" y="24"/>
                        <a:pt x="5" y="24"/>
                        <a:pt x="6" y="24"/>
                      </a:cubicBezTo>
                      <a:cubicBezTo>
                        <a:pt x="6" y="25"/>
                        <a:pt x="6" y="25"/>
                        <a:pt x="7" y="25"/>
                      </a:cubicBezTo>
                      <a:cubicBezTo>
                        <a:pt x="26" y="25"/>
                        <a:pt x="26" y="25"/>
                        <a:pt x="26" y="25"/>
                      </a:cubicBezTo>
                      <a:cubicBezTo>
                        <a:pt x="26" y="25"/>
                        <a:pt x="27" y="25"/>
                        <a:pt x="27" y="24"/>
                      </a:cubicBezTo>
                      <a:cubicBezTo>
                        <a:pt x="27" y="14"/>
                        <a:pt x="27" y="14"/>
                        <a:pt x="27" y="14"/>
                      </a:cubicBezTo>
                      <a:cubicBezTo>
                        <a:pt x="27" y="14"/>
                        <a:pt x="26" y="13"/>
                        <a:pt x="26" y="13"/>
                      </a:cubicBezTo>
                      <a:close/>
                      <a:moveTo>
                        <a:pt x="25" y="23"/>
                      </a:moveTo>
                      <a:cubicBezTo>
                        <a:pt x="8" y="23"/>
                        <a:pt x="8" y="23"/>
                        <a:pt x="8" y="23"/>
                      </a:cubicBezTo>
                      <a:cubicBezTo>
                        <a:pt x="13" y="15"/>
                        <a:pt x="13" y="15"/>
                        <a:pt x="13" y="15"/>
                      </a:cubicBezTo>
                      <a:cubicBezTo>
                        <a:pt x="25" y="15"/>
                        <a:pt x="25" y="15"/>
                        <a:pt x="25" y="15"/>
                      </a:cubicBezTo>
                      <a:lnTo>
                        <a:pt x="25" y="23"/>
                      </a:lnTo>
                      <a:close/>
                      <a:moveTo>
                        <a:pt x="18" y="28"/>
                      </a:moveTo>
                      <a:cubicBezTo>
                        <a:pt x="18" y="28"/>
                        <a:pt x="18" y="29"/>
                        <a:pt x="17" y="29"/>
                      </a:cubicBezTo>
                      <a:cubicBezTo>
                        <a:pt x="14" y="29"/>
                        <a:pt x="14" y="29"/>
                        <a:pt x="14" y="29"/>
                      </a:cubicBezTo>
                      <a:cubicBezTo>
                        <a:pt x="13" y="29"/>
                        <a:pt x="13" y="28"/>
                        <a:pt x="13" y="28"/>
                      </a:cubicBezTo>
                      <a:cubicBezTo>
                        <a:pt x="13" y="27"/>
                        <a:pt x="13" y="27"/>
                        <a:pt x="14" y="27"/>
                      </a:cubicBezTo>
                      <a:cubicBezTo>
                        <a:pt x="17" y="27"/>
                        <a:pt x="17" y="27"/>
                        <a:pt x="17" y="27"/>
                      </a:cubicBezTo>
                      <a:cubicBezTo>
                        <a:pt x="18" y="27"/>
                        <a:pt x="18" y="27"/>
                        <a:pt x="18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6" name="任意多边形: 形状 145">
                  <a:extLst>
                    <a:ext uri="{FF2B5EF4-FFF2-40B4-BE49-F238E27FC236}">
                      <a16:creationId xmlns:a16="http://schemas.microsoft.com/office/drawing/2014/main" id="{8FB6B687-0CCF-41A3-AF78-BD7FAA10AFA2}"/>
                    </a:ext>
                  </a:extLst>
                </p:cNvPr>
                <p:cNvSpPr/>
                <p:nvPr/>
              </p:nvSpPr>
              <p:spPr bwMode="auto">
                <a:xfrm>
                  <a:off x="4207885" y="1377510"/>
                  <a:ext cx="335783" cy="226316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7" name="任意多边形: 形状 146">
                  <a:extLst>
                    <a:ext uri="{FF2B5EF4-FFF2-40B4-BE49-F238E27FC236}">
                      <a16:creationId xmlns:a16="http://schemas.microsoft.com/office/drawing/2014/main" id="{30CB1789-B1CC-4D13-AFE5-87321E393266}"/>
                    </a:ext>
                  </a:extLst>
                </p:cNvPr>
                <p:cNvSpPr/>
                <p:nvPr/>
              </p:nvSpPr>
              <p:spPr bwMode="auto">
                <a:xfrm>
                  <a:off x="5374315" y="4900926"/>
                  <a:ext cx="335783" cy="226316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8" name="任意多边形: 形状 147">
                  <a:extLst>
                    <a:ext uri="{FF2B5EF4-FFF2-40B4-BE49-F238E27FC236}">
                      <a16:creationId xmlns:a16="http://schemas.microsoft.com/office/drawing/2014/main" id="{ABCFBCEB-4D09-40C9-B4DA-EDFBEED550F9}"/>
                    </a:ext>
                  </a:extLst>
                </p:cNvPr>
                <p:cNvSpPr/>
                <p:nvPr/>
              </p:nvSpPr>
              <p:spPr bwMode="auto">
                <a:xfrm>
                  <a:off x="7525947" y="4126640"/>
                  <a:ext cx="292602" cy="271451"/>
                </a:xfrm>
                <a:custGeom>
                  <a:avLst/>
                  <a:gdLst>
                    <a:gd name="T0" fmla="*/ 55 w 70"/>
                    <a:gd name="T1" fmla="*/ 45 h 65"/>
                    <a:gd name="T2" fmla="*/ 55 w 70"/>
                    <a:gd name="T3" fmla="*/ 35 h 65"/>
                    <a:gd name="T4" fmla="*/ 29 w 70"/>
                    <a:gd name="T5" fmla="*/ 25 h 65"/>
                    <a:gd name="T6" fmla="*/ 40 w 70"/>
                    <a:gd name="T7" fmla="*/ 50 h 65"/>
                    <a:gd name="T8" fmla="*/ 49 w 70"/>
                    <a:gd name="T9" fmla="*/ 51 h 65"/>
                    <a:gd name="T10" fmla="*/ 64 w 70"/>
                    <a:gd name="T11" fmla="*/ 65 h 65"/>
                    <a:gd name="T12" fmla="*/ 48 w 70"/>
                    <a:gd name="T13" fmla="*/ 44 h 65"/>
                    <a:gd name="T14" fmla="*/ 28 w 70"/>
                    <a:gd name="T15" fmla="*/ 35 h 65"/>
                    <a:gd name="T16" fmla="*/ 48 w 70"/>
                    <a:gd name="T17" fmla="*/ 27 h 65"/>
                    <a:gd name="T18" fmla="*/ 50 w 70"/>
                    <a:gd name="T19" fmla="*/ 47 h 65"/>
                    <a:gd name="T20" fmla="*/ 51 w 70"/>
                    <a:gd name="T21" fmla="*/ 45 h 65"/>
                    <a:gd name="T22" fmla="*/ 66 w 70"/>
                    <a:gd name="T23" fmla="*/ 61 h 65"/>
                    <a:gd name="T24" fmla="*/ 52 w 70"/>
                    <a:gd name="T25" fmla="*/ 50 h 65"/>
                    <a:gd name="T26" fmla="*/ 53 w 70"/>
                    <a:gd name="T27" fmla="*/ 49 h 65"/>
                    <a:gd name="T28" fmla="*/ 55 w 70"/>
                    <a:gd name="T29" fmla="*/ 48 h 65"/>
                    <a:gd name="T30" fmla="*/ 66 w 70"/>
                    <a:gd name="T31" fmla="*/ 61 h 65"/>
                    <a:gd name="T32" fmla="*/ 34 w 70"/>
                    <a:gd name="T33" fmla="*/ 42 h 65"/>
                    <a:gd name="T34" fmla="*/ 32 w 70"/>
                    <a:gd name="T35" fmla="*/ 43 h 65"/>
                    <a:gd name="T36" fmla="*/ 34 w 70"/>
                    <a:gd name="T37" fmla="*/ 28 h 65"/>
                    <a:gd name="T38" fmla="*/ 39 w 70"/>
                    <a:gd name="T39" fmla="*/ 60 h 65"/>
                    <a:gd name="T40" fmla="*/ 33 w 70"/>
                    <a:gd name="T41" fmla="*/ 60 h 65"/>
                    <a:gd name="T42" fmla="*/ 31 w 70"/>
                    <a:gd name="T43" fmla="*/ 60 h 65"/>
                    <a:gd name="T44" fmla="*/ 28 w 70"/>
                    <a:gd name="T45" fmla="*/ 47 h 65"/>
                    <a:gd name="T46" fmla="*/ 18 w 70"/>
                    <a:gd name="T47" fmla="*/ 33 h 65"/>
                    <a:gd name="T48" fmla="*/ 18 w 70"/>
                    <a:gd name="T49" fmla="*/ 31 h 65"/>
                    <a:gd name="T50" fmla="*/ 31 w 70"/>
                    <a:gd name="T51" fmla="*/ 21 h 65"/>
                    <a:gd name="T52" fmla="*/ 45 w 70"/>
                    <a:gd name="T53" fmla="*/ 19 h 65"/>
                    <a:gd name="T54" fmla="*/ 47 w 70"/>
                    <a:gd name="T55" fmla="*/ 19 h 65"/>
                    <a:gd name="T56" fmla="*/ 56 w 70"/>
                    <a:gd name="T57" fmla="*/ 33 h 65"/>
                    <a:gd name="T58" fmla="*/ 55 w 70"/>
                    <a:gd name="T59" fmla="*/ 43 h 65"/>
                    <a:gd name="T60" fmla="*/ 60 w 70"/>
                    <a:gd name="T61" fmla="*/ 45 h 65"/>
                    <a:gd name="T62" fmla="*/ 32 w 70"/>
                    <a:gd name="T63" fmla="*/ 0 h 65"/>
                    <a:gd name="T64" fmla="*/ 51 w 70"/>
                    <a:gd name="T65" fmla="*/ 57 h 65"/>
                    <a:gd name="T66" fmla="*/ 60 w 70"/>
                    <a:gd name="T67" fmla="*/ 24 h 65"/>
                    <a:gd name="T68" fmla="*/ 60 w 70"/>
                    <a:gd name="T69" fmla="*/ 24 h 65"/>
                    <a:gd name="T70" fmla="*/ 33 w 70"/>
                    <a:gd name="T71" fmla="*/ 15 h 65"/>
                    <a:gd name="T72" fmla="*/ 31 w 70"/>
                    <a:gd name="T73" fmla="*/ 15 h 65"/>
                    <a:gd name="T74" fmla="*/ 25 w 70"/>
                    <a:gd name="T75" fmla="*/ 4 h 65"/>
                    <a:gd name="T76" fmla="*/ 25 w 70"/>
                    <a:gd name="T77" fmla="*/ 4 h 65"/>
                    <a:gd name="T78" fmla="*/ 3 w 70"/>
                    <a:gd name="T79" fmla="*/ 31 h 65"/>
                    <a:gd name="T80" fmla="*/ 17 w 70"/>
                    <a:gd name="T81" fmla="*/ 44 h 65"/>
                    <a:gd name="T82" fmla="*/ 4 w 70"/>
                    <a:gd name="T83" fmla="*/ 39 h 65"/>
                    <a:gd name="T84" fmla="*/ 4 w 70"/>
                    <a:gd name="T85" fmla="*/ 39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70" h="65">
                      <a:moveTo>
                        <a:pt x="68" y="55"/>
                      </a:moveTo>
                      <a:cubicBezTo>
                        <a:pt x="59" y="47"/>
                        <a:pt x="59" y="47"/>
                        <a:pt x="59" y="47"/>
                      </a:cubicBezTo>
                      <a:cubicBezTo>
                        <a:pt x="58" y="46"/>
                        <a:pt x="56" y="45"/>
                        <a:pt x="55" y="45"/>
                      </a:cubicBezTo>
                      <a:cubicBezTo>
                        <a:pt x="54" y="45"/>
                        <a:pt x="54" y="45"/>
                        <a:pt x="54" y="45"/>
                      </a:cubicBezTo>
                      <a:cubicBezTo>
                        <a:pt x="52" y="44"/>
                        <a:pt x="52" y="44"/>
                        <a:pt x="52" y="44"/>
                      </a:cubicBezTo>
                      <a:cubicBezTo>
                        <a:pt x="54" y="41"/>
                        <a:pt x="55" y="38"/>
                        <a:pt x="55" y="35"/>
                      </a:cubicBezTo>
                      <a:cubicBezTo>
                        <a:pt x="55" y="31"/>
                        <a:pt x="53" y="28"/>
                        <a:pt x="50" y="25"/>
                      </a:cubicBezTo>
                      <a:cubicBezTo>
                        <a:pt x="47" y="22"/>
                        <a:pt x="44" y="21"/>
                        <a:pt x="40" y="21"/>
                      </a:cubicBezTo>
                      <a:cubicBezTo>
                        <a:pt x="36" y="21"/>
                        <a:pt x="32" y="22"/>
                        <a:pt x="29" y="25"/>
                      </a:cubicBezTo>
                      <a:cubicBezTo>
                        <a:pt x="26" y="28"/>
                        <a:pt x="25" y="31"/>
                        <a:pt x="25" y="35"/>
                      </a:cubicBezTo>
                      <a:cubicBezTo>
                        <a:pt x="25" y="39"/>
                        <a:pt x="26" y="43"/>
                        <a:pt x="29" y="46"/>
                      </a:cubicBezTo>
                      <a:cubicBezTo>
                        <a:pt x="32" y="49"/>
                        <a:pt x="36" y="50"/>
                        <a:pt x="40" y="50"/>
                      </a:cubicBezTo>
                      <a:cubicBezTo>
                        <a:pt x="43" y="50"/>
                        <a:pt x="46" y="50"/>
                        <a:pt x="48" y="48"/>
                      </a:cubicBezTo>
                      <a:cubicBezTo>
                        <a:pt x="49" y="49"/>
                        <a:pt x="49" y="49"/>
                        <a:pt x="49" y="49"/>
                      </a:cubicBezTo>
                      <a:cubicBezTo>
                        <a:pt x="49" y="50"/>
                        <a:pt x="49" y="50"/>
                        <a:pt x="49" y="51"/>
                      </a:cubicBezTo>
                      <a:cubicBezTo>
                        <a:pt x="49" y="52"/>
                        <a:pt x="50" y="53"/>
                        <a:pt x="51" y="55"/>
                      </a:cubicBezTo>
                      <a:cubicBezTo>
                        <a:pt x="60" y="63"/>
                        <a:pt x="60" y="63"/>
                        <a:pt x="60" y="63"/>
                      </a:cubicBezTo>
                      <a:cubicBezTo>
                        <a:pt x="61" y="64"/>
                        <a:pt x="62" y="65"/>
                        <a:pt x="64" y="65"/>
                      </a:cubicBezTo>
                      <a:cubicBezTo>
                        <a:pt x="65" y="65"/>
                        <a:pt x="67" y="64"/>
                        <a:pt x="68" y="63"/>
                      </a:cubicBezTo>
                      <a:cubicBezTo>
                        <a:pt x="70" y="61"/>
                        <a:pt x="70" y="58"/>
                        <a:pt x="68" y="55"/>
                      </a:cubicBezTo>
                      <a:close/>
                      <a:moveTo>
                        <a:pt x="48" y="44"/>
                      </a:moveTo>
                      <a:cubicBezTo>
                        <a:pt x="46" y="46"/>
                        <a:pt x="43" y="47"/>
                        <a:pt x="40" y="47"/>
                      </a:cubicBezTo>
                      <a:cubicBezTo>
                        <a:pt x="37" y="47"/>
                        <a:pt x="34" y="46"/>
                        <a:pt x="31" y="44"/>
                      </a:cubicBezTo>
                      <a:cubicBezTo>
                        <a:pt x="29" y="42"/>
                        <a:pt x="28" y="39"/>
                        <a:pt x="28" y="35"/>
                      </a:cubicBezTo>
                      <a:cubicBezTo>
                        <a:pt x="28" y="32"/>
                        <a:pt x="29" y="29"/>
                        <a:pt x="31" y="27"/>
                      </a:cubicBezTo>
                      <a:cubicBezTo>
                        <a:pt x="34" y="25"/>
                        <a:pt x="37" y="24"/>
                        <a:pt x="40" y="24"/>
                      </a:cubicBezTo>
                      <a:cubicBezTo>
                        <a:pt x="43" y="24"/>
                        <a:pt x="46" y="25"/>
                        <a:pt x="48" y="27"/>
                      </a:cubicBezTo>
                      <a:cubicBezTo>
                        <a:pt x="53" y="32"/>
                        <a:pt x="53" y="39"/>
                        <a:pt x="48" y="44"/>
                      </a:cubicBezTo>
                      <a:close/>
                      <a:moveTo>
                        <a:pt x="51" y="47"/>
                      </a:moveTo>
                      <a:cubicBezTo>
                        <a:pt x="51" y="47"/>
                        <a:pt x="50" y="47"/>
                        <a:pt x="50" y="47"/>
                      </a:cubicBezTo>
                      <a:cubicBezTo>
                        <a:pt x="49" y="47"/>
                        <a:pt x="49" y="47"/>
                        <a:pt x="49" y="47"/>
                      </a:cubicBezTo>
                      <a:cubicBezTo>
                        <a:pt x="50" y="46"/>
                        <a:pt x="50" y="46"/>
                        <a:pt x="50" y="46"/>
                      </a:cubicBezTo>
                      <a:cubicBezTo>
                        <a:pt x="51" y="46"/>
                        <a:pt x="51" y="45"/>
                        <a:pt x="51" y="45"/>
                      </a:cubicBezTo>
                      <a:cubicBezTo>
                        <a:pt x="52" y="46"/>
                        <a:pt x="52" y="46"/>
                        <a:pt x="52" y="46"/>
                      </a:cubicBezTo>
                      <a:cubicBezTo>
                        <a:pt x="51" y="46"/>
                        <a:pt x="51" y="46"/>
                        <a:pt x="51" y="47"/>
                      </a:cubicBezTo>
                      <a:close/>
                      <a:moveTo>
                        <a:pt x="66" y="61"/>
                      </a:moveTo>
                      <a:cubicBezTo>
                        <a:pt x="65" y="62"/>
                        <a:pt x="63" y="62"/>
                        <a:pt x="62" y="61"/>
                      </a:cubicBezTo>
                      <a:cubicBezTo>
                        <a:pt x="53" y="52"/>
                        <a:pt x="53" y="52"/>
                        <a:pt x="53" y="52"/>
                      </a:cubicBezTo>
                      <a:cubicBezTo>
                        <a:pt x="53" y="52"/>
                        <a:pt x="52" y="51"/>
                        <a:pt x="52" y="50"/>
                      </a:cubicBezTo>
                      <a:cubicBezTo>
                        <a:pt x="52" y="50"/>
                        <a:pt x="52" y="50"/>
                        <a:pt x="52" y="50"/>
                      </a:cubicBezTo>
                      <a:cubicBezTo>
                        <a:pt x="52" y="50"/>
                        <a:pt x="52" y="49"/>
                        <a:pt x="52" y="49"/>
                      </a:cubicBezTo>
                      <a:cubicBezTo>
                        <a:pt x="53" y="49"/>
                        <a:pt x="53" y="49"/>
                        <a:pt x="53" y="49"/>
                      </a:cubicBezTo>
                      <a:cubicBezTo>
                        <a:pt x="53" y="48"/>
                        <a:pt x="53" y="48"/>
                        <a:pt x="54" y="48"/>
                      </a:cubicBezTo>
                      <a:cubicBezTo>
                        <a:pt x="54" y="48"/>
                        <a:pt x="54" y="48"/>
                        <a:pt x="54" y="48"/>
                      </a:cubicBezTo>
                      <a:cubicBezTo>
                        <a:pt x="54" y="48"/>
                        <a:pt x="54" y="48"/>
                        <a:pt x="55" y="48"/>
                      </a:cubicBezTo>
                      <a:cubicBezTo>
                        <a:pt x="55" y="48"/>
                        <a:pt x="56" y="48"/>
                        <a:pt x="57" y="49"/>
                      </a:cubicBezTo>
                      <a:cubicBezTo>
                        <a:pt x="65" y="58"/>
                        <a:pt x="65" y="58"/>
                        <a:pt x="65" y="58"/>
                      </a:cubicBezTo>
                      <a:cubicBezTo>
                        <a:pt x="66" y="59"/>
                        <a:pt x="67" y="60"/>
                        <a:pt x="66" y="61"/>
                      </a:cubicBezTo>
                      <a:close/>
                      <a:moveTo>
                        <a:pt x="34" y="29"/>
                      </a:moveTo>
                      <a:cubicBezTo>
                        <a:pt x="32" y="31"/>
                        <a:pt x="31" y="33"/>
                        <a:pt x="31" y="35"/>
                      </a:cubicBezTo>
                      <a:cubicBezTo>
                        <a:pt x="31" y="38"/>
                        <a:pt x="32" y="40"/>
                        <a:pt x="34" y="42"/>
                      </a:cubicBezTo>
                      <a:cubicBezTo>
                        <a:pt x="34" y="42"/>
                        <a:pt x="34" y="43"/>
                        <a:pt x="34" y="43"/>
                      </a:cubicBezTo>
                      <a:cubicBezTo>
                        <a:pt x="33" y="43"/>
                        <a:pt x="33" y="43"/>
                        <a:pt x="33" y="43"/>
                      </a:cubicBezTo>
                      <a:cubicBezTo>
                        <a:pt x="33" y="43"/>
                        <a:pt x="32" y="43"/>
                        <a:pt x="32" y="43"/>
                      </a:cubicBezTo>
                      <a:cubicBezTo>
                        <a:pt x="30" y="41"/>
                        <a:pt x="29" y="38"/>
                        <a:pt x="29" y="35"/>
                      </a:cubicBezTo>
                      <a:cubicBezTo>
                        <a:pt x="29" y="33"/>
                        <a:pt x="30" y="30"/>
                        <a:pt x="32" y="28"/>
                      </a:cubicBezTo>
                      <a:cubicBezTo>
                        <a:pt x="33" y="28"/>
                        <a:pt x="33" y="28"/>
                        <a:pt x="34" y="28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lose/>
                      <a:moveTo>
                        <a:pt x="49" y="55"/>
                      </a:moveTo>
                      <a:cubicBezTo>
                        <a:pt x="46" y="57"/>
                        <a:pt x="43" y="59"/>
                        <a:pt x="39" y="60"/>
                      </a:cubicBezTo>
                      <a:cubicBezTo>
                        <a:pt x="41" y="58"/>
                        <a:pt x="43" y="55"/>
                        <a:pt x="45" y="52"/>
                      </a:cubicBezTo>
                      <a:cubicBezTo>
                        <a:pt x="44" y="52"/>
                        <a:pt x="43" y="52"/>
                        <a:pt x="42" y="52"/>
                      </a:cubicBezTo>
                      <a:cubicBezTo>
                        <a:pt x="40" y="57"/>
                        <a:pt x="37" y="60"/>
                        <a:pt x="33" y="60"/>
                      </a:cubicBezTo>
                      <a:cubicBezTo>
                        <a:pt x="33" y="51"/>
                        <a:pt x="33" y="51"/>
                        <a:pt x="33" y="51"/>
                      </a:cubicBezTo>
                      <a:cubicBezTo>
                        <a:pt x="32" y="51"/>
                        <a:pt x="32" y="50"/>
                        <a:pt x="31" y="50"/>
                      </a:cubicBezTo>
                      <a:cubicBezTo>
                        <a:pt x="31" y="60"/>
                        <a:pt x="31" y="60"/>
                        <a:pt x="31" y="60"/>
                      </a:cubicBezTo>
                      <a:cubicBezTo>
                        <a:pt x="26" y="60"/>
                        <a:pt x="22" y="54"/>
                        <a:pt x="20" y="47"/>
                      </a:cubicBezTo>
                      <a:cubicBezTo>
                        <a:pt x="22" y="47"/>
                        <a:pt x="25" y="48"/>
                        <a:pt x="28" y="48"/>
                      </a:cubicBezTo>
                      <a:cubicBezTo>
                        <a:pt x="28" y="48"/>
                        <a:pt x="28" y="48"/>
                        <a:pt x="28" y="47"/>
                      </a:cubicBezTo>
                      <a:cubicBezTo>
                        <a:pt x="27" y="47"/>
                        <a:pt x="27" y="46"/>
                        <a:pt x="26" y="46"/>
                      </a:cubicBezTo>
                      <a:cubicBezTo>
                        <a:pt x="24" y="45"/>
                        <a:pt x="21" y="45"/>
                        <a:pt x="19" y="44"/>
                      </a:cubicBezTo>
                      <a:cubicBezTo>
                        <a:pt x="18" y="41"/>
                        <a:pt x="18" y="37"/>
                        <a:pt x="18" y="33"/>
                      </a:cubicBezTo>
                      <a:cubicBezTo>
                        <a:pt x="23" y="33"/>
                        <a:pt x="23" y="33"/>
                        <a:pt x="23" y="33"/>
                      </a:cubicBezTo>
                      <a:cubicBezTo>
                        <a:pt x="23" y="32"/>
                        <a:pt x="23" y="31"/>
                        <a:pt x="24" y="31"/>
                      </a:cubicBezTo>
                      <a:cubicBezTo>
                        <a:pt x="18" y="31"/>
                        <a:pt x="18" y="31"/>
                        <a:pt x="18" y="31"/>
                      </a:cubicBezTo>
                      <a:cubicBezTo>
                        <a:pt x="18" y="26"/>
                        <a:pt x="18" y="22"/>
                        <a:pt x="19" y="19"/>
                      </a:cubicBezTo>
                      <a:cubicBezTo>
                        <a:pt x="23" y="18"/>
                        <a:pt x="27" y="17"/>
                        <a:pt x="31" y="17"/>
                      </a:cubicBezTo>
                      <a:cubicBezTo>
                        <a:pt x="31" y="21"/>
                        <a:pt x="31" y="21"/>
                        <a:pt x="31" y="21"/>
                      </a:cubicBezTo>
                      <a:cubicBezTo>
                        <a:pt x="32" y="21"/>
                        <a:pt x="32" y="20"/>
                        <a:pt x="33" y="2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7" y="17"/>
                        <a:pt x="41" y="18"/>
                        <a:pt x="45" y="19"/>
                      </a:cubicBezTo>
                      <a:cubicBezTo>
                        <a:pt x="45" y="19"/>
                        <a:pt x="45" y="19"/>
                        <a:pt x="45" y="20"/>
                      </a:cubicBezTo>
                      <a:cubicBezTo>
                        <a:pt x="46" y="20"/>
                        <a:pt x="47" y="20"/>
                        <a:pt x="48" y="21"/>
                      </a:cubicBezTo>
                      <a:cubicBezTo>
                        <a:pt x="47" y="20"/>
                        <a:pt x="47" y="20"/>
                        <a:pt x="47" y="19"/>
                      </a:cubicBezTo>
                      <a:cubicBezTo>
                        <a:pt x="55" y="22"/>
                        <a:pt x="60" y="26"/>
                        <a:pt x="61" y="31"/>
                      </a:cubicBezTo>
                      <a:cubicBezTo>
                        <a:pt x="56" y="31"/>
                        <a:pt x="56" y="31"/>
                        <a:pt x="56" y="31"/>
                      </a:cubicBezTo>
                      <a:cubicBezTo>
                        <a:pt x="56" y="31"/>
                        <a:pt x="56" y="32"/>
                        <a:pt x="56" y="33"/>
                      </a:cubicBezTo>
                      <a:cubicBezTo>
                        <a:pt x="61" y="33"/>
                        <a:pt x="61" y="33"/>
                        <a:pt x="61" y="33"/>
                      </a:cubicBezTo>
                      <a:cubicBezTo>
                        <a:pt x="61" y="35"/>
                        <a:pt x="59" y="38"/>
                        <a:pt x="56" y="40"/>
                      </a:cubicBezTo>
                      <a:cubicBezTo>
                        <a:pt x="56" y="41"/>
                        <a:pt x="55" y="42"/>
                        <a:pt x="55" y="43"/>
                      </a:cubicBezTo>
                      <a:cubicBezTo>
                        <a:pt x="57" y="41"/>
                        <a:pt x="59" y="40"/>
                        <a:pt x="60" y="39"/>
                      </a:cubicBezTo>
                      <a:cubicBezTo>
                        <a:pt x="60" y="40"/>
                        <a:pt x="59" y="42"/>
                        <a:pt x="58" y="44"/>
                      </a:cubicBezTo>
                      <a:cubicBezTo>
                        <a:pt x="59" y="44"/>
                        <a:pt x="60" y="45"/>
                        <a:pt x="60" y="45"/>
                      </a:cubicBezTo>
                      <a:cubicBezTo>
                        <a:pt x="61" y="46"/>
                        <a:pt x="61" y="46"/>
                        <a:pt x="61" y="46"/>
                      </a:cubicBezTo>
                      <a:cubicBezTo>
                        <a:pt x="63" y="41"/>
                        <a:pt x="64" y="37"/>
                        <a:pt x="64" y="32"/>
                      </a:cubicBezTo>
                      <a:cubicBezTo>
                        <a:pt x="64" y="14"/>
                        <a:pt x="50" y="0"/>
                        <a:pt x="32" y="0"/>
                      </a:cubicBezTo>
                      <a:cubicBezTo>
                        <a:pt x="15" y="0"/>
                        <a:pt x="0" y="14"/>
                        <a:pt x="0" y="32"/>
                      </a:cubicBezTo>
                      <a:cubicBezTo>
                        <a:pt x="0" y="49"/>
                        <a:pt x="15" y="63"/>
                        <a:pt x="32" y="63"/>
                      </a:cubicBezTo>
                      <a:cubicBezTo>
                        <a:pt x="39" y="63"/>
                        <a:pt x="46" y="61"/>
                        <a:pt x="51" y="57"/>
                      </a:cubicBezTo>
                      <a:cubicBezTo>
                        <a:pt x="50" y="56"/>
                        <a:pt x="50" y="56"/>
                        <a:pt x="50" y="56"/>
                      </a:cubicBezTo>
                      <a:cubicBezTo>
                        <a:pt x="49" y="56"/>
                        <a:pt x="49" y="55"/>
                        <a:pt x="49" y="55"/>
                      </a:cubicBezTo>
                      <a:close/>
                      <a:moveTo>
                        <a:pt x="60" y="24"/>
                      </a:moveTo>
                      <a:cubicBezTo>
                        <a:pt x="57" y="21"/>
                        <a:pt x="53" y="19"/>
                        <a:pt x="47" y="17"/>
                      </a:cubicBezTo>
                      <a:cubicBezTo>
                        <a:pt x="45" y="11"/>
                        <a:pt x="42" y="6"/>
                        <a:pt x="39" y="4"/>
                      </a:cubicBezTo>
                      <a:cubicBezTo>
                        <a:pt x="50" y="6"/>
                        <a:pt x="58" y="14"/>
                        <a:pt x="60" y="24"/>
                      </a:cubicBezTo>
                      <a:close/>
                      <a:moveTo>
                        <a:pt x="33" y="3"/>
                      </a:moveTo>
                      <a:cubicBezTo>
                        <a:pt x="38" y="3"/>
                        <a:pt x="42" y="9"/>
                        <a:pt x="44" y="16"/>
                      </a:cubicBezTo>
                      <a:cubicBezTo>
                        <a:pt x="41" y="16"/>
                        <a:pt x="37" y="15"/>
                        <a:pt x="33" y="15"/>
                      </a:cubicBezTo>
                      <a:lnTo>
                        <a:pt x="33" y="3"/>
                      </a:lnTo>
                      <a:close/>
                      <a:moveTo>
                        <a:pt x="31" y="3"/>
                      </a:moveTo>
                      <a:cubicBezTo>
                        <a:pt x="31" y="15"/>
                        <a:pt x="31" y="15"/>
                        <a:pt x="31" y="15"/>
                      </a:cubicBezTo>
                      <a:cubicBezTo>
                        <a:pt x="27" y="15"/>
                        <a:pt x="23" y="16"/>
                        <a:pt x="20" y="16"/>
                      </a:cubicBezTo>
                      <a:cubicBezTo>
                        <a:pt x="22" y="9"/>
                        <a:pt x="26" y="3"/>
                        <a:pt x="31" y="3"/>
                      </a:cubicBezTo>
                      <a:close/>
                      <a:moveTo>
                        <a:pt x="25" y="4"/>
                      </a:moveTo>
                      <a:cubicBezTo>
                        <a:pt x="22" y="6"/>
                        <a:pt x="19" y="11"/>
                        <a:pt x="18" y="17"/>
                      </a:cubicBezTo>
                      <a:cubicBezTo>
                        <a:pt x="12" y="19"/>
                        <a:pt x="7" y="21"/>
                        <a:pt x="4" y="24"/>
                      </a:cubicBezTo>
                      <a:cubicBezTo>
                        <a:pt x="7" y="14"/>
                        <a:pt x="15" y="6"/>
                        <a:pt x="25" y="4"/>
                      </a:cubicBezTo>
                      <a:close/>
                      <a:moveTo>
                        <a:pt x="17" y="19"/>
                      </a:moveTo>
                      <a:cubicBezTo>
                        <a:pt x="16" y="23"/>
                        <a:pt x="16" y="27"/>
                        <a:pt x="16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4" y="26"/>
                        <a:pt x="9" y="22"/>
                        <a:pt x="17" y="19"/>
                      </a:cubicBezTo>
                      <a:close/>
                      <a:moveTo>
                        <a:pt x="16" y="33"/>
                      </a:moveTo>
                      <a:cubicBezTo>
                        <a:pt x="16" y="37"/>
                        <a:pt x="16" y="40"/>
                        <a:pt x="17" y="44"/>
                      </a:cubicBezTo>
                      <a:cubicBezTo>
                        <a:pt x="9" y="41"/>
                        <a:pt x="4" y="37"/>
                        <a:pt x="3" y="33"/>
                      </a:cubicBezTo>
                      <a:lnTo>
                        <a:pt x="16" y="33"/>
                      </a:lnTo>
                      <a:close/>
                      <a:moveTo>
                        <a:pt x="4" y="39"/>
                      </a:moveTo>
                      <a:cubicBezTo>
                        <a:pt x="7" y="42"/>
                        <a:pt x="12" y="44"/>
                        <a:pt x="18" y="46"/>
                      </a:cubicBezTo>
                      <a:cubicBezTo>
                        <a:pt x="19" y="52"/>
                        <a:pt x="22" y="57"/>
                        <a:pt x="25" y="60"/>
                      </a:cubicBezTo>
                      <a:cubicBezTo>
                        <a:pt x="15" y="57"/>
                        <a:pt x="7" y="49"/>
                        <a:pt x="4" y="3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49" name="任意多边形: 形状 148">
                  <a:extLst>
                    <a:ext uri="{FF2B5EF4-FFF2-40B4-BE49-F238E27FC236}">
                      <a16:creationId xmlns:a16="http://schemas.microsoft.com/office/drawing/2014/main" id="{4E2103C2-2DD4-427B-BA0C-140E9F153AB3}"/>
                    </a:ext>
                  </a:extLst>
                </p:cNvPr>
                <p:cNvSpPr/>
                <p:nvPr/>
              </p:nvSpPr>
              <p:spPr bwMode="auto">
                <a:xfrm>
                  <a:off x="6343300" y="3783864"/>
                  <a:ext cx="295170" cy="198943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3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50" name="任意多边形: 形状 149">
                  <a:extLst>
                    <a:ext uri="{FF2B5EF4-FFF2-40B4-BE49-F238E27FC236}">
                      <a16:creationId xmlns:a16="http://schemas.microsoft.com/office/drawing/2014/main" id="{65AFDB21-FD85-4AA6-9E3A-437A0329AF85}"/>
                    </a:ext>
                  </a:extLst>
                </p:cNvPr>
                <p:cNvSpPr/>
                <p:nvPr/>
              </p:nvSpPr>
              <p:spPr bwMode="auto">
                <a:xfrm>
                  <a:off x="6791546" y="3126909"/>
                  <a:ext cx="281819" cy="269332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51" name="任意多边形: 形状 150">
                  <a:extLst>
                    <a:ext uri="{FF2B5EF4-FFF2-40B4-BE49-F238E27FC236}">
                      <a16:creationId xmlns:a16="http://schemas.microsoft.com/office/drawing/2014/main" id="{8E4CF405-DB0F-42A9-BF1F-0ADE20559931}"/>
                    </a:ext>
                  </a:extLst>
                </p:cNvPr>
                <p:cNvSpPr/>
                <p:nvPr/>
              </p:nvSpPr>
              <p:spPr bwMode="auto">
                <a:xfrm>
                  <a:off x="5791126" y="4470922"/>
                  <a:ext cx="328429" cy="313877"/>
                </a:xfrm>
                <a:custGeom>
                  <a:avLst/>
                  <a:gdLst>
                    <a:gd name="T0" fmla="*/ 44 w 67"/>
                    <a:gd name="T1" fmla="*/ 21 h 64"/>
                    <a:gd name="T2" fmla="*/ 25 w 67"/>
                    <a:gd name="T3" fmla="*/ 19 h 64"/>
                    <a:gd name="T4" fmla="*/ 24 w 67"/>
                    <a:gd name="T5" fmla="*/ 21 h 64"/>
                    <a:gd name="T6" fmla="*/ 16 w 67"/>
                    <a:gd name="T7" fmla="*/ 30 h 64"/>
                    <a:gd name="T8" fmla="*/ 26 w 67"/>
                    <a:gd name="T9" fmla="*/ 36 h 64"/>
                    <a:gd name="T10" fmla="*/ 32 w 67"/>
                    <a:gd name="T11" fmla="*/ 42 h 64"/>
                    <a:gd name="T12" fmla="*/ 26 w 67"/>
                    <a:gd name="T13" fmla="*/ 48 h 64"/>
                    <a:gd name="T14" fmla="*/ 42 w 67"/>
                    <a:gd name="T15" fmla="*/ 48 h 64"/>
                    <a:gd name="T16" fmla="*/ 36 w 67"/>
                    <a:gd name="T17" fmla="*/ 42 h 64"/>
                    <a:gd name="T18" fmla="*/ 42 w 67"/>
                    <a:gd name="T19" fmla="*/ 36 h 64"/>
                    <a:gd name="T20" fmla="*/ 51 w 67"/>
                    <a:gd name="T21" fmla="*/ 30 h 64"/>
                    <a:gd name="T22" fmla="*/ 19 w 67"/>
                    <a:gd name="T23" fmla="*/ 30 h 64"/>
                    <a:gd name="T24" fmla="*/ 24 w 67"/>
                    <a:gd name="T25" fmla="*/ 31 h 64"/>
                    <a:gd name="T26" fmla="*/ 48 w 67"/>
                    <a:gd name="T27" fmla="*/ 30 h 64"/>
                    <a:gd name="T28" fmla="*/ 44 w 67"/>
                    <a:gd name="T29" fmla="*/ 31 h 64"/>
                    <a:gd name="T30" fmla="*/ 48 w 67"/>
                    <a:gd name="T31" fmla="*/ 30 h 64"/>
                    <a:gd name="T32" fmla="*/ 61 w 67"/>
                    <a:gd name="T33" fmla="*/ 20 h 64"/>
                    <a:gd name="T34" fmla="*/ 51 w 67"/>
                    <a:gd name="T35" fmla="*/ 9 h 64"/>
                    <a:gd name="T36" fmla="*/ 43 w 67"/>
                    <a:gd name="T37" fmla="*/ 0 h 64"/>
                    <a:gd name="T38" fmla="*/ 30 w 67"/>
                    <a:gd name="T39" fmla="*/ 2 h 64"/>
                    <a:gd name="T40" fmla="*/ 19 w 67"/>
                    <a:gd name="T41" fmla="*/ 6 h 64"/>
                    <a:gd name="T42" fmla="*/ 7 w 67"/>
                    <a:gd name="T43" fmla="*/ 13 h 64"/>
                    <a:gd name="T44" fmla="*/ 4 w 67"/>
                    <a:gd name="T45" fmla="*/ 26 h 64"/>
                    <a:gd name="T46" fmla="*/ 7 w 67"/>
                    <a:gd name="T47" fmla="*/ 41 h 64"/>
                    <a:gd name="T48" fmla="*/ 13 w 67"/>
                    <a:gd name="T49" fmla="*/ 55 h 64"/>
                    <a:gd name="T50" fmla="*/ 24 w 67"/>
                    <a:gd name="T51" fmla="*/ 64 h 64"/>
                    <a:gd name="T52" fmla="*/ 34 w 67"/>
                    <a:gd name="T53" fmla="*/ 61 h 64"/>
                    <a:gd name="T54" fmla="*/ 44 w 67"/>
                    <a:gd name="T55" fmla="*/ 64 h 64"/>
                    <a:gd name="T56" fmla="*/ 54 w 67"/>
                    <a:gd name="T57" fmla="*/ 55 h 64"/>
                    <a:gd name="T58" fmla="*/ 61 w 67"/>
                    <a:gd name="T59" fmla="*/ 41 h 64"/>
                    <a:gd name="T60" fmla="*/ 63 w 67"/>
                    <a:gd name="T61" fmla="*/ 26 h 64"/>
                    <a:gd name="T62" fmla="*/ 58 w 67"/>
                    <a:gd name="T63" fmla="*/ 19 h 64"/>
                    <a:gd name="T64" fmla="*/ 54 w 67"/>
                    <a:gd name="T65" fmla="*/ 13 h 64"/>
                    <a:gd name="T66" fmla="*/ 46 w 67"/>
                    <a:gd name="T67" fmla="*/ 7 h 64"/>
                    <a:gd name="T68" fmla="*/ 39 w 67"/>
                    <a:gd name="T69" fmla="*/ 5 h 64"/>
                    <a:gd name="T70" fmla="*/ 29 w 67"/>
                    <a:gd name="T71" fmla="*/ 5 h 64"/>
                    <a:gd name="T72" fmla="*/ 22 w 67"/>
                    <a:gd name="T73" fmla="*/ 7 h 64"/>
                    <a:gd name="T74" fmla="*/ 18 w 67"/>
                    <a:gd name="T75" fmla="*/ 12 h 64"/>
                    <a:gd name="T76" fmla="*/ 9 w 67"/>
                    <a:gd name="T77" fmla="*/ 14 h 64"/>
                    <a:gd name="T78" fmla="*/ 6 w 67"/>
                    <a:gd name="T79" fmla="*/ 28 h 64"/>
                    <a:gd name="T80" fmla="*/ 9 w 67"/>
                    <a:gd name="T81" fmla="*/ 40 h 64"/>
                    <a:gd name="T82" fmla="*/ 9 w 67"/>
                    <a:gd name="T83" fmla="*/ 50 h 64"/>
                    <a:gd name="T84" fmla="*/ 18 w 67"/>
                    <a:gd name="T85" fmla="*/ 53 h 64"/>
                    <a:gd name="T86" fmla="*/ 24 w 67"/>
                    <a:gd name="T87" fmla="*/ 61 h 64"/>
                    <a:gd name="T88" fmla="*/ 33 w 67"/>
                    <a:gd name="T89" fmla="*/ 58 h 64"/>
                    <a:gd name="T90" fmla="*/ 43 w 67"/>
                    <a:gd name="T91" fmla="*/ 61 h 64"/>
                    <a:gd name="T92" fmla="*/ 48 w 67"/>
                    <a:gd name="T93" fmla="*/ 53 h 64"/>
                    <a:gd name="T94" fmla="*/ 10 w 67"/>
                    <a:gd name="T95" fmla="*/ 32 h 64"/>
                    <a:gd name="T96" fmla="*/ 34 w 67"/>
                    <a:gd name="T97" fmla="*/ 56 h 64"/>
                    <a:gd name="T98" fmla="*/ 49 w 67"/>
                    <a:gd name="T99" fmla="*/ 53 h 64"/>
                    <a:gd name="T100" fmla="*/ 58 w 67"/>
                    <a:gd name="T101" fmla="*/ 50 h 64"/>
                    <a:gd name="T102" fmla="*/ 60 w 67"/>
                    <a:gd name="T103" fmla="*/ 32 h 64"/>
                    <a:gd name="T104" fmla="*/ 64 w 67"/>
                    <a:gd name="T105" fmla="*/ 32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67" h="64">
                      <a:moveTo>
                        <a:pt x="51" y="23"/>
                      </a:moveTo>
                      <a:cubicBezTo>
                        <a:pt x="51" y="22"/>
                        <a:pt x="51" y="21"/>
                        <a:pt x="50" y="21"/>
                      </a:cubicBezTo>
                      <a:cubicBezTo>
                        <a:pt x="44" y="21"/>
                        <a:pt x="44" y="21"/>
                        <a:pt x="44" y="21"/>
                      </a:cubicBezTo>
                      <a:cubicBezTo>
                        <a:pt x="44" y="20"/>
                        <a:pt x="44" y="20"/>
                        <a:pt x="44" y="20"/>
                      </a:cubicBezTo>
                      <a:cubicBezTo>
                        <a:pt x="44" y="20"/>
                        <a:pt x="44" y="19"/>
                        <a:pt x="43" y="19"/>
                      </a:cubicBezTo>
                      <a:cubicBezTo>
                        <a:pt x="25" y="19"/>
                        <a:pt x="25" y="19"/>
                        <a:pt x="25" y="19"/>
                      </a:cubicBezTo>
                      <a:cubicBezTo>
                        <a:pt x="24" y="19"/>
                        <a:pt x="24" y="19"/>
                        <a:pt x="24" y="19"/>
                      </a:cubicBezTo>
                      <a:cubicBezTo>
                        <a:pt x="24" y="20"/>
                        <a:pt x="24" y="20"/>
                        <a:pt x="24" y="20"/>
                      </a:cubicBezTo>
                      <a:cubicBezTo>
                        <a:pt x="24" y="21"/>
                        <a:pt x="24" y="21"/>
                        <a:pt x="24" y="21"/>
                      </a:cubicBezTo>
                      <a:cubicBezTo>
                        <a:pt x="18" y="21"/>
                        <a:pt x="18" y="21"/>
                        <a:pt x="18" y="21"/>
                      </a:cubicBezTo>
                      <a:cubicBezTo>
                        <a:pt x="17" y="21"/>
                        <a:pt x="16" y="22"/>
                        <a:pt x="16" y="23"/>
                      </a:cubicBezTo>
                      <a:cubicBezTo>
                        <a:pt x="16" y="30"/>
                        <a:pt x="16" y="30"/>
                        <a:pt x="16" y="30"/>
                      </a:cubicBezTo>
                      <a:cubicBezTo>
                        <a:pt x="16" y="33"/>
                        <a:pt x="20" y="35"/>
                        <a:pt x="22" y="37"/>
                      </a:cubicBezTo>
                      <a:cubicBezTo>
                        <a:pt x="23" y="37"/>
                        <a:pt x="23" y="37"/>
                        <a:pt x="23" y="37"/>
                      </a:cubicBezTo>
                      <a:cubicBezTo>
                        <a:pt x="24" y="37"/>
                        <a:pt x="25" y="37"/>
                        <a:pt x="26" y="36"/>
                      </a:cubicBezTo>
                      <a:cubicBezTo>
                        <a:pt x="27" y="37"/>
                        <a:pt x="28" y="38"/>
                        <a:pt x="30" y="39"/>
                      </a:cubicBezTo>
                      <a:cubicBezTo>
                        <a:pt x="30" y="39"/>
                        <a:pt x="31" y="39"/>
                        <a:pt x="31" y="40"/>
                      </a:cubicBezTo>
                      <a:cubicBezTo>
                        <a:pt x="31" y="40"/>
                        <a:pt x="32" y="41"/>
                        <a:pt x="32" y="42"/>
                      </a:cubicBezTo>
                      <a:cubicBezTo>
                        <a:pt x="32" y="45"/>
                        <a:pt x="30" y="46"/>
                        <a:pt x="30" y="46"/>
                      </a:cubicBezTo>
                      <a:cubicBezTo>
                        <a:pt x="30" y="46"/>
                        <a:pt x="28" y="47"/>
                        <a:pt x="26" y="47"/>
                      </a:cubicBezTo>
                      <a:cubicBezTo>
                        <a:pt x="26" y="47"/>
                        <a:pt x="26" y="48"/>
                        <a:pt x="26" y="48"/>
                      </a:cubicBezTo>
                      <a:cubicBezTo>
                        <a:pt x="26" y="49"/>
                        <a:pt x="26" y="49"/>
                        <a:pt x="27" y="49"/>
                      </a:cubicBezTo>
                      <a:cubicBezTo>
                        <a:pt x="41" y="49"/>
                        <a:pt x="41" y="49"/>
                        <a:pt x="41" y="49"/>
                      </a:cubicBezTo>
                      <a:cubicBezTo>
                        <a:pt x="42" y="49"/>
                        <a:pt x="42" y="49"/>
                        <a:pt x="42" y="48"/>
                      </a:cubicBezTo>
                      <a:cubicBezTo>
                        <a:pt x="42" y="48"/>
                        <a:pt x="42" y="47"/>
                        <a:pt x="42" y="47"/>
                      </a:cubicBezTo>
                      <a:cubicBezTo>
                        <a:pt x="40" y="47"/>
                        <a:pt x="38" y="46"/>
                        <a:pt x="38" y="46"/>
                      </a:cubicBezTo>
                      <a:cubicBezTo>
                        <a:pt x="37" y="46"/>
                        <a:pt x="36" y="45"/>
                        <a:pt x="36" y="42"/>
                      </a:cubicBezTo>
                      <a:cubicBezTo>
                        <a:pt x="36" y="41"/>
                        <a:pt x="37" y="40"/>
                        <a:pt x="37" y="39"/>
                      </a:cubicBezTo>
                      <a:cubicBezTo>
                        <a:pt x="37" y="39"/>
                        <a:pt x="38" y="39"/>
                        <a:pt x="38" y="39"/>
                      </a:cubicBezTo>
                      <a:cubicBezTo>
                        <a:pt x="40" y="38"/>
                        <a:pt x="41" y="37"/>
                        <a:pt x="42" y="36"/>
                      </a:cubicBezTo>
                      <a:cubicBezTo>
                        <a:pt x="43" y="37"/>
                        <a:pt x="44" y="37"/>
                        <a:pt x="44" y="37"/>
                      </a:cubicBezTo>
                      <a:cubicBezTo>
                        <a:pt x="45" y="37"/>
                        <a:pt x="45" y="37"/>
                        <a:pt x="46" y="37"/>
                      </a:cubicBezTo>
                      <a:cubicBezTo>
                        <a:pt x="48" y="35"/>
                        <a:pt x="51" y="33"/>
                        <a:pt x="51" y="30"/>
                      </a:cubicBezTo>
                      <a:lnTo>
                        <a:pt x="51" y="23"/>
                      </a:lnTo>
                      <a:close/>
                      <a:moveTo>
                        <a:pt x="23" y="34"/>
                      </a:moveTo>
                      <a:cubicBezTo>
                        <a:pt x="19" y="31"/>
                        <a:pt x="19" y="30"/>
                        <a:pt x="19" y="30"/>
                      </a:cubicBezTo>
                      <a:cubicBezTo>
                        <a:pt x="19" y="24"/>
                        <a:pt x="19" y="24"/>
                        <a:pt x="19" y="24"/>
                      </a:cubicBezTo>
                      <a:cubicBezTo>
                        <a:pt x="24" y="24"/>
                        <a:pt x="24" y="24"/>
                        <a:pt x="24" y="24"/>
                      </a:cubicBezTo>
                      <a:cubicBezTo>
                        <a:pt x="24" y="31"/>
                        <a:pt x="24" y="31"/>
                        <a:pt x="24" y="31"/>
                      </a:cubicBezTo>
                      <a:cubicBezTo>
                        <a:pt x="24" y="32"/>
                        <a:pt x="24" y="33"/>
                        <a:pt x="24" y="33"/>
                      </a:cubicBezTo>
                      <a:cubicBezTo>
                        <a:pt x="24" y="34"/>
                        <a:pt x="24" y="34"/>
                        <a:pt x="23" y="34"/>
                      </a:cubicBezTo>
                      <a:close/>
                      <a:moveTo>
                        <a:pt x="48" y="30"/>
                      </a:moveTo>
                      <a:cubicBezTo>
                        <a:pt x="48" y="30"/>
                        <a:pt x="48" y="31"/>
                        <a:pt x="44" y="34"/>
                      </a:cubicBezTo>
                      <a:cubicBezTo>
                        <a:pt x="44" y="34"/>
                        <a:pt x="44" y="34"/>
                        <a:pt x="44" y="33"/>
                      </a:cubicBezTo>
                      <a:cubicBezTo>
                        <a:pt x="44" y="33"/>
                        <a:pt x="44" y="32"/>
                        <a:pt x="44" y="31"/>
                      </a:cubicBezTo>
                      <a:cubicBezTo>
                        <a:pt x="44" y="24"/>
                        <a:pt x="44" y="24"/>
                        <a:pt x="44" y="24"/>
                      </a:cubicBezTo>
                      <a:cubicBezTo>
                        <a:pt x="48" y="24"/>
                        <a:pt x="48" y="24"/>
                        <a:pt x="48" y="24"/>
                      </a:cubicBezTo>
                      <a:lnTo>
                        <a:pt x="48" y="30"/>
                      </a:lnTo>
                      <a:close/>
                      <a:moveTo>
                        <a:pt x="63" y="26"/>
                      </a:moveTo>
                      <a:cubicBezTo>
                        <a:pt x="62" y="25"/>
                        <a:pt x="61" y="24"/>
                        <a:pt x="61" y="24"/>
                      </a:cubicBezTo>
                      <a:cubicBezTo>
                        <a:pt x="61" y="23"/>
                        <a:pt x="61" y="21"/>
                        <a:pt x="61" y="20"/>
                      </a:cubicBezTo>
                      <a:cubicBezTo>
                        <a:pt x="62" y="17"/>
                        <a:pt x="62" y="15"/>
                        <a:pt x="61" y="13"/>
                      </a:cubicBezTo>
                      <a:cubicBezTo>
                        <a:pt x="59" y="11"/>
                        <a:pt x="57" y="10"/>
                        <a:pt x="54" y="10"/>
                      </a:cubicBezTo>
                      <a:cubicBezTo>
                        <a:pt x="53" y="10"/>
                        <a:pt x="51" y="10"/>
                        <a:pt x="51" y="9"/>
                      </a:cubicBezTo>
                      <a:cubicBezTo>
                        <a:pt x="50" y="9"/>
                        <a:pt x="49" y="7"/>
                        <a:pt x="49" y="6"/>
                      </a:cubicBezTo>
                      <a:cubicBezTo>
                        <a:pt x="48" y="4"/>
                        <a:pt x="47" y="1"/>
                        <a:pt x="44" y="1"/>
                      </a:cubicBezTo>
                      <a:cubicBezTo>
                        <a:pt x="44" y="0"/>
                        <a:pt x="43" y="0"/>
                        <a:pt x="43" y="0"/>
                      </a:cubicBezTo>
                      <a:cubicBezTo>
                        <a:pt x="41" y="0"/>
                        <a:pt x="39" y="1"/>
                        <a:pt x="37" y="2"/>
                      </a:cubicBezTo>
                      <a:cubicBezTo>
                        <a:pt x="36" y="3"/>
                        <a:pt x="35" y="4"/>
                        <a:pt x="34" y="4"/>
                      </a:cubicBezTo>
                      <a:cubicBezTo>
                        <a:pt x="33" y="4"/>
                        <a:pt x="32" y="3"/>
                        <a:pt x="30" y="2"/>
                      </a:cubicBezTo>
                      <a:cubicBezTo>
                        <a:pt x="29" y="1"/>
                        <a:pt x="27" y="0"/>
                        <a:pt x="25" y="0"/>
                      </a:cubicBezTo>
                      <a:cubicBezTo>
                        <a:pt x="25" y="0"/>
                        <a:pt x="24" y="0"/>
                        <a:pt x="24" y="1"/>
                      </a:cubicBezTo>
                      <a:cubicBezTo>
                        <a:pt x="21" y="1"/>
                        <a:pt x="20" y="4"/>
                        <a:pt x="19" y="6"/>
                      </a:cubicBezTo>
                      <a:cubicBezTo>
                        <a:pt x="18" y="7"/>
                        <a:pt x="18" y="9"/>
                        <a:pt x="17" y="9"/>
                      </a:cubicBezTo>
                      <a:cubicBezTo>
                        <a:pt x="16" y="10"/>
                        <a:pt x="15" y="10"/>
                        <a:pt x="13" y="10"/>
                      </a:cubicBezTo>
                      <a:cubicBezTo>
                        <a:pt x="11" y="10"/>
                        <a:pt x="8" y="11"/>
                        <a:pt x="7" y="13"/>
                      </a:cubicBezTo>
                      <a:cubicBezTo>
                        <a:pt x="5" y="15"/>
                        <a:pt x="6" y="17"/>
                        <a:pt x="6" y="20"/>
                      </a:cubicBezTo>
                      <a:cubicBezTo>
                        <a:pt x="7" y="21"/>
                        <a:pt x="7" y="23"/>
                        <a:pt x="7" y="24"/>
                      </a:cubicBezTo>
                      <a:cubicBezTo>
                        <a:pt x="7" y="24"/>
                        <a:pt x="5" y="25"/>
                        <a:pt x="4" y="26"/>
                      </a:cubicBezTo>
                      <a:cubicBezTo>
                        <a:pt x="3" y="28"/>
                        <a:pt x="0" y="30"/>
                        <a:pt x="0" y="32"/>
                      </a:cubicBezTo>
                      <a:cubicBezTo>
                        <a:pt x="0" y="35"/>
                        <a:pt x="3" y="37"/>
                        <a:pt x="4" y="38"/>
                      </a:cubicBezTo>
                      <a:cubicBezTo>
                        <a:pt x="5" y="39"/>
                        <a:pt x="7" y="40"/>
                        <a:pt x="7" y="41"/>
                      </a:cubicBezTo>
                      <a:cubicBezTo>
                        <a:pt x="7" y="42"/>
                        <a:pt x="7" y="44"/>
                        <a:pt x="6" y="45"/>
                      </a:cubicBezTo>
                      <a:cubicBezTo>
                        <a:pt x="6" y="47"/>
                        <a:pt x="5" y="50"/>
                        <a:pt x="7" y="52"/>
                      </a:cubicBezTo>
                      <a:cubicBezTo>
                        <a:pt x="8" y="54"/>
                        <a:pt x="11" y="54"/>
                        <a:pt x="13" y="55"/>
                      </a:cubicBezTo>
                      <a:cubicBezTo>
                        <a:pt x="15" y="55"/>
                        <a:pt x="16" y="55"/>
                        <a:pt x="17" y="55"/>
                      </a:cubicBezTo>
                      <a:cubicBezTo>
                        <a:pt x="18" y="56"/>
                        <a:pt x="18" y="57"/>
                        <a:pt x="19" y="59"/>
                      </a:cubicBezTo>
                      <a:cubicBezTo>
                        <a:pt x="20" y="61"/>
                        <a:pt x="21" y="63"/>
                        <a:pt x="24" y="64"/>
                      </a:cubicBezTo>
                      <a:cubicBezTo>
                        <a:pt x="24" y="64"/>
                        <a:pt x="25" y="64"/>
                        <a:pt x="25" y="64"/>
                      </a:cubicBezTo>
                      <a:cubicBezTo>
                        <a:pt x="27" y="64"/>
                        <a:pt x="29" y="63"/>
                        <a:pt x="30" y="62"/>
                      </a:cubicBezTo>
                      <a:cubicBezTo>
                        <a:pt x="32" y="62"/>
                        <a:pt x="33" y="61"/>
                        <a:pt x="34" y="61"/>
                      </a:cubicBezTo>
                      <a:cubicBezTo>
                        <a:pt x="35" y="61"/>
                        <a:pt x="36" y="62"/>
                        <a:pt x="37" y="62"/>
                      </a:cubicBezTo>
                      <a:cubicBezTo>
                        <a:pt x="39" y="63"/>
                        <a:pt x="41" y="64"/>
                        <a:pt x="43" y="64"/>
                      </a:cubicBezTo>
                      <a:cubicBezTo>
                        <a:pt x="43" y="64"/>
                        <a:pt x="44" y="64"/>
                        <a:pt x="44" y="64"/>
                      </a:cubicBezTo>
                      <a:cubicBezTo>
                        <a:pt x="47" y="63"/>
                        <a:pt x="48" y="61"/>
                        <a:pt x="49" y="59"/>
                      </a:cubicBezTo>
                      <a:cubicBezTo>
                        <a:pt x="49" y="57"/>
                        <a:pt x="50" y="56"/>
                        <a:pt x="51" y="55"/>
                      </a:cubicBezTo>
                      <a:cubicBezTo>
                        <a:pt x="51" y="55"/>
                        <a:pt x="53" y="55"/>
                        <a:pt x="54" y="55"/>
                      </a:cubicBezTo>
                      <a:cubicBezTo>
                        <a:pt x="57" y="54"/>
                        <a:pt x="59" y="54"/>
                        <a:pt x="61" y="52"/>
                      </a:cubicBezTo>
                      <a:cubicBezTo>
                        <a:pt x="62" y="50"/>
                        <a:pt x="62" y="47"/>
                        <a:pt x="61" y="45"/>
                      </a:cubicBezTo>
                      <a:cubicBezTo>
                        <a:pt x="61" y="44"/>
                        <a:pt x="61" y="42"/>
                        <a:pt x="61" y="41"/>
                      </a:cubicBezTo>
                      <a:cubicBezTo>
                        <a:pt x="61" y="40"/>
                        <a:pt x="62" y="39"/>
                        <a:pt x="63" y="38"/>
                      </a:cubicBezTo>
                      <a:cubicBezTo>
                        <a:pt x="65" y="37"/>
                        <a:pt x="67" y="35"/>
                        <a:pt x="67" y="32"/>
                      </a:cubicBezTo>
                      <a:cubicBezTo>
                        <a:pt x="67" y="30"/>
                        <a:pt x="65" y="28"/>
                        <a:pt x="63" y="26"/>
                      </a:cubicBezTo>
                      <a:close/>
                      <a:moveTo>
                        <a:pt x="54" y="13"/>
                      </a:moveTo>
                      <a:cubicBezTo>
                        <a:pt x="56" y="13"/>
                        <a:pt x="58" y="13"/>
                        <a:pt x="58" y="14"/>
                      </a:cubicBezTo>
                      <a:cubicBezTo>
                        <a:pt x="59" y="15"/>
                        <a:pt x="59" y="17"/>
                        <a:pt x="58" y="19"/>
                      </a:cubicBezTo>
                      <a:cubicBezTo>
                        <a:pt x="58" y="21"/>
                        <a:pt x="58" y="22"/>
                        <a:pt x="58" y="24"/>
                      </a:cubicBezTo>
                      <a:cubicBezTo>
                        <a:pt x="56" y="19"/>
                        <a:pt x="53" y="15"/>
                        <a:pt x="49" y="12"/>
                      </a:cubicBezTo>
                      <a:cubicBezTo>
                        <a:pt x="51" y="13"/>
                        <a:pt x="52" y="13"/>
                        <a:pt x="54" y="13"/>
                      </a:cubicBezTo>
                      <a:close/>
                      <a:moveTo>
                        <a:pt x="39" y="5"/>
                      </a:moveTo>
                      <a:cubicBezTo>
                        <a:pt x="41" y="4"/>
                        <a:pt x="42" y="3"/>
                        <a:pt x="43" y="3"/>
                      </a:cubicBezTo>
                      <a:cubicBezTo>
                        <a:pt x="44" y="4"/>
                        <a:pt x="45" y="6"/>
                        <a:pt x="46" y="7"/>
                      </a:cubicBezTo>
                      <a:cubicBezTo>
                        <a:pt x="47" y="9"/>
                        <a:pt x="47" y="10"/>
                        <a:pt x="48" y="11"/>
                      </a:cubicBezTo>
                      <a:cubicBezTo>
                        <a:pt x="44" y="8"/>
                        <a:pt x="40" y="7"/>
                        <a:pt x="35" y="7"/>
                      </a:cubicBezTo>
                      <a:cubicBezTo>
                        <a:pt x="36" y="6"/>
                        <a:pt x="38" y="6"/>
                        <a:pt x="39" y="5"/>
                      </a:cubicBezTo>
                      <a:close/>
                      <a:moveTo>
                        <a:pt x="22" y="7"/>
                      </a:moveTo>
                      <a:cubicBezTo>
                        <a:pt x="22" y="6"/>
                        <a:pt x="23" y="4"/>
                        <a:pt x="24" y="3"/>
                      </a:cubicBezTo>
                      <a:cubicBezTo>
                        <a:pt x="26" y="3"/>
                        <a:pt x="27" y="4"/>
                        <a:pt x="29" y="5"/>
                      </a:cubicBezTo>
                      <a:cubicBezTo>
                        <a:pt x="30" y="6"/>
                        <a:pt x="32" y="6"/>
                        <a:pt x="33" y="7"/>
                      </a:cubicBezTo>
                      <a:cubicBezTo>
                        <a:pt x="28" y="7"/>
                        <a:pt x="23" y="8"/>
                        <a:pt x="19" y="11"/>
                      </a:cubicBezTo>
                      <a:cubicBezTo>
                        <a:pt x="20" y="10"/>
                        <a:pt x="21" y="9"/>
                        <a:pt x="22" y="7"/>
                      </a:cubicBezTo>
                      <a:close/>
                      <a:moveTo>
                        <a:pt x="9" y="14"/>
                      </a:moveTo>
                      <a:cubicBezTo>
                        <a:pt x="10" y="13"/>
                        <a:pt x="12" y="13"/>
                        <a:pt x="14" y="13"/>
                      </a:cubicBezTo>
                      <a:cubicBezTo>
                        <a:pt x="15" y="13"/>
                        <a:pt x="17" y="13"/>
                        <a:pt x="18" y="12"/>
                      </a:cubicBezTo>
                      <a:cubicBezTo>
                        <a:pt x="14" y="15"/>
                        <a:pt x="11" y="19"/>
                        <a:pt x="10" y="24"/>
                      </a:cubicBezTo>
                      <a:cubicBezTo>
                        <a:pt x="10" y="22"/>
                        <a:pt x="10" y="21"/>
                        <a:pt x="9" y="19"/>
                      </a:cubicBezTo>
                      <a:cubicBezTo>
                        <a:pt x="9" y="17"/>
                        <a:pt x="9" y="15"/>
                        <a:pt x="9" y="14"/>
                      </a:cubicBezTo>
                      <a:close/>
                      <a:moveTo>
                        <a:pt x="6" y="36"/>
                      </a:moveTo>
                      <a:cubicBezTo>
                        <a:pt x="5" y="35"/>
                        <a:pt x="3" y="34"/>
                        <a:pt x="3" y="32"/>
                      </a:cubicBezTo>
                      <a:cubicBezTo>
                        <a:pt x="3" y="31"/>
                        <a:pt x="5" y="30"/>
                        <a:pt x="6" y="28"/>
                      </a:cubicBezTo>
                      <a:cubicBezTo>
                        <a:pt x="8" y="27"/>
                        <a:pt x="9" y="26"/>
                        <a:pt x="9" y="25"/>
                      </a:cubicBezTo>
                      <a:cubicBezTo>
                        <a:pt x="9" y="27"/>
                        <a:pt x="8" y="30"/>
                        <a:pt x="8" y="32"/>
                      </a:cubicBezTo>
                      <a:cubicBezTo>
                        <a:pt x="8" y="35"/>
                        <a:pt x="9" y="37"/>
                        <a:pt x="9" y="40"/>
                      </a:cubicBezTo>
                      <a:cubicBezTo>
                        <a:pt x="9" y="38"/>
                        <a:pt x="8" y="37"/>
                        <a:pt x="6" y="36"/>
                      </a:cubicBezTo>
                      <a:close/>
                      <a:moveTo>
                        <a:pt x="14" y="52"/>
                      </a:moveTo>
                      <a:cubicBezTo>
                        <a:pt x="12" y="51"/>
                        <a:pt x="10" y="51"/>
                        <a:pt x="9" y="50"/>
                      </a:cubicBezTo>
                      <a:cubicBezTo>
                        <a:pt x="9" y="49"/>
                        <a:pt x="9" y="47"/>
                        <a:pt x="9" y="46"/>
                      </a:cubicBezTo>
                      <a:cubicBezTo>
                        <a:pt x="10" y="44"/>
                        <a:pt x="10" y="42"/>
                        <a:pt x="10" y="41"/>
                      </a:cubicBezTo>
                      <a:cubicBezTo>
                        <a:pt x="11" y="46"/>
                        <a:pt x="14" y="50"/>
                        <a:pt x="18" y="53"/>
                      </a:cubicBezTo>
                      <a:cubicBezTo>
                        <a:pt x="17" y="52"/>
                        <a:pt x="15" y="52"/>
                        <a:pt x="14" y="52"/>
                      </a:cubicBezTo>
                      <a:close/>
                      <a:moveTo>
                        <a:pt x="29" y="60"/>
                      </a:moveTo>
                      <a:cubicBezTo>
                        <a:pt x="27" y="61"/>
                        <a:pt x="26" y="62"/>
                        <a:pt x="24" y="61"/>
                      </a:cubicBezTo>
                      <a:cubicBezTo>
                        <a:pt x="23" y="61"/>
                        <a:pt x="22" y="59"/>
                        <a:pt x="22" y="57"/>
                      </a:cubicBezTo>
                      <a:cubicBezTo>
                        <a:pt x="21" y="56"/>
                        <a:pt x="20" y="54"/>
                        <a:pt x="19" y="53"/>
                      </a:cubicBezTo>
                      <a:cubicBezTo>
                        <a:pt x="23" y="56"/>
                        <a:pt x="28" y="58"/>
                        <a:pt x="33" y="58"/>
                      </a:cubicBezTo>
                      <a:cubicBezTo>
                        <a:pt x="32" y="58"/>
                        <a:pt x="30" y="59"/>
                        <a:pt x="29" y="60"/>
                      </a:cubicBezTo>
                      <a:close/>
                      <a:moveTo>
                        <a:pt x="46" y="57"/>
                      </a:moveTo>
                      <a:cubicBezTo>
                        <a:pt x="45" y="59"/>
                        <a:pt x="44" y="61"/>
                        <a:pt x="43" y="61"/>
                      </a:cubicBezTo>
                      <a:cubicBezTo>
                        <a:pt x="42" y="62"/>
                        <a:pt x="41" y="61"/>
                        <a:pt x="39" y="60"/>
                      </a:cubicBezTo>
                      <a:cubicBezTo>
                        <a:pt x="37" y="59"/>
                        <a:pt x="36" y="58"/>
                        <a:pt x="35" y="58"/>
                      </a:cubicBezTo>
                      <a:cubicBezTo>
                        <a:pt x="40" y="58"/>
                        <a:pt x="44" y="56"/>
                        <a:pt x="48" y="53"/>
                      </a:cubicBezTo>
                      <a:cubicBezTo>
                        <a:pt x="47" y="54"/>
                        <a:pt x="47" y="56"/>
                        <a:pt x="46" y="57"/>
                      </a:cubicBezTo>
                      <a:close/>
                      <a:moveTo>
                        <a:pt x="34" y="56"/>
                      </a:moveTo>
                      <a:cubicBezTo>
                        <a:pt x="21" y="56"/>
                        <a:pt x="10" y="45"/>
                        <a:pt x="10" y="32"/>
                      </a:cubicBezTo>
                      <a:cubicBezTo>
                        <a:pt x="10" y="19"/>
                        <a:pt x="21" y="9"/>
                        <a:pt x="34" y="9"/>
                      </a:cubicBezTo>
                      <a:cubicBezTo>
                        <a:pt x="47" y="9"/>
                        <a:pt x="58" y="19"/>
                        <a:pt x="58" y="32"/>
                      </a:cubicBezTo>
                      <a:cubicBezTo>
                        <a:pt x="58" y="45"/>
                        <a:pt x="47" y="56"/>
                        <a:pt x="34" y="56"/>
                      </a:cubicBezTo>
                      <a:close/>
                      <a:moveTo>
                        <a:pt x="58" y="50"/>
                      </a:moveTo>
                      <a:cubicBezTo>
                        <a:pt x="58" y="51"/>
                        <a:pt x="56" y="51"/>
                        <a:pt x="54" y="52"/>
                      </a:cubicBezTo>
                      <a:cubicBezTo>
                        <a:pt x="52" y="52"/>
                        <a:pt x="51" y="52"/>
                        <a:pt x="49" y="53"/>
                      </a:cubicBezTo>
                      <a:cubicBezTo>
                        <a:pt x="53" y="50"/>
                        <a:pt x="56" y="46"/>
                        <a:pt x="58" y="41"/>
                      </a:cubicBezTo>
                      <a:cubicBezTo>
                        <a:pt x="58" y="42"/>
                        <a:pt x="58" y="44"/>
                        <a:pt x="58" y="46"/>
                      </a:cubicBezTo>
                      <a:cubicBezTo>
                        <a:pt x="59" y="47"/>
                        <a:pt x="59" y="49"/>
                        <a:pt x="58" y="50"/>
                      </a:cubicBezTo>
                      <a:close/>
                      <a:moveTo>
                        <a:pt x="61" y="36"/>
                      </a:moveTo>
                      <a:cubicBezTo>
                        <a:pt x="60" y="37"/>
                        <a:pt x="59" y="38"/>
                        <a:pt x="58" y="40"/>
                      </a:cubicBezTo>
                      <a:cubicBezTo>
                        <a:pt x="59" y="37"/>
                        <a:pt x="60" y="35"/>
                        <a:pt x="60" y="32"/>
                      </a:cubicBezTo>
                      <a:cubicBezTo>
                        <a:pt x="60" y="30"/>
                        <a:pt x="59" y="27"/>
                        <a:pt x="58" y="25"/>
                      </a:cubicBezTo>
                      <a:cubicBezTo>
                        <a:pt x="59" y="26"/>
                        <a:pt x="60" y="27"/>
                        <a:pt x="61" y="28"/>
                      </a:cubicBezTo>
                      <a:cubicBezTo>
                        <a:pt x="63" y="30"/>
                        <a:pt x="64" y="31"/>
                        <a:pt x="64" y="32"/>
                      </a:cubicBezTo>
                      <a:cubicBezTo>
                        <a:pt x="64" y="34"/>
                        <a:pt x="63" y="35"/>
                        <a:pt x="61" y="3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52" name="任意多边形: 形状 151">
                  <a:extLst>
                    <a:ext uri="{FF2B5EF4-FFF2-40B4-BE49-F238E27FC236}">
                      <a16:creationId xmlns:a16="http://schemas.microsoft.com/office/drawing/2014/main" id="{BA63638A-BBC7-4568-8720-FF23F798DC4A}"/>
                    </a:ext>
                  </a:extLst>
                </p:cNvPr>
                <p:cNvSpPr/>
                <p:nvPr/>
              </p:nvSpPr>
              <p:spPr bwMode="auto">
                <a:xfrm>
                  <a:off x="6429257" y="4613746"/>
                  <a:ext cx="282379" cy="289266"/>
                </a:xfrm>
                <a:custGeom>
                  <a:avLst/>
                  <a:gdLst>
                    <a:gd name="T0" fmla="*/ 8 w 52"/>
                    <a:gd name="T1" fmla="*/ 19 h 53"/>
                    <a:gd name="T2" fmla="*/ 8 w 52"/>
                    <a:gd name="T3" fmla="*/ 19 h 53"/>
                    <a:gd name="T4" fmla="*/ 8 w 52"/>
                    <a:gd name="T5" fmla="*/ 18 h 53"/>
                    <a:gd name="T6" fmla="*/ 8 w 52"/>
                    <a:gd name="T7" fmla="*/ 17 h 53"/>
                    <a:gd name="T8" fmla="*/ 8 w 52"/>
                    <a:gd name="T9" fmla="*/ 17 h 53"/>
                    <a:gd name="T10" fmla="*/ 15 w 52"/>
                    <a:gd name="T11" fmla="*/ 10 h 53"/>
                    <a:gd name="T12" fmla="*/ 17 w 52"/>
                    <a:gd name="T13" fmla="*/ 10 h 53"/>
                    <a:gd name="T14" fmla="*/ 17 w 52"/>
                    <a:gd name="T15" fmla="*/ 12 h 53"/>
                    <a:gd name="T16" fmla="*/ 13 w 52"/>
                    <a:gd name="T17" fmla="*/ 17 h 53"/>
                    <a:gd name="T18" fmla="*/ 39 w 52"/>
                    <a:gd name="T19" fmla="*/ 17 h 53"/>
                    <a:gd name="T20" fmla="*/ 40 w 52"/>
                    <a:gd name="T21" fmla="*/ 18 h 53"/>
                    <a:gd name="T22" fmla="*/ 39 w 52"/>
                    <a:gd name="T23" fmla="*/ 20 h 53"/>
                    <a:gd name="T24" fmla="*/ 13 w 52"/>
                    <a:gd name="T25" fmla="*/ 20 h 53"/>
                    <a:gd name="T26" fmla="*/ 17 w 52"/>
                    <a:gd name="T27" fmla="*/ 24 h 53"/>
                    <a:gd name="T28" fmla="*/ 17 w 52"/>
                    <a:gd name="T29" fmla="*/ 26 h 53"/>
                    <a:gd name="T30" fmla="*/ 16 w 52"/>
                    <a:gd name="T31" fmla="*/ 26 h 53"/>
                    <a:gd name="T32" fmla="*/ 15 w 52"/>
                    <a:gd name="T33" fmla="*/ 26 h 53"/>
                    <a:gd name="T34" fmla="*/ 8 w 52"/>
                    <a:gd name="T35" fmla="*/ 19 h 53"/>
                    <a:gd name="T36" fmla="*/ 43 w 52"/>
                    <a:gd name="T37" fmla="*/ 34 h 53"/>
                    <a:gd name="T38" fmla="*/ 43 w 52"/>
                    <a:gd name="T39" fmla="*/ 34 h 53"/>
                    <a:gd name="T40" fmla="*/ 36 w 52"/>
                    <a:gd name="T41" fmla="*/ 27 h 53"/>
                    <a:gd name="T42" fmla="*/ 34 w 52"/>
                    <a:gd name="T43" fmla="*/ 27 h 53"/>
                    <a:gd name="T44" fmla="*/ 34 w 52"/>
                    <a:gd name="T45" fmla="*/ 29 h 53"/>
                    <a:gd name="T46" fmla="*/ 39 w 52"/>
                    <a:gd name="T47" fmla="*/ 33 h 53"/>
                    <a:gd name="T48" fmla="*/ 13 w 52"/>
                    <a:gd name="T49" fmla="*/ 33 h 53"/>
                    <a:gd name="T50" fmla="*/ 11 w 52"/>
                    <a:gd name="T51" fmla="*/ 35 h 53"/>
                    <a:gd name="T52" fmla="*/ 13 w 52"/>
                    <a:gd name="T53" fmla="*/ 36 h 53"/>
                    <a:gd name="T54" fmla="*/ 39 w 52"/>
                    <a:gd name="T55" fmla="*/ 36 h 53"/>
                    <a:gd name="T56" fmla="*/ 34 w 52"/>
                    <a:gd name="T57" fmla="*/ 41 h 53"/>
                    <a:gd name="T58" fmla="*/ 34 w 52"/>
                    <a:gd name="T59" fmla="*/ 43 h 53"/>
                    <a:gd name="T60" fmla="*/ 35 w 52"/>
                    <a:gd name="T61" fmla="*/ 43 h 53"/>
                    <a:gd name="T62" fmla="*/ 36 w 52"/>
                    <a:gd name="T63" fmla="*/ 43 h 53"/>
                    <a:gd name="T64" fmla="*/ 43 w 52"/>
                    <a:gd name="T65" fmla="*/ 36 h 53"/>
                    <a:gd name="T66" fmla="*/ 43 w 52"/>
                    <a:gd name="T67" fmla="*/ 36 h 53"/>
                    <a:gd name="T68" fmla="*/ 44 w 52"/>
                    <a:gd name="T69" fmla="*/ 35 h 53"/>
                    <a:gd name="T70" fmla="*/ 43 w 52"/>
                    <a:gd name="T71" fmla="*/ 34 h 53"/>
                    <a:gd name="T72" fmla="*/ 52 w 52"/>
                    <a:gd name="T73" fmla="*/ 7 h 53"/>
                    <a:gd name="T74" fmla="*/ 52 w 52"/>
                    <a:gd name="T75" fmla="*/ 45 h 53"/>
                    <a:gd name="T76" fmla="*/ 45 w 52"/>
                    <a:gd name="T77" fmla="*/ 53 h 53"/>
                    <a:gd name="T78" fmla="*/ 7 w 52"/>
                    <a:gd name="T79" fmla="*/ 53 h 53"/>
                    <a:gd name="T80" fmla="*/ 0 w 52"/>
                    <a:gd name="T81" fmla="*/ 45 h 53"/>
                    <a:gd name="T82" fmla="*/ 0 w 52"/>
                    <a:gd name="T83" fmla="*/ 7 h 53"/>
                    <a:gd name="T84" fmla="*/ 7 w 52"/>
                    <a:gd name="T85" fmla="*/ 0 h 53"/>
                    <a:gd name="T86" fmla="*/ 45 w 52"/>
                    <a:gd name="T87" fmla="*/ 0 h 53"/>
                    <a:gd name="T88" fmla="*/ 52 w 52"/>
                    <a:gd name="T89" fmla="*/ 7 h 53"/>
                    <a:gd name="T90" fmla="*/ 49 w 52"/>
                    <a:gd name="T91" fmla="*/ 7 h 53"/>
                    <a:gd name="T92" fmla="*/ 45 w 52"/>
                    <a:gd name="T93" fmla="*/ 3 h 53"/>
                    <a:gd name="T94" fmla="*/ 7 w 52"/>
                    <a:gd name="T95" fmla="*/ 3 h 53"/>
                    <a:gd name="T96" fmla="*/ 3 w 52"/>
                    <a:gd name="T97" fmla="*/ 7 h 53"/>
                    <a:gd name="T98" fmla="*/ 3 w 52"/>
                    <a:gd name="T99" fmla="*/ 45 h 53"/>
                    <a:gd name="T100" fmla="*/ 7 w 52"/>
                    <a:gd name="T101" fmla="*/ 50 h 53"/>
                    <a:gd name="T102" fmla="*/ 45 w 52"/>
                    <a:gd name="T103" fmla="*/ 50 h 53"/>
                    <a:gd name="T104" fmla="*/ 49 w 52"/>
                    <a:gd name="T105" fmla="*/ 45 h 53"/>
                    <a:gd name="T106" fmla="*/ 49 w 52"/>
                    <a:gd name="T107" fmla="*/ 7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53">
                      <a:moveTo>
                        <a:pt x="8" y="19"/>
                      </a:moveTo>
                      <a:cubicBezTo>
                        <a:pt x="8" y="19"/>
                        <a:pt x="8" y="19"/>
                        <a:pt x="8" y="19"/>
                      </a:cubicBezTo>
                      <a:cubicBezTo>
                        <a:pt x="8" y="19"/>
                        <a:pt x="8" y="18"/>
                        <a:pt x="8" y="18"/>
                      </a:cubicBezTo>
                      <a:cubicBezTo>
                        <a:pt x="8" y="18"/>
                        <a:pt x="8" y="17"/>
                        <a:pt x="8" y="17"/>
                      </a:cubicBezTo>
                      <a:cubicBezTo>
                        <a:pt x="8" y="17"/>
                        <a:pt x="8" y="17"/>
                        <a:pt x="8" y="17"/>
                      </a:cubicBezTo>
                      <a:cubicBezTo>
                        <a:pt x="15" y="10"/>
                        <a:pt x="15" y="10"/>
                        <a:pt x="15" y="10"/>
                      </a:cubicBezTo>
                      <a:cubicBezTo>
                        <a:pt x="15" y="9"/>
                        <a:pt x="16" y="9"/>
                        <a:pt x="17" y="10"/>
                      </a:cubicBezTo>
                      <a:cubicBezTo>
                        <a:pt x="18" y="11"/>
                        <a:pt x="18" y="12"/>
                        <a:pt x="17" y="12"/>
                      </a:cubicBezTo>
                      <a:cubicBezTo>
                        <a:pt x="13" y="17"/>
                        <a:pt x="13" y="17"/>
                        <a:pt x="13" y="17"/>
                      </a:cubicBezTo>
                      <a:cubicBezTo>
                        <a:pt x="39" y="17"/>
                        <a:pt x="39" y="17"/>
                        <a:pt x="39" y="17"/>
                      </a:cubicBezTo>
                      <a:cubicBezTo>
                        <a:pt x="40" y="17"/>
                        <a:pt x="40" y="17"/>
                        <a:pt x="40" y="18"/>
                      </a:cubicBezTo>
                      <a:cubicBezTo>
                        <a:pt x="40" y="19"/>
                        <a:pt x="40" y="20"/>
                        <a:pt x="39" y="20"/>
                      </a:cubicBezTo>
                      <a:cubicBezTo>
                        <a:pt x="13" y="20"/>
                        <a:pt x="13" y="20"/>
                        <a:pt x="13" y="20"/>
                      </a:cubicBezTo>
                      <a:cubicBezTo>
                        <a:pt x="17" y="24"/>
                        <a:pt x="17" y="24"/>
                        <a:pt x="17" y="24"/>
                      </a:cubicBezTo>
                      <a:cubicBezTo>
                        <a:pt x="18" y="24"/>
                        <a:pt x="18" y="25"/>
                        <a:pt x="17" y="26"/>
                      </a:cubicBezTo>
                      <a:cubicBezTo>
                        <a:pt x="17" y="26"/>
                        <a:pt x="16" y="26"/>
                        <a:pt x="16" y="26"/>
                      </a:cubicBezTo>
                      <a:cubicBezTo>
                        <a:pt x="16" y="26"/>
                        <a:pt x="15" y="26"/>
                        <a:pt x="15" y="26"/>
                      </a:cubicBezTo>
                      <a:lnTo>
                        <a:pt x="8" y="19"/>
                      </a:lnTo>
                      <a:close/>
                      <a:moveTo>
                        <a:pt x="43" y="34"/>
                      </a:moveTo>
                      <a:cubicBezTo>
                        <a:pt x="43" y="34"/>
                        <a:pt x="43" y="34"/>
                        <a:pt x="43" y="34"/>
                      </a:cubicBezTo>
                      <a:cubicBezTo>
                        <a:pt x="36" y="27"/>
                        <a:pt x="36" y="27"/>
                        <a:pt x="36" y="27"/>
                      </a:cubicBezTo>
                      <a:cubicBezTo>
                        <a:pt x="36" y="26"/>
                        <a:pt x="35" y="26"/>
                        <a:pt x="34" y="27"/>
                      </a:cubicBezTo>
                      <a:cubicBezTo>
                        <a:pt x="34" y="28"/>
                        <a:pt x="34" y="29"/>
                        <a:pt x="34" y="29"/>
                      </a:cubicBezTo>
                      <a:cubicBezTo>
                        <a:pt x="39" y="33"/>
                        <a:pt x="39" y="33"/>
                        <a:pt x="39" y="33"/>
                      </a:cubicBezTo>
                      <a:cubicBezTo>
                        <a:pt x="13" y="33"/>
                        <a:pt x="13" y="33"/>
                        <a:pt x="13" y="33"/>
                      </a:cubicBezTo>
                      <a:cubicBezTo>
                        <a:pt x="12" y="33"/>
                        <a:pt x="11" y="34"/>
                        <a:pt x="11" y="35"/>
                      </a:cubicBezTo>
                      <a:cubicBezTo>
                        <a:pt x="11" y="36"/>
                        <a:pt x="12" y="36"/>
                        <a:pt x="13" y="36"/>
                      </a:cubicBezTo>
                      <a:cubicBezTo>
                        <a:pt x="39" y="36"/>
                        <a:pt x="39" y="36"/>
                        <a:pt x="39" y="36"/>
                      </a:cubicBezTo>
                      <a:cubicBezTo>
                        <a:pt x="34" y="41"/>
                        <a:pt x="34" y="41"/>
                        <a:pt x="34" y="41"/>
                      </a:cubicBezTo>
                      <a:cubicBezTo>
                        <a:pt x="34" y="41"/>
                        <a:pt x="34" y="42"/>
                        <a:pt x="34" y="43"/>
                      </a:cubicBezTo>
                      <a:cubicBezTo>
                        <a:pt x="35" y="43"/>
                        <a:pt x="35" y="43"/>
                        <a:pt x="35" y="43"/>
                      </a:cubicBezTo>
                      <a:cubicBezTo>
                        <a:pt x="36" y="43"/>
                        <a:pt x="36" y="43"/>
                        <a:pt x="36" y="43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3" y="36"/>
                        <a:pt x="43" y="36"/>
                        <a:pt x="43" y="36"/>
                      </a:cubicBezTo>
                      <a:cubicBezTo>
                        <a:pt x="44" y="36"/>
                        <a:pt x="44" y="35"/>
                        <a:pt x="44" y="35"/>
                      </a:cubicBezTo>
                      <a:cubicBezTo>
                        <a:pt x="44" y="35"/>
                        <a:pt x="44" y="34"/>
                        <a:pt x="43" y="34"/>
                      </a:cubicBezTo>
                      <a:close/>
                      <a:moveTo>
                        <a:pt x="52" y="7"/>
                      </a:moveTo>
                      <a:cubicBezTo>
                        <a:pt x="52" y="45"/>
                        <a:pt x="52" y="45"/>
                        <a:pt x="52" y="45"/>
                      </a:cubicBezTo>
                      <a:cubicBezTo>
                        <a:pt x="52" y="49"/>
                        <a:pt x="49" y="53"/>
                        <a:pt x="45" y="53"/>
                      </a:cubicBezTo>
                      <a:cubicBezTo>
                        <a:pt x="7" y="53"/>
                        <a:pt x="7" y="53"/>
                        <a:pt x="7" y="53"/>
                      </a:cubicBezTo>
                      <a:cubicBezTo>
                        <a:pt x="3" y="53"/>
                        <a:pt x="0" y="49"/>
                        <a:pt x="0" y="45"/>
                      </a:cubicBez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4"/>
                        <a:pt x="3" y="0"/>
                        <a:pt x="7" y="0"/>
                      </a:cubicBezTo>
                      <a:cubicBezTo>
                        <a:pt x="45" y="0"/>
                        <a:pt x="45" y="0"/>
                        <a:pt x="45" y="0"/>
                      </a:cubicBezTo>
                      <a:cubicBezTo>
                        <a:pt x="49" y="0"/>
                        <a:pt x="52" y="4"/>
                        <a:pt x="52" y="7"/>
                      </a:cubicBezTo>
                      <a:close/>
                      <a:moveTo>
                        <a:pt x="49" y="7"/>
                      </a:moveTo>
                      <a:cubicBezTo>
                        <a:pt x="49" y="5"/>
                        <a:pt x="47" y="3"/>
                        <a:pt x="45" y="3"/>
                      </a:cubicBez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3"/>
                        <a:pt x="3" y="5"/>
                        <a:pt x="3" y="7"/>
                      </a:cubicBezTo>
                      <a:cubicBezTo>
                        <a:pt x="3" y="45"/>
                        <a:pt x="3" y="45"/>
                        <a:pt x="3" y="45"/>
                      </a:cubicBezTo>
                      <a:cubicBezTo>
                        <a:pt x="3" y="48"/>
                        <a:pt x="4" y="50"/>
                        <a:pt x="7" y="50"/>
                      </a:cubicBezTo>
                      <a:cubicBezTo>
                        <a:pt x="45" y="50"/>
                        <a:pt x="45" y="50"/>
                        <a:pt x="45" y="50"/>
                      </a:cubicBezTo>
                      <a:cubicBezTo>
                        <a:pt x="47" y="50"/>
                        <a:pt x="49" y="48"/>
                        <a:pt x="49" y="45"/>
                      </a:cubicBezTo>
                      <a:lnTo>
                        <a:pt x="49" y="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7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53" name="任意多边形: 形状 152">
                  <a:extLst>
                    <a:ext uri="{FF2B5EF4-FFF2-40B4-BE49-F238E27FC236}">
                      <a16:creationId xmlns:a16="http://schemas.microsoft.com/office/drawing/2014/main" id="{12C8272D-41C9-44DF-BC04-615F220DF475}"/>
                    </a:ext>
                  </a:extLst>
                </p:cNvPr>
                <p:cNvSpPr/>
                <p:nvPr/>
              </p:nvSpPr>
              <p:spPr bwMode="auto">
                <a:xfrm>
                  <a:off x="7915002" y="3459890"/>
                  <a:ext cx="355633" cy="316374"/>
                </a:xfrm>
                <a:custGeom>
                  <a:avLst/>
                  <a:gdLst>
                    <a:gd name="T0" fmla="*/ 63 w 65"/>
                    <a:gd name="T1" fmla="*/ 24 h 58"/>
                    <a:gd name="T2" fmla="*/ 49 w 65"/>
                    <a:gd name="T3" fmla="*/ 22 h 58"/>
                    <a:gd name="T4" fmla="*/ 42 w 65"/>
                    <a:gd name="T5" fmla="*/ 16 h 58"/>
                    <a:gd name="T6" fmla="*/ 32 w 65"/>
                    <a:gd name="T7" fmla="*/ 6 h 58"/>
                    <a:gd name="T8" fmla="*/ 24 w 65"/>
                    <a:gd name="T9" fmla="*/ 0 h 58"/>
                    <a:gd name="T10" fmla="*/ 24 w 65"/>
                    <a:gd name="T11" fmla="*/ 23 h 58"/>
                    <a:gd name="T12" fmla="*/ 21 w 65"/>
                    <a:gd name="T13" fmla="*/ 22 h 58"/>
                    <a:gd name="T14" fmla="*/ 3 w 65"/>
                    <a:gd name="T15" fmla="*/ 28 h 58"/>
                    <a:gd name="T16" fmla="*/ 0 w 65"/>
                    <a:gd name="T17" fmla="*/ 34 h 58"/>
                    <a:gd name="T18" fmla="*/ 2 w 65"/>
                    <a:gd name="T19" fmla="*/ 41 h 58"/>
                    <a:gd name="T20" fmla="*/ 5 w 65"/>
                    <a:gd name="T21" fmla="*/ 48 h 58"/>
                    <a:gd name="T22" fmla="*/ 10 w 65"/>
                    <a:gd name="T23" fmla="*/ 55 h 58"/>
                    <a:gd name="T24" fmla="*/ 35 w 65"/>
                    <a:gd name="T25" fmla="*/ 57 h 58"/>
                    <a:gd name="T26" fmla="*/ 45 w 65"/>
                    <a:gd name="T27" fmla="*/ 55 h 58"/>
                    <a:gd name="T28" fmla="*/ 60 w 65"/>
                    <a:gd name="T29" fmla="*/ 57 h 58"/>
                    <a:gd name="T30" fmla="*/ 64 w 65"/>
                    <a:gd name="T31" fmla="*/ 26 h 58"/>
                    <a:gd name="T32" fmla="*/ 9 w 65"/>
                    <a:gd name="T33" fmla="*/ 25 h 58"/>
                    <a:gd name="T34" fmla="*/ 24 w 65"/>
                    <a:gd name="T35" fmla="*/ 28 h 58"/>
                    <a:gd name="T36" fmla="*/ 9 w 65"/>
                    <a:gd name="T37" fmla="*/ 30 h 58"/>
                    <a:gd name="T38" fmla="*/ 9 w 65"/>
                    <a:gd name="T39" fmla="*/ 25 h 58"/>
                    <a:gd name="T40" fmla="*/ 18 w 65"/>
                    <a:gd name="T41" fmla="*/ 32 h 58"/>
                    <a:gd name="T42" fmla="*/ 18 w 65"/>
                    <a:gd name="T43" fmla="*/ 37 h 58"/>
                    <a:gd name="T44" fmla="*/ 6 w 65"/>
                    <a:gd name="T45" fmla="*/ 37 h 58"/>
                    <a:gd name="T46" fmla="*/ 6 w 65"/>
                    <a:gd name="T47" fmla="*/ 32 h 58"/>
                    <a:gd name="T48" fmla="*/ 18 w 65"/>
                    <a:gd name="T49" fmla="*/ 39 h 58"/>
                    <a:gd name="T50" fmla="*/ 23 w 65"/>
                    <a:gd name="T51" fmla="*/ 41 h 58"/>
                    <a:gd name="T52" fmla="*/ 11 w 65"/>
                    <a:gd name="T53" fmla="*/ 43 h 58"/>
                    <a:gd name="T54" fmla="*/ 5 w 65"/>
                    <a:gd name="T55" fmla="*/ 41 h 58"/>
                    <a:gd name="T56" fmla="*/ 11 w 65"/>
                    <a:gd name="T57" fmla="*/ 45 h 58"/>
                    <a:gd name="T58" fmla="*/ 23 w 65"/>
                    <a:gd name="T59" fmla="*/ 45 h 58"/>
                    <a:gd name="T60" fmla="*/ 23 w 65"/>
                    <a:gd name="T61" fmla="*/ 50 h 58"/>
                    <a:gd name="T62" fmla="*/ 8 w 65"/>
                    <a:gd name="T63" fmla="*/ 48 h 58"/>
                    <a:gd name="T64" fmla="*/ 23 w 65"/>
                    <a:gd name="T65" fmla="*/ 52 h 58"/>
                    <a:gd name="T66" fmla="*/ 24 w 65"/>
                    <a:gd name="T67" fmla="*/ 44 h 58"/>
                    <a:gd name="T68" fmla="*/ 22 w 65"/>
                    <a:gd name="T69" fmla="*/ 37 h 58"/>
                    <a:gd name="T70" fmla="*/ 21 w 65"/>
                    <a:gd name="T71" fmla="*/ 32 h 58"/>
                    <a:gd name="T72" fmla="*/ 26 w 65"/>
                    <a:gd name="T73" fmla="*/ 26 h 58"/>
                    <a:gd name="T74" fmla="*/ 28 w 65"/>
                    <a:gd name="T75" fmla="*/ 31 h 58"/>
                    <a:gd name="T76" fmla="*/ 39 w 65"/>
                    <a:gd name="T77" fmla="*/ 40 h 58"/>
                    <a:gd name="T78" fmla="*/ 30 w 65"/>
                    <a:gd name="T79" fmla="*/ 31 h 58"/>
                    <a:gd name="T80" fmla="*/ 29 w 65"/>
                    <a:gd name="T81" fmla="*/ 24 h 58"/>
                    <a:gd name="T82" fmla="*/ 29 w 65"/>
                    <a:gd name="T83" fmla="*/ 24 h 58"/>
                    <a:gd name="T84" fmla="*/ 22 w 65"/>
                    <a:gd name="T85" fmla="*/ 8 h 58"/>
                    <a:gd name="T86" fmla="*/ 28 w 65"/>
                    <a:gd name="T87" fmla="*/ 4 h 58"/>
                    <a:gd name="T88" fmla="*/ 32 w 65"/>
                    <a:gd name="T89" fmla="*/ 14 h 58"/>
                    <a:gd name="T90" fmla="*/ 43 w 65"/>
                    <a:gd name="T91" fmla="*/ 20 h 58"/>
                    <a:gd name="T92" fmla="*/ 46 w 65"/>
                    <a:gd name="T93" fmla="*/ 50 h 58"/>
                    <a:gd name="T94" fmla="*/ 12 w 65"/>
                    <a:gd name="T95" fmla="*/ 52 h 58"/>
                    <a:gd name="T96" fmla="*/ 23 w 65"/>
                    <a:gd name="T97" fmla="*/ 52 h 58"/>
                    <a:gd name="T98" fmla="*/ 61 w 65"/>
                    <a:gd name="T99" fmla="*/ 27 h 58"/>
                    <a:gd name="T100" fmla="*/ 48 w 65"/>
                    <a:gd name="T101" fmla="*/ 53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" h="58">
                      <a:moveTo>
                        <a:pt x="64" y="24"/>
                      </a:moveTo>
                      <a:cubicBezTo>
                        <a:pt x="64" y="24"/>
                        <a:pt x="63" y="24"/>
                        <a:pt x="63" y="24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9" y="22"/>
                        <a:pt x="49" y="22"/>
                        <a:pt x="49" y="22"/>
                      </a:cubicBezTo>
                      <a:cubicBezTo>
                        <a:pt x="47" y="20"/>
                        <a:pt x="46" y="18"/>
                        <a:pt x="45" y="18"/>
                      </a:cubicBezTo>
                      <a:cubicBezTo>
                        <a:pt x="44" y="17"/>
                        <a:pt x="43" y="17"/>
                        <a:pt x="42" y="16"/>
                      </a:cubicBezTo>
                      <a:cubicBezTo>
                        <a:pt x="39" y="15"/>
                        <a:pt x="37" y="14"/>
                        <a:pt x="35" y="12"/>
                      </a:cubicBezTo>
                      <a:cubicBezTo>
                        <a:pt x="33" y="10"/>
                        <a:pt x="32" y="8"/>
                        <a:pt x="32" y="6"/>
                      </a:cubicBezTo>
                      <a:cubicBezTo>
                        <a:pt x="31" y="4"/>
                        <a:pt x="31" y="2"/>
                        <a:pt x="30" y="1"/>
                      </a:cubicBezTo>
                      <a:cubicBezTo>
                        <a:pt x="28" y="0"/>
                        <a:pt x="26" y="0"/>
                        <a:pt x="24" y="0"/>
                      </a:cubicBezTo>
                      <a:cubicBezTo>
                        <a:pt x="22" y="1"/>
                        <a:pt x="20" y="4"/>
                        <a:pt x="20" y="7"/>
                      </a:cubicBezTo>
                      <a:cubicBezTo>
                        <a:pt x="19" y="14"/>
                        <a:pt x="22" y="19"/>
                        <a:pt x="24" y="23"/>
                      </a:cubicBezTo>
                      <a:cubicBezTo>
                        <a:pt x="24" y="23"/>
                        <a:pt x="24" y="23"/>
                        <a:pt x="24" y="23"/>
                      </a:cubicBezTo>
                      <a:cubicBezTo>
                        <a:pt x="23" y="22"/>
                        <a:pt x="22" y="22"/>
                        <a:pt x="21" y="22"/>
                      </a:cubicBezTo>
                      <a:cubicBezTo>
                        <a:pt x="9" y="22"/>
                        <a:pt x="9" y="22"/>
                        <a:pt x="9" y="22"/>
                      </a:cubicBezTo>
                      <a:cubicBezTo>
                        <a:pt x="6" y="22"/>
                        <a:pt x="3" y="25"/>
                        <a:pt x="3" y="28"/>
                      </a:cubicBezTo>
                      <a:cubicBezTo>
                        <a:pt x="3" y="28"/>
                        <a:pt x="3" y="29"/>
                        <a:pt x="4" y="29"/>
                      </a:cubicBezTo>
                      <a:cubicBezTo>
                        <a:pt x="1" y="30"/>
                        <a:pt x="0" y="32"/>
                        <a:pt x="0" y="34"/>
                      </a:cubicBezTo>
                      <a:cubicBezTo>
                        <a:pt x="0" y="36"/>
                        <a:pt x="1" y="38"/>
                        <a:pt x="2" y="39"/>
                      </a:cubicBezTo>
                      <a:cubicBezTo>
                        <a:pt x="2" y="40"/>
                        <a:pt x="2" y="40"/>
                        <a:pt x="2" y="41"/>
                      </a:cubicBezTo>
                      <a:cubicBezTo>
                        <a:pt x="2" y="43"/>
                        <a:pt x="3" y="45"/>
                        <a:pt x="5" y="46"/>
                      </a:cubicBezTo>
                      <a:cubicBezTo>
                        <a:pt x="5" y="46"/>
                        <a:pt x="5" y="47"/>
                        <a:pt x="5" y="48"/>
                      </a:cubicBezTo>
                      <a:cubicBezTo>
                        <a:pt x="5" y="50"/>
                        <a:pt x="6" y="52"/>
                        <a:pt x="8" y="53"/>
                      </a:cubicBezTo>
                      <a:cubicBezTo>
                        <a:pt x="9" y="53"/>
                        <a:pt x="9" y="54"/>
                        <a:pt x="10" y="55"/>
                      </a:cubicBezTo>
                      <a:cubicBezTo>
                        <a:pt x="13" y="57"/>
                        <a:pt x="24" y="58"/>
                        <a:pt x="30" y="58"/>
                      </a:cubicBezTo>
                      <a:cubicBezTo>
                        <a:pt x="32" y="58"/>
                        <a:pt x="34" y="58"/>
                        <a:pt x="35" y="57"/>
                      </a:cubicBezTo>
                      <a:cubicBezTo>
                        <a:pt x="38" y="57"/>
                        <a:pt x="41" y="56"/>
                        <a:pt x="45" y="54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6"/>
                        <a:pt x="46" y="56"/>
                        <a:pt x="46" y="56"/>
                      </a:cubicBezTo>
                      <a:cubicBezTo>
                        <a:pt x="60" y="57"/>
                        <a:pt x="60" y="57"/>
                        <a:pt x="60" y="57"/>
                      </a:cubicBezTo>
                      <a:cubicBezTo>
                        <a:pt x="61" y="57"/>
                        <a:pt x="62" y="56"/>
                        <a:pt x="62" y="55"/>
                      </a:cubicBezTo>
                      <a:cubicBezTo>
                        <a:pt x="64" y="26"/>
                        <a:pt x="64" y="26"/>
                        <a:pt x="64" y="26"/>
                      </a:cubicBezTo>
                      <a:cubicBezTo>
                        <a:pt x="65" y="25"/>
                        <a:pt x="64" y="25"/>
                        <a:pt x="64" y="24"/>
                      </a:cubicBezTo>
                      <a:close/>
                      <a:moveTo>
                        <a:pt x="9" y="25"/>
                      </a:moveTo>
                      <a:cubicBezTo>
                        <a:pt x="21" y="25"/>
                        <a:pt x="21" y="25"/>
                        <a:pt x="21" y="25"/>
                      </a:cubicBezTo>
                      <a:cubicBezTo>
                        <a:pt x="23" y="25"/>
                        <a:pt x="24" y="26"/>
                        <a:pt x="24" y="28"/>
                      </a:cubicBezTo>
                      <a:cubicBezTo>
                        <a:pt x="24" y="29"/>
                        <a:pt x="23" y="30"/>
                        <a:pt x="21" y="30"/>
                      </a:cubicBezTo>
                      <a:cubicBezTo>
                        <a:pt x="9" y="30"/>
                        <a:pt x="9" y="30"/>
                        <a:pt x="9" y="30"/>
                      </a:cubicBezTo>
                      <a:cubicBezTo>
                        <a:pt x="8" y="30"/>
                        <a:pt x="6" y="29"/>
                        <a:pt x="6" y="28"/>
                      </a:cubicBezTo>
                      <a:cubicBezTo>
                        <a:pt x="6" y="26"/>
                        <a:pt x="8" y="25"/>
                        <a:pt x="9" y="25"/>
                      </a:cubicBezTo>
                      <a:close/>
                      <a:moveTo>
                        <a:pt x="6" y="32"/>
                      </a:moveTo>
                      <a:cubicBezTo>
                        <a:pt x="18" y="32"/>
                        <a:pt x="18" y="32"/>
                        <a:pt x="18" y="32"/>
                      </a:cubicBezTo>
                      <a:cubicBezTo>
                        <a:pt x="19" y="32"/>
                        <a:pt x="21" y="33"/>
                        <a:pt x="21" y="34"/>
                      </a:cubicBezTo>
                      <a:cubicBezTo>
                        <a:pt x="21" y="36"/>
                        <a:pt x="19" y="37"/>
                        <a:pt x="18" y="37"/>
                      </a:cubicBezTo>
                      <a:cubicBezTo>
                        <a:pt x="8" y="37"/>
                        <a:pt x="8" y="37"/>
                        <a:pt x="8" y="37"/>
                      </a:cubicBezTo>
                      <a:cubicBezTo>
                        <a:pt x="6" y="37"/>
                        <a:pt x="6" y="37"/>
                        <a:pt x="6" y="37"/>
                      </a:cubicBezTo>
                      <a:cubicBezTo>
                        <a:pt x="4" y="37"/>
                        <a:pt x="3" y="36"/>
                        <a:pt x="3" y="34"/>
                      </a:cubicBezTo>
                      <a:cubicBezTo>
                        <a:pt x="3" y="33"/>
                        <a:pt x="4" y="32"/>
                        <a:pt x="6" y="32"/>
                      </a:cubicBezTo>
                      <a:close/>
                      <a:moveTo>
                        <a:pt x="8" y="39"/>
                      </a:moveTo>
                      <a:cubicBezTo>
                        <a:pt x="18" y="39"/>
                        <a:pt x="18" y="39"/>
                        <a:pt x="18" y="39"/>
                      </a:cubicBezTo>
                      <a:cubicBezTo>
                        <a:pt x="20" y="39"/>
                        <a:pt x="20" y="39"/>
                        <a:pt x="20" y="39"/>
                      </a:cubicBezTo>
                      <a:cubicBezTo>
                        <a:pt x="22" y="39"/>
                        <a:pt x="23" y="40"/>
                        <a:pt x="23" y="41"/>
                      </a:cubicBezTo>
                      <a:cubicBezTo>
                        <a:pt x="23" y="42"/>
                        <a:pt x="22" y="43"/>
                        <a:pt x="20" y="43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8" y="43"/>
                        <a:pt x="8" y="43"/>
                        <a:pt x="8" y="43"/>
                      </a:cubicBezTo>
                      <a:cubicBezTo>
                        <a:pt x="6" y="43"/>
                        <a:pt x="5" y="42"/>
                        <a:pt x="5" y="41"/>
                      </a:cubicBezTo>
                      <a:cubicBezTo>
                        <a:pt x="5" y="40"/>
                        <a:pt x="6" y="39"/>
                        <a:pt x="8" y="39"/>
                      </a:cubicBezTo>
                      <a:close/>
                      <a:moveTo>
                        <a:pt x="11" y="45"/>
                      </a:moveTo>
                      <a:cubicBezTo>
                        <a:pt x="20" y="45"/>
                        <a:pt x="20" y="45"/>
                        <a:pt x="20" y="45"/>
                      </a:cubicBezTo>
                      <a:cubicBezTo>
                        <a:pt x="23" y="45"/>
                        <a:pt x="23" y="45"/>
                        <a:pt x="23" y="45"/>
                      </a:cubicBezTo>
                      <a:cubicBezTo>
                        <a:pt x="25" y="45"/>
                        <a:pt x="26" y="47"/>
                        <a:pt x="26" y="48"/>
                      </a:cubicBezTo>
                      <a:cubicBezTo>
                        <a:pt x="26" y="49"/>
                        <a:pt x="25" y="50"/>
                        <a:pt x="23" y="50"/>
                      </a:cubicBezTo>
                      <a:cubicBezTo>
                        <a:pt x="11" y="50"/>
                        <a:pt x="11" y="50"/>
                        <a:pt x="11" y="50"/>
                      </a:cubicBezTo>
                      <a:cubicBezTo>
                        <a:pt x="9" y="50"/>
                        <a:pt x="8" y="49"/>
                        <a:pt x="8" y="48"/>
                      </a:cubicBezTo>
                      <a:cubicBezTo>
                        <a:pt x="8" y="47"/>
                        <a:pt x="9" y="45"/>
                        <a:pt x="11" y="45"/>
                      </a:cubicBezTo>
                      <a:close/>
                      <a:moveTo>
                        <a:pt x="23" y="52"/>
                      </a:moveTo>
                      <a:cubicBezTo>
                        <a:pt x="26" y="52"/>
                        <a:pt x="28" y="50"/>
                        <a:pt x="28" y="48"/>
                      </a:cubicBezTo>
                      <a:cubicBezTo>
                        <a:pt x="28" y="46"/>
                        <a:pt x="26" y="44"/>
                        <a:pt x="24" y="44"/>
                      </a:cubicBezTo>
                      <a:cubicBezTo>
                        <a:pt x="25" y="43"/>
                        <a:pt x="25" y="42"/>
                        <a:pt x="25" y="41"/>
                      </a:cubicBezTo>
                      <a:cubicBezTo>
                        <a:pt x="25" y="39"/>
                        <a:pt x="24" y="38"/>
                        <a:pt x="22" y="37"/>
                      </a:cubicBezTo>
                      <a:cubicBezTo>
                        <a:pt x="22" y="36"/>
                        <a:pt x="23" y="35"/>
                        <a:pt x="23" y="34"/>
                      </a:cubicBezTo>
                      <a:cubicBezTo>
                        <a:pt x="23" y="33"/>
                        <a:pt x="22" y="33"/>
                        <a:pt x="21" y="32"/>
                      </a:cubicBezTo>
                      <a:cubicBezTo>
                        <a:pt x="24" y="32"/>
                        <a:pt x="26" y="30"/>
                        <a:pt x="26" y="28"/>
                      </a:cubicBezTo>
                      <a:cubicBezTo>
                        <a:pt x="26" y="27"/>
                        <a:pt x="26" y="26"/>
                        <a:pt x="26" y="26"/>
                      </a:cubicBezTo>
                      <a:cubicBezTo>
                        <a:pt x="27" y="25"/>
                        <a:pt x="27" y="25"/>
                        <a:pt x="27" y="25"/>
                      </a:cubicBezTo>
                      <a:cubicBezTo>
                        <a:pt x="28" y="27"/>
                        <a:pt x="28" y="29"/>
                        <a:pt x="28" y="31"/>
                      </a:cubicBezTo>
                      <a:cubicBezTo>
                        <a:pt x="29" y="38"/>
                        <a:pt x="37" y="41"/>
                        <a:pt x="37" y="41"/>
                      </a:cubicBezTo>
                      <a:cubicBezTo>
                        <a:pt x="38" y="41"/>
                        <a:pt x="38" y="41"/>
                        <a:pt x="39" y="40"/>
                      </a:cubicBezTo>
                      <a:cubicBezTo>
                        <a:pt x="39" y="40"/>
                        <a:pt x="38" y="39"/>
                        <a:pt x="38" y="39"/>
                      </a:cubicBezTo>
                      <a:cubicBezTo>
                        <a:pt x="38" y="39"/>
                        <a:pt x="31" y="37"/>
                        <a:pt x="30" y="31"/>
                      </a:cubicBezTo>
                      <a:cubicBezTo>
                        <a:pt x="30" y="28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4"/>
                      </a:cubicBezTo>
                      <a:cubicBezTo>
                        <a:pt x="29" y="24"/>
                        <a:pt x="29" y="24"/>
                        <a:pt x="29" y="23"/>
                      </a:cubicBezTo>
                      <a:cubicBezTo>
                        <a:pt x="29" y="23"/>
                        <a:pt x="21" y="16"/>
                        <a:pt x="22" y="8"/>
                      </a:cubicBezTo>
                      <a:cubicBezTo>
                        <a:pt x="23" y="5"/>
                        <a:pt x="24" y="4"/>
                        <a:pt x="25" y="3"/>
                      </a:cubicBezTo>
                      <a:cubicBezTo>
                        <a:pt x="26" y="3"/>
                        <a:pt x="27" y="3"/>
                        <a:pt x="28" y="4"/>
                      </a:cubicBezTo>
                      <a:cubicBezTo>
                        <a:pt x="28" y="4"/>
                        <a:pt x="29" y="5"/>
                        <a:pt x="29" y="7"/>
                      </a:cubicBezTo>
                      <a:cubicBezTo>
                        <a:pt x="30" y="9"/>
                        <a:pt x="31" y="11"/>
                        <a:pt x="32" y="14"/>
                      </a:cubicBezTo>
                      <a:cubicBezTo>
                        <a:pt x="35" y="17"/>
                        <a:pt x="38" y="18"/>
                        <a:pt x="40" y="19"/>
                      </a:cubicBezTo>
                      <a:cubicBezTo>
                        <a:pt x="41" y="19"/>
                        <a:pt x="42" y="20"/>
                        <a:pt x="43" y="20"/>
                      </a:cubicBezTo>
                      <a:cubicBezTo>
                        <a:pt x="44" y="21"/>
                        <a:pt x="47" y="25"/>
                        <a:pt x="48" y="26"/>
                      </a:cubicBezTo>
                      <a:cubicBezTo>
                        <a:pt x="46" y="50"/>
                        <a:pt x="46" y="50"/>
                        <a:pt x="46" y="50"/>
                      </a:cubicBezTo>
                      <a:cubicBezTo>
                        <a:pt x="43" y="52"/>
                        <a:pt x="39" y="54"/>
                        <a:pt x="34" y="54"/>
                      </a:cubicBezTo>
                      <a:cubicBezTo>
                        <a:pt x="27" y="55"/>
                        <a:pt x="14" y="54"/>
                        <a:pt x="12" y="52"/>
                      </a:cubicBezTo>
                      <a:cubicBezTo>
                        <a:pt x="12" y="52"/>
                        <a:pt x="12" y="52"/>
                        <a:pt x="12" y="52"/>
                      </a:cubicBezTo>
                      <a:lnTo>
                        <a:pt x="23" y="52"/>
                      </a:lnTo>
                      <a:close/>
                      <a:moveTo>
                        <a:pt x="50" y="26"/>
                      </a:moveTo>
                      <a:cubicBezTo>
                        <a:pt x="61" y="27"/>
                        <a:pt x="61" y="27"/>
                        <a:pt x="61" y="27"/>
                      </a:cubicBezTo>
                      <a:cubicBezTo>
                        <a:pt x="59" y="54"/>
                        <a:pt x="59" y="54"/>
                        <a:pt x="59" y="54"/>
                      </a:cubicBezTo>
                      <a:cubicBezTo>
                        <a:pt x="48" y="53"/>
                        <a:pt x="48" y="53"/>
                        <a:pt x="48" y="53"/>
                      </a:cubicBezTo>
                      <a:lnTo>
                        <a:pt x="50" y="2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85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54" name="任意多边形: 形状 153">
                  <a:extLst>
                    <a:ext uri="{FF2B5EF4-FFF2-40B4-BE49-F238E27FC236}">
                      <a16:creationId xmlns:a16="http://schemas.microsoft.com/office/drawing/2014/main" id="{6CEB8576-8D25-42CE-871C-33530F354ABF}"/>
                    </a:ext>
                  </a:extLst>
                </p:cNvPr>
                <p:cNvSpPr/>
                <p:nvPr/>
              </p:nvSpPr>
              <p:spPr bwMode="auto">
                <a:xfrm>
                  <a:off x="7582596" y="3369977"/>
                  <a:ext cx="279265" cy="188223"/>
                </a:xfrm>
                <a:custGeom>
                  <a:avLst/>
                  <a:gdLst>
                    <a:gd name="T0" fmla="*/ 58 w 58"/>
                    <a:gd name="T1" fmla="*/ 18 h 38"/>
                    <a:gd name="T2" fmla="*/ 31 w 58"/>
                    <a:gd name="T3" fmla="*/ 0 h 38"/>
                    <a:gd name="T4" fmla="*/ 1 w 58"/>
                    <a:gd name="T5" fmla="*/ 18 h 38"/>
                    <a:gd name="T6" fmla="*/ 0 w 58"/>
                    <a:gd name="T7" fmla="*/ 20 h 38"/>
                    <a:gd name="T8" fmla="*/ 31 w 58"/>
                    <a:gd name="T9" fmla="*/ 38 h 38"/>
                    <a:gd name="T10" fmla="*/ 58 w 58"/>
                    <a:gd name="T11" fmla="*/ 20 h 38"/>
                    <a:gd name="T12" fmla="*/ 58 w 58"/>
                    <a:gd name="T13" fmla="*/ 18 h 38"/>
                    <a:gd name="T14" fmla="*/ 18 w 58"/>
                    <a:gd name="T15" fmla="*/ 19 h 38"/>
                    <a:gd name="T16" fmla="*/ 16 w 58"/>
                    <a:gd name="T17" fmla="*/ 19 h 38"/>
                    <a:gd name="T18" fmla="*/ 28 w 58"/>
                    <a:gd name="T19" fmla="*/ 34 h 38"/>
                    <a:gd name="T20" fmla="*/ 4 w 58"/>
                    <a:gd name="T21" fmla="*/ 19 h 38"/>
                    <a:gd name="T22" fmla="*/ 27 w 58"/>
                    <a:gd name="T23" fmla="*/ 4 h 38"/>
                    <a:gd name="T24" fmla="*/ 19 w 58"/>
                    <a:gd name="T25" fmla="*/ 9 h 38"/>
                    <a:gd name="T26" fmla="*/ 21 w 58"/>
                    <a:gd name="T27" fmla="*/ 10 h 38"/>
                    <a:gd name="T28" fmla="*/ 31 w 58"/>
                    <a:gd name="T29" fmla="*/ 5 h 38"/>
                    <a:gd name="T30" fmla="*/ 45 w 58"/>
                    <a:gd name="T31" fmla="*/ 19 h 38"/>
                    <a:gd name="T32" fmla="*/ 31 w 58"/>
                    <a:gd name="T33" fmla="*/ 33 h 38"/>
                    <a:gd name="T34" fmla="*/ 18 w 58"/>
                    <a:gd name="T35" fmla="*/ 19 h 38"/>
                    <a:gd name="T36" fmla="*/ 36 w 58"/>
                    <a:gd name="T37" fmla="*/ 34 h 38"/>
                    <a:gd name="T38" fmla="*/ 47 w 58"/>
                    <a:gd name="T39" fmla="*/ 19 h 38"/>
                    <a:gd name="T40" fmla="*/ 38 w 58"/>
                    <a:gd name="T41" fmla="*/ 4 h 38"/>
                    <a:gd name="T42" fmla="*/ 55 w 58"/>
                    <a:gd name="T43" fmla="*/ 19 h 38"/>
                    <a:gd name="T44" fmla="*/ 36 w 58"/>
                    <a:gd name="T45" fmla="*/ 34 h 38"/>
                    <a:gd name="T46" fmla="*/ 40 w 58"/>
                    <a:gd name="T47" fmla="*/ 19 h 38"/>
                    <a:gd name="T48" fmla="*/ 31 w 58"/>
                    <a:gd name="T49" fmla="*/ 28 h 38"/>
                    <a:gd name="T50" fmla="*/ 23 w 58"/>
                    <a:gd name="T51" fmla="*/ 19 h 38"/>
                    <a:gd name="T52" fmla="*/ 31 w 58"/>
                    <a:gd name="T53" fmla="*/ 19 h 38"/>
                    <a:gd name="T54" fmla="*/ 24 w 58"/>
                    <a:gd name="T55" fmla="*/ 14 h 38"/>
                    <a:gd name="T56" fmla="*/ 31 w 58"/>
                    <a:gd name="T57" fmla="*/ 10 h 38"/>
                    <a:gd name="T58" fmla="*/ 40 w 58"/>
                    <a:gd name="T59" fmla="*/ 1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8" h="38">
                      <a:moveTo>
                        <a:pt x="58" y="18"/>
                      </a:moveTo>
                      <a:cubicBezTo>
                        <a:pt x="57" y="18"/>
                        <a:pt x="47" y="0"/>
                        <a:pt x="31" y="0"/>
                      </a:cubicBezTo>
                      <a:cubicBezTo>
                        <a:pt x="15" y="0"/>
                        <a:pt x="1" y="17"/>
                        <a:pt x="1" y="18"/>
                      </a:cubicBezTo>
                      <a:cubicBezTo>
                        <a:pt x="0" y="19"/>
                        <a:pt x="0" y="19"/>
                        <a:pt x="0" y="20"/>
                      </a:cubicBezTo>
                      <a:cubicBezTo>
                        <a:pt x="1" y="21"/>
                        <a:pt x="13" y="38"/>
                        <a:pt x="31" y="38"/>
                      </a:cubicBezTo>
                      <a:cubicBezTo>
                        <a:pt x="49" y="38"/>
                        <a:pt x="57" y="20"/>
                        <a:pt x="58" y="20"/>
                      </a:cubicBezTo>
                      <a:cubicBezTo>
                        <a:pt x="58" y="19"/>
                        <a:pt x="58" y="19"/>
                        <a:pt x="58" y="18"/>
                      </a:cubicBezTo>
                      <a:close/>
                      <a:moveTo>
                        <a:pt x="18" y="19"/>
                      </a:moveTo>
                      <a:cubicBezTo>
                        <a:pt x="16" y="19"/>
                        <a:pt x="16" y="19"/>
                        <a:pt x="16" y="19"/>
                      </a:cubicBezTo>
                      <a:cubicBezTo>
                        <a:pt x="16" y="27"/>
                        <a:pt x="21" y="33"/>
                        <a:pt x="28" y="34"/>
                      </a:cubicBezTo>
                      <a:cubicBezTo>
                        <a:pt x="16" y="33"/>
                        <a:pt x="6" y="22"/>
                        <a:pt x="4" y="19"/>
                      </a:cubicBezTo>
                      <a:cubicBezTo>
                        <a:pt x="6" y="16"/>
                        <a:pt x="16" y="6"/>
                        <a:pt x="27" y="4"/>
                      </a:cubicBezTo>
                      <a:cubicBezTo>
                        <a:pt x="24" y="5"/>
                        <a:pt x="21" y="7"/>
                        <a:pt x="19" y="9"/>
                      </a:cubicBezTo>
                      <a:cubicBezTo>
                        <a:pt x="21" y="10"/>
                        <a:pt x="21" y="10"/>
                        <a:pt x="21" y="10"/>
                      </a:cubicBezTo>
                      <a:cubicBezTo>
                        <a:pt x="23" y="7"/>
                        <a:pt x="27" y="5"/>
                        <a:pt x="31" y="5"/>
                      </a:cubicBezTo>
                      <a:cubicBezTo>
                        <a:pt x="39" y="5"/>
                        <a:pt x="45" y="11"/>
                        <a:pt x="45" y="19"/>
                      </a:cubicBezTo>
                      <a:cubicBezTo>
                        <a:pt x="45" y="27"/>
                        <a:pt x="39" y="33"/>
                        <a:pt x="31" y="33"/>
                      </a:cubicBezTo>
                      <a:cubicBezTo>
                        <a:pt x="24" y="33"/>
                        <a:pt x="18" y="27"/>
                        <a:pt x="18" y="19"/>
                      </a:cubicBezTo>
                      <a:close/>
                      <a:moveTo>
                        <a:pt x="36" y="34"/>
                      </a:moveTo>
                      <a:cubicBezTo>
                        <a:pt x="42" y="32"/>
                        <a:pt x="47" y="26"/>
                        <a:pt x="47" y="19"/>
                      </a:cubicBezTo>
                      <a:cubicBezTo>
                        <a:pt x="47" y="12"/>
                        <a:pt x="43" y="7"/>
                        <a:pt x="38" y="4"/>
                      </a:cubicBezTo>
                      <a:cubicBezTo>
                        <a:pt x="47" y="8"/>
                        <a:pt x="53" y="17"/>
                        <a:pt x="55" y="19"/>
                      </a:cubicBezTo>
                      <a:cubicBezTo>
                        <a:pt x="53" y="22"/>
                        <a:pt x="47" y="32"/>
                        <a:pt x="36" y="34"/>
                      </a:cubicBezTo>
                      <a:close/>
                      <a:moveTo>
                        <a:pt x="40" y="19"/>
                      </a:moveTo>
                      <a:cubicBezTo>
                        <a:pt x="40" y="24"/>
                        <a:pt x="36" y="28"/>
                        <a:pt x="31" y="28"/>
                      </a:cubicBezTo>
                      <a:cubicBezTo>
                        <a:pt x="27" y="28"/>
                        <a:pt x="23" y="24"/>
                        <a:pt x="23" y="19"/>
                      </a:cubicBezTo>
                      <a:cubicBezTo>
                        <a:pt x="31" y="19"/>
                        <a:pt x="31" y="19"/>
                        <a:pt x="31" y="19"/>
                      </a:cubicBezTo>
                      <a:cubicBezTo>
                        <a:pt x="24" y="14"/>
                        <a:pt x="24" y="14"/>
                        <a:pt x="24" y="14"/>
                      </a:cubicBezTo>
                      <a:cubicBezTo>
                        <a:pt x="26" y="12"/>
                        <a:pt x="29" y="10"/>
                        <a:pt x="31" y="10"/>
                      </a:cubicBezTo>
                      <a:cubicBezTo>
                        <a:pt x="36" y="10"/>
                        <a:pt x="40" y="14"/>
                        <a:pt x="40" y="1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3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95D3FB1D-783E-4C97-9162-20FF6235CD77}"/>
                  </a:ext>
                </a:extLst>
              </p:cNvPr>
              <p:cNvGrpSpPr/>
              <p:nvPr/>
            </p:nvGrpSpPr>
            <p:grpSpPr>
              <a:xfrm>
                <a:off x="4259417" y="4410759"/>
                <a:ext cx="3751917" cy="1824941"/>
                <a:chOff x="4259436" y="4239134"/>
                <a:chExt cx="3751928" cy="1824941"/>
              </a:xfrm>
            </p:grpSpPr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46455B12-1048-4A0A-B63C-7E056AF214E4}"/>
                    </a:ext>
                  </a:extLst>
                </p:cNvPr>
                <p:cNvSpPr/>
                <p:nvPr/>
              </p:nvSpPr>
              <p:spPr bwMode="auto">
                <a:xfrm>
                  <a:off x="6121310" y="4239134"/>
                  <a:ext cx="1721942" cy="744358"/>
                </a:xfrm>
                <a:custGeom>
                  <a:avLst/>
                  <a:gdLst>
                    <a:gd name="T0" fmla="*/ 944 w 944"/>
                    <a:gd name="T1" fmla="*/ 33 h 409"/>
                    <a:gd name="T2" fmla="*/ 835 w 944"/>
                    <a:gd name="T3" fmla="*/ 318 h 409"/>
                    <a:gd name="T4" fmla="*/ 0 w 944"/>
                    <a:gd name="T5" fmla="*/ 409 h 409"/>
                    <a:gd name="T6" fmla="*/ 944 w 944"/>
                    <a:gd name="T7" fmla="*/ 33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44" h="409">
                      <a:moveTo>
                        <a:pt x="944" y="33"/>
                      </a:moveTo>
                      <a:cubicBezTo>
                        <a:pt x="835" y="318"/>
                        <a:pt x="835" y="318"/>
                        <a:pt x="835" y="318"/>
                      </a:cubicBezTo>
                      <a:cubicBezTo>
                        <a:pt x="835" y="318"/>
                        <a:pt x="365" y="177"/>
                        <a:pt x="0" y="409"/>
                      </a:cubicBezTo>
                      <a:cubicBezTo>
                        <a:pt x="0" y="409"/>
                        <a:pt x="90" y="0"/>
                        <a:pt x="944" y="33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00C31511-81EA-4FBB-832D-A3513E758BC9}"/>
                    </a:ext>
                  </a:extLst>
                </p:cNvPr>
                <p:cNvSpPr/>
                <p:nvPr/>
              </p:nvSpPr>
              <p:spPr bwMode="auto">
                <a:xfrm>
                  <a:off x="6121310" y="4483044"/>
                  <a:ext cx="1740405" cy="500449"/>
                </a:xfrm>
                <a:custGeom>
                  <a:avLst/>
                  <a:gdLst>
                    <a:gd name="T0" fmla="*/ 954 w 954"/>
                    <a:gd name="T1" fmla="*/ 38 h 275"/>
                    <a:gd name="T2" fmla="*/ 897 w 954"/>
                    <a:gd name="T3" fmla="*/ 220 h 275"/>
                    <a:gd name="T4" fmla="*/ 53 w 954"/>
                    <a:gd name="T5" fmla="*/ 248 h 275"/>
                    <a:gd name="T6" fmla="*/ 0 w 954"/>
                    <a:gd name="T7" fmla="*/ 275 h 275"/>
                    <a:gd name="T8" fmla="*/ 36 w 954"/>
                    <a:gd name="T9" fmla="*/ 234 h 275"/>
                    <a:gd name="T10" fmla="*/ 954 w 954"/>
                    <a:gd name="T11" fmla="*/ 38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54" h="275">
                      <a:moveTo>
                        <a:pt x="954" y="38"/>
                      </a:moveTo>
                      <a:cubicBezTo>
                        <a:pt x="897" y="220"/>
                        <a:pt x="897" y="220"/>
                        <a:pt x="897" y="220"/>
                      </a:cubicBezTo>
                      <a:cubicBezTo>
                        <a:pt x="897" y="220"/>
                        <a:pt x="326" y="76"/>
                        <a:pt x="53" y="248"/>
                      </a:cubicBezTo>
                      <a:cubicBezTo>
                        <a:pt x="0" y="275"/>
                        <a:pt x="0" y="275"/>
                        <a:pt x="0" y="275"/>
                      </a:cubicBezTo>
                      <a:cubicBezTo>
                        <a:pt x="36" y="234"/>
                        <a:pt x="36" y="234"/>
                        <a:pt x="36" y="234"/>
                      </a:cubicBezTo>
                      <a:cubicBezTo>
                        <a:pt x="36" y="234"/>
                        <a:pt x="203" y="0"/>
                        <a:pt x="954" y="38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0ADD2BB8-B1C4-4402-8BB6-D3047AE59D86}"/>
                    </a:ext>
                  </a:extLst>
                </p:cNvPr>
                <p:cNvSpPr/>
                <p:nvPr/>
              </p:nvSpPr>
              <p:spPr bwMode="auto">
                <a:xfrm>
                  <a:off x="4398397" y="4481099"/>
                  <a:ext cx="1722914" cy="515998"/>
                </a:xfrm>
                <a:custGeom>
                  <a:avLst/>
                  <a:gdLst>
                    <a:gd name="T0" fmla="*/ 0 w 945"/>
                    <a:gd name="T1" fmla="*/ 38 h 283"/>
                    <a:gd name="T2" fmla="*/ 67 w 945"/>
                    <a:gd name="T3" fmla="*/ 282 h 283"/>
                    <a:gd name="T4" fmla="*/ 925 w 945"/>
                    <a:gd name="T5" fmla="*/ 283 h 283"/>
                    <a:gd name="T6" fmla="*/ 945 w 945"/>
                    <a:gd name="T7" fmla="*/ 276 h 283"/>
                    <a:gd name="T8" fmla="*/ 929 w 945"/>
                    <a:gd name="T9" fmla="*/ 254 h 283"/>
                    <a:gd name="T10" fmla="*/ 0 w 945"/>
                    <a:gd name="T11" fmla="*/ 38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45" h="283">
                      <a:moveTo>
                        <a:pt x="0" y="38"/>
                      </a:moveTo>
                      <a:cubicBezTo>
                        <a:pt x="67" y="282"/>
                        <a:pt x="67" y="282"/>
                        <a:pt x="67" y="282"/>
                      </a:cubicBezTo>
                      <a:cubicBezTo>
                        <a:pt x="67" y="282"/>
                        <a:pt x="837" y="218"/>
                        <a:pt x="925" y="283"/>
                      </a:cubicBezTo>
                      <a:cubicBezTo>
                        <a:pt x="945" y="276"/>
                        <a:pt x="945" y="276"/>
                        <a:pt x="945" y="276"/>
                      </a:cubicBezTo>
                      <a:cubicBezTo>
                        <a:pt x="929" y="254"/>
                        <a:pt x="929" y="254"/>
                        <a:pt x="929" y="254"/>
                      </a:cubicBezTo>
                      <a:cubicBezTo>
                        <a:pt x="929" y="254"/>
                        <a:pt x="802" y="0"/>
                        <a:pt x="0" y="38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326EFF9B-5393-4C5A-90BB-D422BFF16B5F}"/>
                    </a:ext>
                  </a:extLst>
                </p:cNvPr>
                <p:cNvSpPr/>
                <p:nvPr/>
              </p:nvSpPr>
              <p:spPr bwMode="auto">
                <a:xfrm>
                  <a:off x="4263323" y="5098158"/>
                  <a:ext cx="3721803" cy="965917"/>
                </a:xfrm>
                <a:custGeom>
                  <a:avLst/>
                  <a:gdLst>
                    <a:gd name="T0" fmla="*/ 2041 w 2041"/>
                    <a:gd name="T1" fmla="*/ 128 h 530"/>
                    <a:gd name="T2" fmla="*/ 1217 w 2041"/>
                    <a:gd name="T3" fmla="*/ 0 h 530"/>
                    <a:gd name="T4" fmla="*/ 1165 w 2041"/>
                    <a:gd name="T5" fmla="*/ 47 h 530"/>
                    <a:gd name="T6" fmla="*/ 1027 w 2041"/>
                    <a:gd name="T7" fmla="*/ 134 h 530"/>
                    <a:gd name="T8" fmla="*/ 875 w 2041"/>
                    <a:gd name="T9" fmla="*/ 47 h 530"/>
                    <a:gd name="T10" fmla="*/ 823 w 2041"/>
                    <a:gd name="T11" fmla="*/ 0 h 530"/>
                    <a:gd name="T12" fmla="*/ 0 w 2041"/>
                    <a:gd name="T13" fmla="*/ 126 h 530"/>
                    <a:gd name="T14" fmla="*/ 157 w 2041"/>
                    <a:gd name="T15" fmla="*/ 498 h 530"/>
                    <a:gd name="T16" fmla="*/ 158 w 2041"/>
                    <a:gd name="T17" fmla="*/ 499 h 530"/>
                    <a:gd name="T18" fmla="*/ 159 w 2041"/>
                    <a:gd name="T19" fmla="*/ 500 h 530"/>
                    <a:gd name="T20" fmla="*/ 159 w 2041"/>
                    <a:gd name="T21" fmla="*/ 500 h 530"/>
                    <a:gd name="T22" fmla="*/ 190 w 2041"/>
                    <a:gd name="T23" fmla="*/ 525 h 530"/>
                    <a:gd name="T24" fmla="*/ 243 w 2041"/>
                    <a:gd name="T25" fmla="*/ 520 h 530"/>
                    <a:gd name="T26" fmla="*/ 344 w 2041"/>
                    <a:gd name="T27" fmla="*/ 502 h 530"/>
                    <a:gd name="T28" fmla="*/ 630 w 2041"/>
                    <a:gd name="T29" fmla="*/ 451 h 530"/>
                    <a:gd name="T30" fmla="*/ 839 w 2041"/>
                    <a:gd name="T31" fmla="*/ 414 h 530"/>
                    <a:gd name="T32" fmla="*/ 919 w 2041"/>
                    <a:gd name="T33" fmla="*/ 496 h 530"/>
                    <a:gd name="T34" fmla="*/ 920 w 2041"/>
                    <a:gd name="T35" fmla="*/ 498 h 530"/>
                    <a:gd name="T36" fmla="*/ 924 w 2041"/>
                    <a:gd name="T37" fmla="*/ 498 h 530"/>
                    <a:gd name="T38" fmla="*/ 1005 w 2041"/>
                    <a:gd name="T39" fmla="*/ 519 h 530"/>
                    <a:gd name="T40" fmla="*/ 1011 w 2041"/>
                    <a:gd name="T41" fmla="*/ 521 h 530"/>
                    <a:gd name="T42" fmla="*/ 1029 w 2041"/>
                    <a:gd name="T43" fmla="*/ 521 h 530"/>
                    <a:gd name="T44" fmla="*/ 1035 w 2041"/>
                    <a:gd name="T45" fmla="*/ 519 h 530"/>
                    <a:gd name="T46" fmla="*/ 1116 w 2041"/>
                    <a:gd name="T47" fmla="*/ 498 h 530"/>
                    <a:gd name="T48" fmla="*/ 1117 w 2041"/>
                    <a:gd name="T49" fmla="*/ 498 h 530"/>
                    <a:gd name="T50" fmla="*/ 1117 w 2041"/>
                    <a:gd name="T51" fmla="*/ 497 h 530"/>
                    <a:gd name="T52" fmla="*/ 1202 w 2041"/>
                    <a:gd name="T53" fmla="*/ 414 h 530"/>
                    <a:gd name="T54" fmla="*/ 1625 w 2041"/>
                    <a:gd name="T55" fmla="*/ 489 h 530"/>
                    <a:gd name="T56" fmla="*/ 1799 w 2041"/>
                    <a:gd name="T57" fmla="*/ 520 h 530"/>
                    <a:gd name="T58" fmla="*/ 1832 w 2041"/>
                    <a:gd name="T59" fmla="*/ 526 h 530"/>
                    <a:gd name="T60" fmla="*/ 1880 w 2041"/>
                    <a:gd name="T61" fmla="*/ 503 h 530"/>
                    <a:gd name="T62" fmla="*/ 1884 w 2041"/>
                    <a:gd name="T63" fmla="*/ 494 h 530"/>
                    <a:gd name="T64" fmla="*/ 2041 w 2041"/>
                    <a:gd name="T65" fmla="*/ 128 h 5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041" h="530">
                      <a:moveTo>
                        <a:pt x="2041" y="128"/>
                      </a:moveTo>
                      <a:cubicBezTo>
                        <a:pt x="1217" y="0"/>
                        <a:pt x="1217" y="0"/>
                        <a:pt x="1217" y="0"/>
                      </a:cubicBezTo>
                      <a:cubicBezTo>
                        <a:pt x="1165" y="47"/>
                        <a:pt x="1165" y="47"/>
                        <a:pt x="1165" y="47"/>
                      </a:cubicBezTo>
                      <a:cubicBezTo>
                        <a:pt x="1027" y="134"/>
                        <a:pt x="1027" y="134"/>
                        <a:pt x="1027" y="134"/>
                      </a:cubicBezTo>
                      <a:cubicBezTo>
                        <a:pt x="875" y="47"/>
                        <a:pt x="875" y="47"/>
                        <a:pt x="875" y="47"/>
                      </a:cubicBezTo>
                      <a:cubicBezTo>
                        <a:pt x="823" y="0"/>
                        <a:pt x="823" y="0"/>
                        <a:pt x="823" y="0"/>
                      </a:cubicBezTo>
                      <a:cubicBezTo>
                        <a:pt x="0" y="126"/>
                        <a:pt x="0" y="126"/>
                        <a:pt x="0" y="126"/>
                      </a:cubicBezTo>
                      <a:cubicBezTo>
                        <a:pt x="157" y="498"/>
                        <a:pt x="157" y="498"/>
                        <a:pt x="157" y="498"/>
                      </a:cubicBezTo>
                      <a:cubicBezTo>
                        <a:pt x="158" y="498"/>
                        <a:pt x="158" y="498"/>
                        <a:pt x="158" y="499"/>
                      </a:cubicBezTo>
                      <a:cubicBezTo>
                        <a:pt x="159" y="500"/>
                        <a:pt x="159" y="500"/>
                        <a:pt x="159" y="500"/>
                      </a:cubicBezTo>
                      <a:cubicBezTo>
                        <a:pt x="159" y="500"/>
                        <a:pt x="159" y="500"/>
                        <a:pt x="159" y="500"/>
                      </a:cubicBezTo>
                      <a:cubicBezTo>
                        <a:pt x="165" y="513"/>
                        <a:pt x="179" y="522"/>
                        <a:pt x="190" y="525"/>
                      </a:cubicBezTo>
                      <a:cubicBezTo>
                        <a:pt x="207" y="530"/>
                        <a:pt x="227" y="523"/>
                        <a:pt x="243" y="520"/>
                      </a:cubicBezTo>
                      <a:cubicBezTo>
                        <a:pt x="276" y="514"/>
                        <a:pt x="310" y="508"/>
                        <a:pt x="344" y="502"/>
                      </a:cubicBezTo>
                      <a:cubicBezTo>
                        <a:pt x="439" y="485"/>
                        <a:pt x="534" y="468"/>
                        <a:pt x="630" y="451"/>
                      </a:cubicBezTo>
                      <a:cubicBezTo>
                        <a:pt x="700" y="438"/>
                        <a:pt x="769" y="426"/>
                        <a:pt x="839" y="414"/>
                      </a:cubicBezTo>
                      <a:cubicBezTo>
                        <a:pt x="854" y="453"/>
                        <a:pt x="885" y="479"/>
                        <a:pt x="919" y="496"/>
                      </a:cubicBezTo>
                      <a:cubicBezTo>
                        <a:pt x="920" y="498"/>
                        <a:pt x="920" y="498"/>
                        <a:pt x="920" y="498"/>
                      </a:cubicBezTo>
                      <a:cubicBezTo>
                        <a:pt x="924" y="498"/>
                        <a:pt x="924" y="498"/>
                        <a:pt x="924" y="498"/>
                      </a:cubicBezTo>
                      <a:cubicBezTo>
                        <a:pt x="951" y="510"/>
                        <a:pt x="979" y="516"/>
                        <a:pt x="1005" y="519"/>
                      </a:cubicBezTo>
                      <a:cubicBezTo>
                        <a:pt x="1007" y="520"/>
                        <a:pt x="1009" y="521"/>
                        <a:pt x="1011" y="521"/>
                      </a:cubicBezTo>
                      <a:cubicBezTo>
                        <a:pt x="1017" y="520"/>
                        <a:pt x="1023" y="520"/>
                        <a:pt x="1029" y="521"/>
                      </a:cubicBezTo>
                      <a:cubicBezTo>
                        <a:pt x="1031" y="521"/>
                        <a:pt x="1033" y="520"/>
                        <a:pt x="1035" y="519"/>
                      </a:cubicBezTo>
                      <a:cubicBezTo>
                        <a:pt x="1061" y="516"/>
                        <a:pt x="1090" y="510"/>
                        <a:pt x="1116" y="498"/>
                      </a:cubicBezTo>
                      <a:cubicBezTo>
                        <a:pt x="1117" y="498"/>
                        <a:pt x="1117" y="498"/>
                        <a:pt x="1117" y="498"/>
                      </a:cubicBezTo>
                      <a:cubicBezTo>
                        <a:pt x="1117" y="497"/>
                        <a:pt x="1117" y="497"/>
                        <a:pt x="1117" y="497"/>
                      </a:cubicBezTo>
                      <a:cubicBezTo>
                        <a:pt x="1153" y="481"/>
                        <a:pt x="1185" y="454"/>
                        <a:pt x="1202" y="414"/>
                      </a:cubicBezTo>
                      <a:cubicBezTo>
                        <a:pt x="1343" y="439"/>
                        <a:pt x="1485" y="464"/>
                        <a:pt x="1625" y="489"/>
                      </a:cubicBezTo>
                      <a:cubicBezTo>
                        <a:pt x="1683" y="500"/>
                        <a:pt x="1741" y="510"/>
                        <a:pt x="1799" y="520"/>
                      </a:cubicBezTo>
                      <a:cubicBezTo>
                        <a:pt x="1810" y="522"/>
                        <a:pt x="1821" y="524"/>
                        <a:pt x="1832" y="526"/>
                      </a:cubicBezTo>
                      <a:cubicBezTo>
                        <a:pt x="1849" y="529"/>
                        <a:pt x="1868" y="520"/>
                        <a:pt x="1880" y="503"/>
                      </a:cubicBezTo>
                      <a:cubicBezTo>
                        <a:pt x="1882" y="500"/>
                        <a:pt x="1883" y="497"/>
                        <a:pt x="1884" y="494"/>
                      </a:cubicBezTo>
                      <a:lnTo>
                        <a:pt x="2041" y="128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6B13EF08-1D21-4F14-B1E4-D26E5A02B46C}"/>
                    </a:ext>
                  </a:extLst>
                </p:cNvPr>
                <p:cNvSpPr/>
                <p:nvPr/>
              </p:nvSpPr>
              <p:spPr bwMode="auto">
                <a:xfrm>
                  <a:off x="4367300" y="5553908"/>
                  <a:ext cx="3523566" cy="510167"/>
                </a:xfrm>
                <a:custGeom>
                  <a:avLst/>
                  <a:gdLst>
                    <a:gd name="T0" fmla="*/ 1932 w 1932"/>
                    <a:gd name="T1" fmla="*/ 0 h 280"/>
                    <a:gd name="T2" fmla="*/ 1827 w 1932"/>
                    <a:gd name="T3" fmla="*/ 244 h 280"/>
                    <a:gd name="T4" fmla="*/ 1823 w 1932"/>
                    <a:gd name="T5" fmla="*/ 253 h 280"/>
                    <a:gd name="T6" fmla="*/ 1775 w 1932"/>
                    <a:gd name="T7" fmla="*/ 276 h 280"/>
                    <a:gd name="T8" fmla="*/ 1742 w 1932"/>
                    <a:gd name="T9" fmla="*/ 270 h 280"/>
                    <a:gd name="T10" fmla="*/ 1568 w 1932"/>
                    <a:gd name="T11" fmla="*/ 239 h 280"/>
                    <a:gd name="T12" fmla="*/ 1145 w 1932"/>
                    <a:gd name="T13" fmla="*/ 164 h 280"/>
                    <a:gd name="T14" fmla="*/ 1060 w 1932"/>
                    <a:gd name="T15" fmla="*/ 247 h 280"/>
                    <a:gd name="T16" fmla="*/ 1060 w 1932"/>
                    <a:gd name="T17" fmla="*/ 248 h 280"/>
                    <a:gd name="T18" fmla="*/ 1059 w 1932"/>
                    <a:gd name="T19" fmla="*/ 248 h 280"/>
                    <a:gd name="T20" fmla="*/ 978 w 1932"/>
                    <a:gd name="T21" fmla="*/ 269 h 280"/>
                    <a:gd name="T22" fmla="*/ 972 w 1932"/>
                    <a:gd name="T23" fmla="*/ 271 h 280"/>
                    <a:gd name="T24" fmla="*/ 954 w 1932"/>
                    <a:gd name="T25" fmla="*/ 271 h 280"/>
                    <a:gd name="T26" fmla="*/ 948 w 1932"/>
                    <a:gd name="T27" fmla="*/ 269 h 280"/>
                    <a:gd name="T28" fmla="*/ 867 w 1932"/>
                    <a:gd name="T29" fmla="*/ 248 h 280"/>
                    <a:gd name="T30" fmla="*/ 863 w 1932"/>
                    <a:gd name="T31" fmla="*/ 248 h 280"/>
                    <a:gd name="T32" fmla="*/ 862 w 1932"/>
                    <a:gd name="T33" fmla="*/ 246 h 280"/>
                    <a:gd name="T34" fmla="*/ 782 w 1932"/>
                    <a:gd name="T35" fmla="*/ 164 h 280"/>
                    <a:gd name="T36" fmla="*/ 573 w 1932"/>
                    <a:gd name="T37" fmla="*/ 201 h 280"/>
                    <a:gd name="T38" fmla="*/ 287 w 1932"/>
                    <a:gd name="T39" fmla="*/ 252 h 280"/>
                    <a:gd name="T40" fmla="*/ 186 w 1932"/>
                    <a:gd name="T41" fmla="*/ 270 h 280"/>
                    <a:gd name="T42" fmla="*/ 133 w 1932"/>
                    <a:gd name="T43" fmla="*/ 275 h 280"/>
                    <a:gd name="T44" fmla="*/ 102 w 1932"/>
                    <a:gd name="T45" fmla="*/ 250 h 280"/>
                    <a:gd name="T46" fmla="*/ 102 w 1932"/>
                    <a:gd name="T47" fmla="*/ 250 h 280"/>
                    <a:gd name="T48" fmla="*/ 101 w 1932"/>
                    <a:gd name="T49" fmla="*/ 249 h 280"/>
                    <a:gd name="T50" fmla="*/ 100 w 1932"/>
                    <a:gd name="T51" fmla="*/ 248 h 280"/>
                    <a:gd name="T52" fmla="*/ 0 w 1932"/>
                    <a:gd name="T53" fmla="*/ 11 h 280"/>
                    <a:gd name="T54" fmla="*/ 945 w 1932"/>
                    <a:gd name="T55" fmla="*/ 105 h 280"/>
                    <a:gd name="T56" fmla="*/ 1932 w 1932"/>
                    <a:gd name="T57" fmla="*/ 0 h 2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1932" h="280">
                      <a:moveTo>
                        <a:pt x="1932" y="0"/>
                      </a:moveTo>
                      <a:cubicBezTo>
                        <a:pt x="1827" y="244"/>
                        <a:pt x="1827" y="244"/>
                        <a:pt x="1827" y="244"/>
                      </a:cubicBezTo>
                      <a:cubicBezTo>
                        <a:pt x="1826" y="247"/>
                        <a:pt x="1825" y="250"/>
                        <a:pt x="1823" y="253"/>
                      </a:cubicBezTo>
                      <a:cubicBezTo>
                        <a:pt x="1811" y="270"/>
                        <a:pt x="1792" y="279"/>
                        <a:pt x="1775" y="276"/>
                      </a:cubicBezTo>
                      <a:cubicBezTo>
                        <a:pt x="1764" y="274"/>
                        <a:pt x="1753" y="272"/>
                        <a:pt x="1742" y="270"/>
                      </a:cubicBezTo>
                      <a:cubicBezTo>
                        <a:pt x="1684" y="260"/>
                        <a:pt x="1626" y="250"/>
                        <a:pt x="1568" y="239"/>
                      </a:cubicBezTo>
                      <a:cubicBezTo>
                        <a:pt x="1428" y="214"/>
                        <a:pt x="1286" y="189"/>
                        <a:pt x="1145" y="164"/>
                      </a:cubicBezTo>
                      <a:cubicBezTo>
                        <a:pt x="1128" y="204"/>
                        <a:pt x="1096" y="231"/>
                        <a:pt x="1060" y="247"/>
                      </a:cubicBezTo>
                      <a:cubicBezTo>
                        <a:pt x="1060" y="248"/>
                        <a:pt x="1060" y="248"/>
                        <a:pt x="1060" y="248"/>
                      </a:cubicBezTo>
                      <a:cubicBezTo>
                        <a:pt x="1059" y="248"/>
                        <a:pt x="1059" y="248"/>
                        <a:pt x="1059" y="248"/>
                      </a:cubicBezTo>
                      <a:cubicBezTo>
                        <a:pt x="1033" y="260"/>
                        <a:pt x="1004" y="266"/>
                        <a:pt x="978" y="269"/>
                      </a:cubicBezTo>
                      <a:cubicBezTo>
                        <a:pt x="976" y="270"/>
                        <a:pt x="974" y="271"/>
                        <a:pt x="972" y="271"/>
                      </a:cubicBezTo>
                      <a:cubicBezTo>
                        <a:pt x="966" y="270"/>
                        <a:pt x="960" y="270"/>
                        <a:pt x="954" y="271"/>
                      </a:cubicBezTo>
                      <a:cubicBezTo>
                        <a:pt x="952" y="271"/>
                        <a:pt x="950" y="270"/>
                        <a:pt x="948" y="269"/>
                      </a:cubicBezTo>
                      <a:cubicBezTo>
                        <a:pt x="922" y="266"/>
                        <a:pt x="894" y="260"/>
                        <a:pt x="867" y="248"/>
                      </a:cubicBezTo>
                      <a:cubicBezTo>
                        <a:pt x="863" y="248"/>
                        <a:pt x="863" y="248"/>
                        <a:pt x="863" y="248"/>
                      </a:cubicBezTo>
                      <a:cubicBezTo>
                        <a:pt x="862" y="246"/>
                        <a:pt x="862" y="246"/>
                        <a:pt x="862" y="246"/>
                      </a:cubicBezTo>
                      <a:cubicBezTo>
                        <a:pt x="828" y="229"/>
                        <a:pt x="797" y="203"/>
                        <a:pt x="782" y="164"/>
                      </a:cubicBezTo>
                      <a:cubicBezTo>
                        <a:pt x="712" y="176"/>
                        <a:pt x="643" y="188"/>
                        <a:pt x="573" y="201"/>
                      </a:cubicBezTo>
                      <a:cubicBezTo>
                        <a:pt x="477" y="218"/>
                        <a:pt x="382" y="235"/>
                        <a:pt x="287" y="252"/>
                      </a:cubicBezTo>
                      <a:cubicBezTo>
                        <a:pt x="253" y="258"/>
                        <a:pt x="219" y="264"/>
                        <a:pt x="186" y="270"/>
                      </a:cubicBezTo>
                      <a:cubicBezTo>
                        <a:pt x="170" y="273"/>
                        <a:pt x="150" y="280"/>
                        <a:pt x="133" y="275"/>
                      </a:cubicBezTo>
                      <a:cubicBezTo>
                        <a:pt x="122" y="272"/>
                        <a:pt x="108" y="263"/>
                        <a:pt x="102" y="250"/>
                      </a:cubicBezTo>
                      <a:cubicBezTo>
                        <a:pt x="102" y="250"/>
                        <a:pt x="102" y="250"/>
                        <a:pt x="102" y="250"/>
                      </a:cubicBezTo>
                      <a:cubicBezTo>
                        <a:pt x="101" y="249"/>
                        <a:pt x="101" y="249"/>
                        <a:pt x="101" y="249"/>
                      </a:cubicBezTo>
                      <a:cubicBezTo>
                        <a:pt x="101" y="248"/>
                        <a:pt x="101" y="248"/>
                        <a:pt x="100" y="248"/>
                      </a:cubicBezTo>
                      <a:cubicBezTo>
                        <a:pt x="0" y="11"/>
                        <a:pt x="0" y="11"/>
                        <a:pt x="0" y="11"/>
                      </a:cubicBezTo>
                      <a:cubicBezTo>
                        <a:pt x="231" y="69"/>
                        <a:pt x="569" y="105"/>
                        <a:pt x="945" y="105"/>
                      </a:cubicBezTo>
                      <a:cubicBezTo>
                        <a:pt x="1345" y="105"/>
                        <a:pt x="1702" y="64"/>
                        <a:pt x="1932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71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19620FA9-D331-4EF3-A4E5-E08F06A38337}"/>
                    </a:ext>
                  </a:extLst>
                </p:cNvPr>
                <p:cNvSpPr/>
                <p:nvPr/>
              </p:nvSpPr>
              <p:spPr bwMode="auto">
                <a:xfrm>
                  <a:off x="4394510" y="4532602"/>
                  <a:ext cx="1736519" cy="478100"/>
                </a:xfrm>
                <a:custGeom>
                  <a:avLst/>
                  <a:gdLst>
                    <a:gd name="T0" fmla="*/ 951 w 952"/>
                    <a:gd name="T1" fmla="*/ 254 h 263"/>
                    <a:gd name="T2" fmla="*/ 926 w 952"/>
                    <a:gd name="T3" fmla="*/ 208 h 263"/>
                    <a:gd name="T4" fmla="*/ 798 w 952"/>
                    <a:gd name="T5" fmla="*/ 112 h 263"/>
                    <a:gd name="T6" fmla="*/ 517 w 952"/>
                    <a:gd name="T7" fmla="*/ 31 h 263"/>
                    <a:gd name="T8" fmla="*/ 6 w 952"/>
                    <a:gd name="T9" fmla="*/ 5 h 263"/>
                    <a:gd name="T10" fmla="*/ 6 w 952"/>
                    <a:gd name="T11" fmla="*/ 14 h 263"/>
                    <a:gd name="T12" fmla="*/ 551 w 952"/>
                    <a:gd name="T13" fmla="*/ 46 h 263"/>
                    <a:gd name="T14" fmla="*/ 830 w 952"/>
                    <a:gd name="T15" fmla="*/ 139 h 263"/>
                    <a:gd name="T16" fmla="*/ 924 w 952"/>
                    <a:gd name="T17" fmla="*/ 221 h 263"/>
                    <a:gd name="T18" fmla="*/ 942 w 952"/>
                    <a:gd name="T19" fmla="*/ 257 h 263"/>
                    <a:gd name="T20" fmla="*/ 951 w 952"/>
                    <a:gd name="T21" fmla="*/ 254 h 2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52" h="263">
                      <a:moveTo>
                        <a:pt x="951" y="254"/>
                      </a:moveTo>
                      <a:cubicBezTo>
                        <a:pt x="948" y="237"/>
                        <a:pt x="937" y="221"/>
                        <a:pt x="926" y="208"/>
                      </a:cubicBezTo>
                      <a:cubicBezTo>
                        <a:pt x="893" y="165"/>
                        <a:pt x="846" y="135"/>
                        <a:pt x="798" y="112"/>
                      </a:cubicBezTo>
                      <a:cubicBezTo>
                        <a:pt x="710" y="69"/>
                        <a:pt x="613" y="46"/>
                        <a:pt x="517" y="31"/>
                      </a:cubicBezTo>
                      <a:cubicBezTo>
                        <a:pt x="349" y="3"/>
                        <a:pt x="176" y="0"/>
                        <a:pt x="6" y="5"/>
                      </a:cubicBezTo>
                      <a:cubicBezTo>
                        <a:pt x="0" y="5"/>
                        <a:pt x="0" y="14"/>
                        <a:pt x="6" y="14"/>
                      </a:cubicBezTo>
                      <a:cubicBezTo>
                        <a:pt x="188" y="9"/>
                        <a:pt x="372" y="13"/>
                        <a:pt x="551" y="46"/>
                      </a:cubicBezTo>
                      <a:cubicBezTo>
                        <a:pt x="647" y="64"/>
                        <a:pt x="745" y="90"/>
                        <a:pt x="830" y="139"/>
                      </a:cubicBezTo>
                      <a:cubicBezTo>
                        <a:pt x="866" y="160"/>
                        <a:pt x="900" y="186"/>
                        <a:pt x="924" y="221"/>
                      </a:cubicBezTo>
                      <a:cubicBezTo>
                        <a:pt x="932" y="231"/>
                        <a:pt x="940" y="244"/>
                        <a:pt x="942" y="257"/>
                      </a:cubicBezTo>
                      <a:cubicBezTo>
                        <a:pt x="943" y="263"/>
                        <a:pt x="952" y="260"/>
                        <a:pt x="951" y="254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DFD9A0E5-EF57-47C0-89EA-838A924D60C5}"/>
                    </a:ext>
                  </a:extLst>
                </p:cNvPr>
                <p:cNvSpPr/>
                <p:nvPr/>
              </p:nvSpPr>
              <p:spPr bwMode="auto">
                <a:xfrm>
                  <a:off x="6129084" y="4532602"/>
                  <a:ext cx="1735546" cy="478100"/>
                </a:xfrm>
                <a:custGeom>
                  <a:avLst/>
                  <a:gdLst>
                    <a:gd name="T0" fmla="*/ 9 w 952"/>
                    <a:gd name="T1" fmla="*/ 257 h 263"/>
                    <a:gd name="T2" fmla="*/ 35 w 952"/>
                    <a:gd name="T3" fmla="*/ 211 h 263"/>
                    <a:gd name="T4" fmla="*/ 171 w 952"/>
                    <a:gd name="T5" fmla="*/ 114 h 263"/>
                    <a:gd name="T6" fmla="*/ 450 w 952"/>
                    <a:gd name="T7" fmla="*/ 38 h 263"/>
                    <a:gd name="T8" fmla="*/ 946 w 952"/>
                    <a:gd name="T9" fmla="*/ 14 h 263"/>
                    <a:gd name="T10" fmla="*/ 946 w 952"/>
                    <a:gd name="T11" fmla="*/ 5 h 263"/>
                    <a:gd name="T12" fmla="*/ 406 w 952"/>
                    <a:gd name="T13" fmla="*/ 36 h 263"/>
                    <a:gd name="T14" fmla="*/ 124 w 952"/>
                    <a:gd name="T15" fmla="*/ 127 h 263"/>
                    <a:gd name="T16" fmla="*/ 21 w 952"/>
                    <a:gd name="T17" fmla="*/ 214 h 263"/>
                    <a:gd name="T18" fmla="*/ 1 w 952"/>
                    <a:gd name="T19" fmla="*/ 254 h 263"/>
                    <a:gd name="T20" fmla="*/ 9 w 952"/>
                    <a:gd name="T21" fmla="*/ 257 h 2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52" h="263">
                      <a:moveTo>
                        <a:pt x="9" y="257"/>
                      </a:moveTo>
                      <a:cubicBezTo>
                        <a:pt x="13" y="240"/>
                        <a:pt x="24" y="224"/>
                        <a:pt x="35" y="211"/>
                      </a:cubicBezTo>
                      <a:cubicBezTo>
                        <a:pt x="70" y="167"/>
                        <a:pt x="121" y="137"/>
                        <a:pt x="171" y="114"/>
                      </a:cubicBezTo>
                      <a:cubicBezTo>
                        <a:pt x="259" y="74"/>
                        <a:pt x="355" y="52"/>
                        <a:pt x="450" y="38"/>
                      </a:cubicBezTo>
                      <a:cubicBezTo>
                        <a:pt x="613" y="12"/>
                        <a:pt x="780" y="9"/>
                        <a:pt x="946" y="14"/>
                      </a:cubicBezTo>
                      <a:cubicBezTo>
                        <a:pt x="952" y="14"/>
                        <a:pt x="952" y="5"/>
                        <a:pt x="946" y="5"/>
                      </a:cubicBezTo>
                      <a:cubicBezTo>
                        <a:pt x="766" y="0"/>
                        <a:pt x="584" y="4"/>
                        <a:pt x="406" y="36"/>
                      </a:cubicBezTo>
                      <a:cubicBezTo>
                        <a:pt x="309" y="53"/>
                        <a:pt x="211" y="79"/>
                        <a:pt x="124" y="127"/>
                      </a:cubicBezTo>
                      <a:cubicBezTo>
                        <a:pt x="85" y="149"/>
                        <a:pt x="48" y="177"/>
                        <a:pt x="21" y="214"/>
                      </a:cubicBezTo>
                      <a:cubicBezTo>
                        <a:pt x="13" y="225"/>
                        <a:pt x="3" y="240"/>
                        <a:pt x="1" y="254"/>
                      </a:cubicBezTo>
                      <a:cubicBezTo>
                        <a:pt x="0" y="260"/>
                        <a:pt x="8" y="263"/>
                        <a:pt x="9" y="257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14D9F283-43B2-4A08-9AA4-6EC033C869FA}"/>
                    </a:ext>
                  </a:extLst>
                </p:cNvPr>
                <p:cNvSpPr/>
                <p:nvPr/>
              </p:nvSpPr>
              <p:spPr bwMode="auto">
                <a:xfrm>
                  <a:off x="6118393" y="4273147"/>
                  <a:ext cx="1735546" cy="734641"/>
                </a:xfrm>
                <a:custGeom>
                  <a:avLst/>
                  <a:gdLst>
                    <a:gd name="T0" fmla="*/ 9 w 952"/>
                    <a:gd name="T1" fmla="*/ 398 h 403"/>
                    <a:gd name="T2" fmla="*/ 32 w 952"/>
                    <a:gd name="T3" fmla="*/ 334 h 403"/>
                    <a:gd name="T4" fmla="*/ 149 w 952"/>
                    <a:gd name="T5" fmla="*/ 194 h 403"/>
                    <a:gd name="T6" fmla="*/ 429 w 952"/>
                    <a:gd name="T7" fmla="*/ 62 h 403"/>
                    <a:gd name="T8" fmla="*/ 946 w 952"/>
                    <a:gd name="T9" fmla="*/ 14 h 403"/>
                    <a:gd name="T10" fmla="*/ 946 w 952"/>
                    <a:gd name="T11" fmla="*/ 4 h 403"/>
                    <a:gd name="T12" fmla="*/ 427 w 952"/>
                    <a:gd name="T13" fmla="*/ 54 h 403"/>
                    <a:gd name="T14" fmla="*/ 145 w 952"/>
                    <a:gd name="T15" fmla="*/ 186 h 403"/>
                    <a:gd name="T16" fmla="*/ 26 w 952"/>
                    <a:gd name="T17" fmla="*/ 326 h 403"/>
                    <a:gd name="T18" fmla="*/ 0 w 952"/>
                    <a:gd name="T19" fmla="*/ 396 h 403"/>
                    <a:gd name="T20" fmla="*/ 0 w 952"/>
                    <a:gd name="T21" fmla="*/ 398 h 403"/>
                    <a:gd name="T22" fmla="*/ 9 w 952"/>
                    <a:gd name="T23" fmla="*/ 398 h 4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952" h="403">
                      <a:moveTo>
                        <a:pt x="9" y="398"/>
                      </a:moveTo>
                      <a:cubicBezTo>
                        <a:pt x="12" y="380"/>
                        <a:pt x="22" y="352"/>
                        <a:pt x="32" y="334"/>
                      </a:cubicBezTo>
                      <a:cubicBezTo>
                        <a:pt x="59" y="278"/>
                        <a:pt x="101" y="232"/>
                        <a:pt x="149" y="194"/>
                      </a:cubicBezTo>
                      <a:cubicBezTo>
                        <a:pt x="231" y="129"/>
                        <a:pt x="330" y="89"/>
                        <a:pt x="429" y="62"/>
                      </a:cubicBezTo>
                      <a:cubicBezTo>
                        <a:pt x="597" y="17"/>
                        <a:pt x="773" y="9"/>
                        <a:pt x="946" y="14"/>
                      </a:cubicBezTo>
                      <a:cubicBezTo>
                        <a:pt x="952" y="14"/>
                        <a:pt x="952" y="5"/>
                        <a:pt x="946" y="4"/>
                      </a:cubicBezTo>
                      <a:cubicBezTo>
                        <a:pt x="772" y="0"/>
                        <a:pt x="595" y="9"/>
                        <a:pt x="427" y="54"/>
                      </a:cubicBezTo>
                      <a:cubicBezTo>
                        <a:pt x="326" y="80"/>
                        <a:pt x="227" y="121"/>
                        <a:pt x="145" y="186"/>
                      </a:cubicBezTo>
                      <a:cubicBezTo>
                        <a:pt x="96" y="223"/>
                        <a:pt x="54" y="271"/>
                        <a:pt x="26" y="326"/>
                      </a:cubicBezTo>
                      <a:cubicBezTo>
                        <a:pt x="14" y="347"/>
                        <a:pt x="4" y="372"/>
                        <a:pt x="0" y="396"/>
                      </a:cubicBezTo>
                      <a:cubicBezTo>
                        <a:pt x="0" y="397"/>
                        <a:pt x="0" y="397"/>
                        <a:pt x="0" y="398"/>
                      </a:cubicBezTo>
                      <a:cubicBezTo>
                        <a:pt x="0" y="403"/>
                        <a:pt x="9" y="403"/>
                        <a:pt x="9" y="39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D2A9C250-515E-4057-8670-116B378D8CE2}"/>
                    </a:ext>
                  </a:extLst>
                </p:cNvPr>
                <p:cNvSpPr/>
                <p:nvPr/>
              </p:nvSpPr>
              <p:spPr bwMode="auto">
                <a:xfrm>
                  <a:off x="4314827" y="4512197"/>
                  <a:ext cx="1823003" cy="768652"/>
                </a:xfrm>
                <a:custGeom>
                  <a:avLst/>
                  <a:gdLst>
                    <a:gd name="T0" fmla="*/ 1000 w 1000"/>
                    <a:gd name="T1" fmla="*/ 271 h 422"/>
                    <a:gd name="T2" fmla="*/ 749 w 1000"/>
                    <a:gd name="T3" fmla="*/ 305 h 422"/>
                    <a:gd name="T4" fmla="*/ 749 w 1000"/>
                    <a:gd name="T5" fmla="*/ 305 h 422"/>
                    <a:gd name="T6" fmla="*/ 710 w 1000"/>
                    <a:gd name="T7" fmla="*/ 310 h 422"/>
                    <a:gd name="T8" fmla="*/ 710 w 1000"/>
                    <a:gd name="T9" fmla="*/ 310 h 422"/>
                    <a:gd name="T10" fmla="*/ 0 w 1000"/>
                    <a:gd name="T11" fmla="*/ 422 h 422"/>
                    <a:gd name="T12" fmla="*/ 4 w 1000"/>
                    <a:gd name="T13" fmla="*/ 402 h 422"/>
                    <a:gd name="T14" fmla="*/ 5 w 1000"/>
                    <a:gd name="T15" fmla="*/ 392 h 422"/>
                    <a:gd name="T16" fmla="*/ 9 w 1000"/>
                    <a:gd name="T17" fmla="*/ 373 h 422"/>
                    <a:gd name="T18" fmla="*/ 10 w 1000"/>
                    <a:gd name="T19" fmla="*/ 363 h 422"/>
                    <a:gd name="T20" fmla="*/ 20 w 1000"/>
                    <a:gd name="T21" fmla="*/ 303 h 422"/>
                    <a:gd name="T22" fmla="*/ 21 w 1000"/>
                    <a:gd name="T23" fmla="*/ 294 h 422"/>
                    <a:gd name="T24" fmla="*/ 32 w 1000"/>
                    <a:gd name="T25" fmla="*/ 229 h 422"/>
                    <a:gd name="T26" fmla="*/ 33 w 1000"/>
                    <a:gd name="T27" fmla="*/ 220 h 422"/>
                    <a:gd name="T28" fmla="*/ 41 w 1000"/>
                    <a:gd name="T29" fmla="*/ 169 h 422"/>
                    <a:gd name="T30" fmla="*/ 1000 w 1000"/>
                    <a:gd name="T31" fmla="*/ 271 h 4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000" h="422">
                      <a:moveTo>
                        <a:pt x="1000" y="271"/>
                      </a:moveTo>
                      <a:cubicBezTo>
                        <a:pt x="749" y="305"/>
                        <a:pt x="749" y="305"/>
                        <a:pt x="749" y="305"/>
                      </a:cubicBezTo>
                      <a:cubicBezTo>
                        <a:pt x="749" y="305"/>
                        <a:pt x="749" y="305"/>
                        <a:pt x="749" y="305"/>
                      </a:cubicBezTo>
                      <a:cubicBezTo>
                        <a:pt x="710" y="310"/>
                        <a:pt x="710" y="310"/>
                        <a:pt x="710" y="310"/>
                      </a:cubicBezTo>
                      <a:cubicBezTo>
                        <a:pt x="710" y="310"/>
                        <a:pt x="710" y="310"/>
                        <a:pt x="710" y="310"/>
                      </a:cubicBezTo>
                      <a:cubicBezTo>
                        <a:pt x="0" y="422"/>
                        <a:pt x="0" y="422"/>
                        <a:pt x="0" y="422"/>
                      </a:cubicBezTo>
                      <a:cubicBezTo>
                        <a:pt x="4" y="402"/>
                        <a:pt x="4" y="402"/>
                        <a:pt x="4" y="402"/>
                      </a:cubicBezTo>
                      <a:cubicBezTo>
                        <a:pt x="5" y="392"/>
                        <a:pt x="5" y="392"/>
                        <a:pt x="5" y="392"/>
                      </a:cubicBezTo>
                      <a:cubicBezTo>
                        <a:pt x="9" y="373"/>
                        <a:pt x="9" y="373"/>
                        <a:pt x="9" y="373"/>
                      </a:cubicBezTo>
                      <a:cubicBezTo>
                        <a:pt x="10" y="363"/>
                        <a:pt x="10" y="363"/>
                        <a:pt x="10" y="363"/>
                      </a:cubicBezTo>
                      <a:cubicBezTo>
                        <a:pt x="20" y="303"/>
                        <a:pt x="20" y="303"/>
                        <a:pt x="20" y="303"/>
                      </a:cubicBezTo>
                      <a:cubicBezTo>
                        <a:pt x="21" y="294"/>
                        <a:pt x="21" y="294"/>
                        <a:pt x="21" y="294"/>
                      </a:cubicBezTo>
                      <a:cubicBezTo>
                        <a:pt x="32" y="229"/>
                        <a:pt x="32" y="229"/>
                        <a:pt x="32" y="229"/>
                      </a:cubicBezTo>
                      <a:cubicBezTo>
                        <a:pt x="33" y="220"/>
                        <a:pt x="33" y="220"/>
                        <a:pt x="33" y="220"/>
                      </a:cubicBezTo>
                      <a:cubicBezTo>
                        <a:pt x="41" y="169"/>
                        <a:pt x="41" y="169"/>
                        <a:pt x="41" y="169"/>
                      </a:cubicBezTo>
                      <a:cubicBezTo>
                        <a:pt x="843" y="0"/>
                        <a:pt x="1000" y="271"/>
                        <a:pt x="1000" y="27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74F211D7-9E36-4F84-A706-4E3525A9C6AE}"/>
                    </a:ext>
                  </a:extLst>
                </p:cNvPr>
                <p:cNvSpPr/>
                <p:nvPr/>
              </p:nvSpPr>
              <p:spPr bwMode="auto">
                <a:xfrm>
                  <a:off x="4373132" y="4793033"/>
                  <a:ext cx="1668496" cy="190463"/>
                </a:xfrm>
                <a:custGeom>
                  <a:avLst/>
                  <a:gdLst>
                    <a:gd name="T0" fmla="*/ 904 w 915"/>
                    <a:gd name="T1" fmla="*/ 102 h 105"/>
                    <a:gd name="T2" fmla="*/ 837 w 915"/>
                    <a:gd name="T3" fmla="*/ 66 h 105"/>
                    <a:gd name="T4" fmla="*/ 558 w 915"/>
                    <a:gd name="T5" fmla="*/ 14 h 105"/>
                    <a:gd name="T6" fmla="*/ 2 w 915"/>
                    <a:gd name="T7" fmla="*/ 75 h 105"/>
                    <a:gd name="T8" fmla="*/ 0 w 915"/>
                    <a:gd name="T9" fmla="*/ 75 h 105"/>
                    <a:gd name="T10" fmla="*/ 1 w 915"/>
                    <a:gd name="T11" fmla="*/ 66 h 105"/>
                    <a:gd name="T12" fmla="*/ 533 w 915"/>
                    <a:gd name="T13" fmla="*/ 4 h 105"/>
                    <a:gd name="T14" fmla="*/ 825 w 915"/>
                    <a:gd name="T15" fmla="*/ 52 h 105"/>
                    <a:gd name="T16" fmla="*/ 910 w 915"/>
                    <a:gd name="T17" fmla="*/ 95 h 105"/>
                    <a:gd name="T18" fmla="*/ 904 w 915"/>
                    <a:gd name="T19" fmla="*/ 102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5" h="105">
                      <a:moveTo>
                        <a:pt x="904" y="102"/>
                      </a:moveTo>
                      <a:cubicBezTo>
                        <a:pt x="887" y="87"/>
                        <a:pt x="859" y="75"/>
                        <a:pt x="837" y="66"/>
                      </a:cubicBezTo>
                      <a:cubicBezTo>
                        <a:pt x="748" y="31"/>
                        <a:pt x="652" y="18"/>
                        <a:pt x="558" y="14"/>
                      </a:cubicBezTo>
                      <a:cubicBezTo>
                        <a:pt x="371" y="7"/>
                        <a:pt x="184" y="35"/>
                        <a:pt x="2" y="75"/>
                      </a:cubicBezTo>
                      <a:cubicBezTo>
                        <a:pt x="1" y="75"/>
                        <a:pt x="0" y="75"/>
                        <a:pt x="0" y="75"/>
                      </a:cubicBezTo>
                      <a:cubicBezTo>
                        <a:pt x="1" y="66"/>
                        <a:pt x="1" y="66"/>
                        <a:pt x="1" y="66"/>
                      </a:cubicBezTo>
                      <a:cubicBezTo>
                        <a:pt x="175" y="27"/>
                        <a:pt x="354" y="0"/>
                        <a:pt x="533" y="4"/>
                      </a:cubicBezTo>
                      <a:cubicBezTo>
                        <a:pt x="631" y="7"/>
                        <a:pt x="732" y="18"/>
                        <a:pt x="825" y="52"/>
                      </a:cubicBezTo>
                      <a:cubicBezTo>
                        <a:pt x="854" y="63"/>
                        <a:pt x="886" y="75"/>
                        <a:pt x="910" y="95"/>
                      </a:cubicBezTo>
                      <a:cubicBezTo>
                        <a:pt x="915" y="99"/>
                        <a:pt x="908" y="105"/>
                        <a:pt x="904" y="10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1D87D234-F9F5-476C-8379-2C4BB2633F4E}"/>
                    </a:ext>
                  </a:extLst>
                </p:cNvPr>
                <p:cNvSpPr/>
                <p:nvPr/>
              </p:nvSpPr>
              <p:spPr bwMode="auto">
                <a:xfrm>
                  <a:off x="4350781" y="4870772"/>
                  <a:ext cx="1593671" cy="193377"/>
                </a:xfrm>
                <a:custGeom>
                  <a:avLst/>
                  <a:gdLst>
                    <a:gd name="T0" fmla="*/ 865 w 874"/>
                    <a:gd name="T1" fmla="*/ 73 h 106"/>
                    <a:gd name="T2" fmla="*/ 829 w 874"/>
                    <a:gd name="T3" fmla="*/ 58 h 106"/>
                    <a:gd name="T4" fmla="*/ 559 w 874"/>
                    <a:gd name="T5" fmla="*/ 17 h 106"/>
                    <a:gd name="T6" fmla="*/ 2 w 874"/>
                    <a:gd name="T7" fmla="*/ 106 h 106"/>
                    <a:gd name="T8" fmla="*/ 0 w 874"/>
                    <a:gd name="T9" fmla="*/ 106 h 106"/>
                    <a:gd name="T10" fmla="*/ 1 w 874"/>
                    <a:gd name="T11" fmla="*/ 97 h 106"/>
                    <a:gd name="T12" fmla="*/ 358 w 874"/>
                    <a:gd name="T13" fmla="*/ 20 h 106"/>
                    <a:gd name="T14" fmla="*/ 745 w 874"/>
                    <a:gd name="T15" fmla="*/ 26 h 106"/>
                    <a:gd name="T16" fmla="*/ 869 w 874"/>
                    <a:gd name="T17" fmla="*/ 65 h 106"/>
                    <a:gd name="T18" fmla="*/ 865 w 874"/>
                    <a:gd name="T19" fmla="*/ 73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74" h="106">
                      <a:moveTo>
                        <a:pt x="865" y="73"/>
                      </a:moveTo>
                      <a:cubicBezTo>
                        <a:pt x="853" y="67"/>
                        <a:pt x="841" y="62"/>
                        <a:pt x="829" y="58"/>
                      </a:cubicBezTo>
                      <a:cubicBezTo>
                        <a:pt x="743" y="28"/>
                        <a:pt x="650" y="18"/>
                        <a:pt x="559" y="17"/>
                      </a:cubicBezTo>
                      <a:cubicBezTo>
                        <a:pt x="370" y="15"/>
                        <a:pt x="182" y="52"/>
                        <a:pt x="2" y="106"/>
                      </a:cubicBezTo>
                      <a:cubicBezTo>
                        <a:pt x="1" y="106"/>
                        <a:pt x="0" y="106"/>
                        <a:pt x="0" y="106"/>
                      </a:cubicBezTo>
                      <a:cubicBezTo>
                        <a:pt x="1" y="97"/>
                        <a:pt x="1" y="97"/>
                        <a:pt x="1" y="97"/>
                      </a:cubicBezTo>
                      <a:cubicBezTo>
                        <a:pt x="118" y="62"/>
                        <a:pt x="237" y="35"/>
                        <a:pt x="358" y="20"/>
                      </a:cubicBezTo>
                      <a:cubicBezTo>
                        <a:pt x="486" y="4"/>
                        <a:pt x="618" y="0"/>
                        <a:pt x="745" y="26"/>
                      </a:cubicBezTo>
                      <a:cubicBezTo>
                        <a:pt x="786" y="34"/>
                        <a:pt x="832" y="44"/>
                        <a:pt x="869" y="65"/>
                      </a:cubicBezTo>
                      <a:cubicBezTo>
                        <a:pt x="874" y="68"/>
                        <a:pt x="870" y="76"/>
                        <a:pt x="865" y="73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FF350C8F-479A-48E9-AA5D-3DEEDC51729F}"/>
                    </a:ext>
                  </a:extLst>
                </p:cNvPr>
                <p:cNvSpPr/>
                <p:nvPr/>
              </p:nvSpPr>
              <p:spPr bwMode="auto">
                <a:xfrm>
                  <a:off x="4330374" y="4958228"/>
                  <a:ext cx="1551886" cy="233219"/>
                </a:xfrm>
                <a:custGeom>
                  <a:avLst/>
                  <a:gdLst>
                    <a:gd name="T0" fmla="*/ 843 w 851"/>
                    <a:gd name="T1" fmla="*/ 42 h 128"/>
                    <a:gd name="T2" fmla="*/ 827 w 851"/>
                    <a:gd name="T3" fmla="*/ 38 h 128"/>
                    <a:gd name="T4" fmla="*/ 564 w 851"/>
                    <a:gd name="T5" fmla="*/ 17 h 128"/>
                    <a:gd name="T6" fmla="*/ 2 w 851"/>
                    <a:gd name="T7" fmla="*/ 128 h 128"/>
                    <a:gd name="T8" fmla="*/ 0 w 851"/>
                    <a:gd name="T9" fmla="*/ 128 h 128"/>
                    <a:gd name="T10" fmla="*/ 1 w 851"/>
                    <a:gd name="T11" fmla="*/ 118 h 128"/>
                    <a:gd name="T12" fmla="*/ 220 w 851"/>
                    <a:gd name="T13" fmla="*/ 55 h 128"/>
                    <a:gd name="T14" fmla="*/ 682 w 851"/>
                    <a:gd name="T15" fmla="*/ 9 h 128"/>
                    <a:gd name="T16" fmla="*/ 845 w 851"/>
                    <a:gd name="T17" fmla="*/ 33 h 128"/>
                    <a:gd name="T18" fmla="*/ 843 w 851"/>
                    <a:gd name="T19" fmla="*/ 42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51" h="128">
                      <a:moveTo>
                        <a:pt x="843" y="42"/>
                      </a:moveTo>
                      <a:cubicBezTo>
                        <a:pt x="838" y="41"/>
                        <a:pt x="833" y="39"/>
                        <a:pt x="827" y="38"/>
                      </a:cubicBezTo>
                      <a:cubicBezTo>
                        <a:pt x="742" y="18"/>
                        <a:pt x="652" y="14"/>
                        <a:pt x="564" y="17"/>
                      </a:cubicBezTo>
                      <a:cubicBezTo>
                        <a:pt x="372" y="24"/>
                        <a:pt x="183" y="66"/>
                        <a:pt x="2" y="128"/>
                      </a:cubicBezTo>
                      <a:cubicBezTo>
                        <a:pt x="1" y="128"/>
                        <a:pt x="0" y="128"/>
                        <a:pt x="0" y="128"/>
                      </a:cubicBezTo>
                      <a:cubicBezTo>
                        <a:pt x="1" y="118"/>
                        <a:pt x="1" y="118"/>
                        <a:pt x="1" y="118"/>
                      </a:cubicBezTo>
                      <a:cubicBezTo>
                        <a:pt x="73" y="94"/>
                        <a:pt x="146" y="72"/>
                        <a:pt x="220" y="55"/>
                      </a:cubicBezTo>
                      <a:cubicBezTo>
                        <a:pt x="371" y="21"/>
                        <a:pt x="527" y="0"/>
                        <a:pt x="682" y="9"/>
                      </a:cubicBezTo>
                      <a:cubicBezTo>
                        <a:pt x="736" y="13"/>
                        <a:pt x="793" y="17"/>
                        <a:pt x="845" y="33"/>
                      </a:cubicBezTo>
                      <a:cubicBezTo>
                        <a:pt x="851" y="35"/>
                        <a:pt x="848" y="44"/>
                        <a:pt x="843" y="4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5433CE50-97B2-4EF8-97AF-AA3033CB30DF}"/>
                    </a:ext>
                  </a:extLst>
                </p:cNvPr>
                <p:cNvSpPr/>
                <p:nvPr/>
              </p:nvSpPr>
              <p:spPr bwMode="auto">
                <a:xfrm>
                  <a:off x="4321627" y="5049571"/>
                  <a:ext cx="1549941" cy="194349"/>
                </a:xfrm>
                <a:custGeom>
                  <a:avLst/>
                  <a:gdLst>
                    <a:gd name="T0" fmla="*/ 841 w 850"/>
                    <a:gd name="T1" fmla="*/ 42 h 107"/>
                    <a:gd name="T2" fmla="*/ 791 w 850"/>
                    <a:gd name="T3" fmla="*/ 27 h 107"/>
                    <a:gd name="T4" fmla="*/ 706 w 850"/>
                    <a:gd name="T5" fmla="*/ 15 h 107"/>
                    <a:gd name="T6" fmla="*/ 706 w 850"/>
                    <a:gd name="T7" fmla="*/ 15 h 107"/>
                    <a:gd name="T8" fmla="*/ 543 w 850"/>
                    <a:gd name="T9" fmla="*/ 17 h 107"/>
                    <a:gd name="T10" fmla="*/ 1 w 850"/>
                    <a:gd name="T11" fmla="*/ 107 h 107"/>
                    <a:gd name="T12" fmla="*/ 0 w 850"/>
                    <a:gd name="T13" fmla="*/ 107 h 107"/>
                    <a:gd name="T14" fmla="*/ 1 w 850"/>
                    <a:gd name="T15" fmla="*/ 97 h 107"/>
                    <a:gd name="T16" fmla="*/ 487 w 850"/>
                    <a:gd name="T17" fmla="*/ 12 h 107"/>
                    <a:gd name="T18" fmla="*/ 745 w 850"/>
                    <a:gd name="T19" fmla="*/ 10 h 107"/>
                    <a:gd name="T20" fmla="*/ 745 w 850"/>
                    <a:gd name="T21" fmla="*/ 10 h 107"/>
                    <a:gd name="T22" fmla="*/ 770 w 850"/>
                    <a:gd name="T23" fmla="*/ 14 h 107"/>
                    <a:gd name="T24" fmla="*/ 845 w 850"/>
                    <a:gd name="T25" fmla="*/ 34 h 107"/>
                    <a:gd name="T26" fmla="*/ 841 w 850"/>
                    <a:gd name="T27" fmla="*/ 42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50" h="107">
                      <a:moveTo>
                        <a:pt x="841" y="42"/>
                      </a:moveTo>
                      <a:cubicBezTo>
                        <a:pt x="827" y="34"/>
                        <a:pt x="807" y="30"/>
                        <a:pt x="791" y="27"/>
                      </a:cubicBezTo>
                      <a:cubicBezTo>
                        <a:pt x="763" y="21"/>
                        <a:pt x="735" y="17"/>
                        <a:pt x="706" y="15"/>
                      </a:cubicBezTo>
                      <a:cubicBezTo>
                        <a:pt x="706" y="15"/>
                        <a:pt x="706" y="15"/>
                        <a:pt x="706" y="15"/>
                      </a:cubicBezTo>
                      <a:cubicBezTo>
                        <a:pt x="651" y="12"/>
                        <a:pt x="596" y="14"/>
                        <a:pt x="543" y="17"/>
                      </a:cubicBezTo>
                      <a:cubicBezTo>
                        <a:pt x="360" y="29"/>
                        <a:pt x="179" y="65"/>
                        <a:pt x="1" y="107"/>
                      </a:cubicBezTo>
                      <a:cubicBezTo>
                        <a:pt x="0" y="107"/>
                        <a:pt x="0" y="107"/>
                        <a:pt x="0" y="107"/>
                      </a:cubicBezTo>
                      <a:cubicBezTo>
                        <a:pt x="1" y="97"/>
                        <a:pt x="1" y="97"/>
                        <a:pt x="1" y="97"/>
                      </a:cubicBezTo>
                      <a:cubicBezTo>
                        <a:pt x="161" y="60"/>
                        <a:pt x="323" y="27"/>
                        <a:pt x="487" y="12"/>
                      </a:cubicBezTo>
                      <a:cubicBezTo>
                        <a:pt x="572" y="5"/>
                        <a:pt x="660" y="0"/>
                        <a:pt x="745" y="10"/>
                      </a:cubicBezTo>
                      <a:cubicBezTo>
                        <a:pt x="745" y="10"/>
                        <a:pt x="745" y="10"/>
                        <a:pt x="745" y="10"/>
                      </a:cubicBezTo>
                      <a:cubicBezTo>
                        <a:pt x="753" y="11"/>
                        <a:pt x="761" y="12"/>
                        <a:pt x="770" y="14"/>
                      </a:cubicBezTo>
                      <a:cubicBezTo>
                        <a:pt x="794" y="18"/>
                        <a:pt x="823" y="22"/>
                        <a:pt x="845" y="34"/>
                      </a:cubicBezTo>
                      <a:cubicBezTo>
                        <a:pt x="850" y="37"/>
                        <a:pt x="846" y="45"/>
                        <a:pt x="841" y="4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59285A73-BF0A-40DC-86B6-BE04FA41FA58}"/>
                    </a:ext>
                  </a:extLst>
                </p:cNvPr>
                <p:cNvSpPr/>
                <p:nvPr/>
              </p:nvSpPr>
              <p:spPr bwMode="auto">
                <a:xfrm>
                  <a:off x="6116451" y="4512196"/>
                  <a:ext cx="1816201" cy="737555"/>
                </a:xfrm>
                <a:custGeom>
                  <a:avLst/>
                  <a:gdLst>
                    <a:gd name="T0" fmla="*/ 0 w 996"/>
                    <a:gd name="T1" fmla="*/ 271 h 405"/>
                    <a:gd name="T2" fmla="*/ 251 w 996"/>
                    <a:gd name="T3" fmla="*/ 305 h 405"/>
                    <a:gd name="T4" fmla="*/ 251 w 996"/>
                    <a:gd name="T5" fmla="*/ 305 h 405"/>
                    <a:gd name="T6" fmla="*/ 290 w 996"/>
                    <a:gd name="T7" fmla="*/ 310 h 405"/>
                    <a:gd name="T8" fmla="*/ 290 w 996"/>
                    <a:gd name="T9" fmla="*/ 310 h 405"/>
                    <a:gd name="T10" fmla="*/ 996 w 996"/>
                    <a:gd name="T11" fmla="*/ 405 h 405"/>
                    <a:gd name="T12" fmla="*/ 996 w 996"/>
                    <a:gd name="T13" fmla="*/ 402 h 405"/>
                    <a:gd name="T14" fmla="*/ 994 w 996"/>
                    <a:gd name="T15" fmla="*/ 392 h 405"/>
                    <a:gd name="T16" fmla="*/ 991 w 996"/>
                    <a:gd name="T17" fmla="*/ 373 h 405"/>
                    <a:gd name="T18" fmla="*/ 990 w 996"/>
                    <a:gd name="T19" fmla="*/ 363 h 405"/>
                    <a:gd name="T20" fmla="*/ 980 w 996"/>
                    <a:gd name="T21" fmla="*/ 303 h 405"/>
                    <a:gd name="T22" fmla="*/ 978 w 996"/>
                    <a:gd name="T23" fmla="*/ 294 h 405"/>
                    <a:gd name="T24" fmla="*/ 968 w 996"/>
                    <a:gd name="T25" fmla="*/ 229 h 405"/>
                    <a:gd name="T26" fmla="*/ 967 w 996"/>
                    <a:gd name="T27" fmla="*/ 220 h 405"/>
                    <a:gd name="T28" fmla="*/ 958 w 996"/>
                    <a:gd name="T29" fmla="*/ 169 h 405"/>
                    <a:gd name="T30" fmla="*/ 0 w 996"/>
                    <a:gd name="T31" fmla="*/ 271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996" h="405">
                      <a:moveTo>
                        <a:pt x="0" y="271"/>
                      </a:moveTo>
                      <a:cubicBezTo>
                        <a:pt x="251" y="305"/>
                        <a:pt x="251" y="305"/>
                        <a:pt x="251" y="305"/>
                      </a:cubicBezTo>
                      <a:cubicBezTo>
                        <a:pt x="251" y="305"/>
                        <a:pt x="251" y="305"/>
                        <a:pt x="251" y="305"/>
                      </a:cubicBezTo>
                      <a:cubicBezTo>
                        <a:pt x="290" y="310"/>
                        <a:pt x="290" y="310"/>
                        <a:pt x="290" y="310"/>
                      </a:cubicBezTo>
                      <a:cubicBezTo>
                        <a:pt x="290" y="310"/>
                        <a:pt x="290" y="310"/>
                        <a:pt x="290" y="310"/>
                      </a:cubicBezTo>
                      <a:cubicBezTo>
                        <a:pt x="996" y="405"/>
                        <a:pt x="996" y="405"/>
                        <a:pt x="996" y="405"/>
                      </a:cubicBezTo>
                      <a:cubicBezTo>
                        <a:pt x="996" y="402"/>
                        <a:pt x="996" y="402"/>
                        <a:pt x="996" y="402"/>
                      </a:cubicBezTo>
                      <a:cubicBezTo>
                        <a:pt x="994" y="392"/>
                        <a:pt x="994" y="392"/>
                        <a:pt x="994" y="392"/>
                      </a:cubicBezTo>
                      <a:cubicBezTo>
                        <a:pt x="991" y="373"/>
                        <a:pt x="991" y="373"/>
                        <a:pt x="991" y="373"/>
                      </a:cubicBezTo>
                      <a:cubicBezTo>
                        <a:pt x="990" y="363"/>
                        <a:pt x="990" y="363"/>
                        <a:pt x="990" y="363"/>
                      </a:cubicBezTo>
                      <a:cubicBezTo>
                        <a:pt x="980" y="303"/>
                        <a:pt x="980" y="303"/>
                        <a:pt x="980" y="303"/>
                      </a:cubicBezTo>
                      <a:cubicBezTo>
                        <a:pt x="978" y="294"/>
                        <a:pt x="978" y="294"/>
                        <a:pt x="978" y="294"/>
                      </a:cubicBezTo>
                      <a:cubicBezTo>
                        <a:pt x="968" y="229"/>
                        <a:pt x="968" y="229"/>
                        <a:pt x="968" y="229"/>
                      </a:cubicBezTo>
                      <a:cubicBezTo>
                        <a:pt x="967" y="220"/>
                        <a:pt x="967" y="220"/>
                        <a:pt x="967" y="220"/>
                      </a:cubicBezTo>
                      <a:cubicBezTo>
                        <a:pt x="958" y="169"/>
                        <a:pt x="958" y="169"/>
                        <a:pt x="958" y="169"/>
                      </a:cubicBezTo>
                      <a:cubicBezTo>
                        <a:pt x="157" y="0"/>
                        <a:pt x="0" y="271"/>
                        <a:pt x="0" y="27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955F3102-9177-4B44-B8DB-0AB02CC045EE}"/>
                    </a:ext>
                  </a:extLst>
                </p:cNvPr>
                <p:cNvSpPr/>
                <p:nvPr/>
              </p:nvSpPr>
              <p:spPr bwMode="auto">
                <a:xfrm>
                  <a:off x="6212653" y="4793033"/>
                  <a:ext cx="1668496" cy="190463"/>
                </a:xfrm>
                <a:custGeom>
                  <a:avLst/>
                  <a:gdLst>
                    <a:gd name="T0" fmla="*/ 11 w 915"/>
                    <a:gd name="T1" fmla="*/ 102 h 105"/>
                    <a:gd name="T2" fmla="*/ 78 w 915"/>
                    <a:gd name="T3" fmla="*/ 66 h 105"/>
                    <a:gd name="T4" fmla="*/ 357 w 915"/>
                    <a:gd name="T5" fmla="*/ 14 h 105"/>
                    <a:gd name="T6" fmla="*/ 913 w 915"/>
                    <a:gd name="T7" fmla="*/ 75 h 105"/>
                    <a:gd name="T8" fmla="*/ 915 w 915"/>
                    <a:gd name="T9" fmla="*/ 75 h 105"/>
                    <a:gd name="T10" fmla="*/ 914 w 915"/>
                    <a:gd name="T11" fmla="*/ 66 h 105"/>
                    <a:gd name="T12" fmla="*/ 382 w 915"/>
                    <a:gd name="T13" fmla="*/ 4 h 105"/>
                    <a:gd name="T14" fmla="*/ 89 w 915"/>
                    <a:gd name="T15" fmla="*/ 52 h 105"/>
                    <a:gd name="T16" fmla="*/ 5 w 915"/>
                    <a:gd name="T17" fmla="*/ 95 h 105"/>
                    <a:gd name="T18" fmla="*/ 11 w 915"/>
                    <a:gd name="T19" fmla="*/ 102 h 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15" h="105">
                      <a:moveTo>
                        <a:pt x="11" y="102"/>
                      </a:moveTo>
                      <a:cubicBezTo>
                        <a:pt x="28" y="87"/>
                        <a:pt x="56" y="75"/>
                        <a:pt x="78" y="66"/>
                      </a:cubicBezTo>
                      <a:cubicBezTo>
                        <a:pt x="166" y="31"/>
                        <a:pt x="263" y="18"/>
                        <a:pt x="357" y="14"/>
                      </a:cubicBezTo>
                      <a:cubicBezTo>
                        <a:pt x="544" y="7"/>
                        <a:pt x="731" y="35"/>
                        <a:pt x="913" y="75"/>
                      </a:cubicBezTo>
                      <a:cubicBezTo>
                        <a:pt x="914" y="75"/>
                        <a:pt x="914" y="75"/>
                        <a:pt x="915" y="75"/>
                      </a:cubicBezTo>
                      <a:cubicBezTo>
                        <a:pt x="914" y="66"/>
                        <a:pt x="914" y="66"/>
                        <a:pt x="914" y="66"/>
                      </a:cubicBezTo>
                      <a:cubicBezTo>
                        <a:pt x="740" y="27"/>
                        <a:pt x="561" y="0"/>
                        <a:pt x="382" y="4"/>
                      </a:cubicBezTo>
                      <a:cubicBezTo>
                        <a:pt x="284" y="7"/>
                        <a:pt x="182" y="18"/>
                        <a:pt x="89" y="52"/>
                      </a:cubicBezTo>
                      <a:cubicBezTo>
                        <a:pt x="61" y="63"/>
                        <a:pt x="29" y="75"/>
                        <a:pt x="5" y="95"/>
                      </a:cubicBezTo>
                      <a:cubicBezTo>
                        <a:pt x="0" y="99"/>
                        <a:pt x="7" y="105"/>
                        <a:pt x="11" y="10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E35D7A00-18A0-4111-9644-A36F1917D248}"/>
                    </a:ext>
                  </a:extLst>
                </p:cNvPr>
                <p:cNvSpPr/>
                <p:nvPr/>
              </p:nvSpPr>
              <p:spPr bwMode="auto">
                <a:xfrm>
                  <a:off x="6307885" y="4870774"/>
                  <a:ext cx="1595614" cy="193377"/>
                </a:xfrm>
                <a:custGeom>
                  <a:avLst/>
                  <a:gdLst>
                    <a:gd name="T0" fmla="*/ 10 w 875"/>
                    <a:gd name="T1" fmla="*/ 73 h 106"/>
                    <a:gd name="T2" fmla="*/ 45 w 875"/>
                    <a:gd name="T3" fmla="*/ 58 h 106"/>
                    <a:gd name="T4" fmla="*/ 316 w 875"/>
                    <a:gd name="T5" fmla="*/ 17 h 106"/>
                    <a:gd name="T6" fmla="*/ 873 w 875"/>
                    <a:gd name="T7" fmla="*/ 106 h 106"/>
                    <a:gd name="T8" fmla="*/ 875 w 875"/>
                    <a:gd name="T9" fmla="*/ 106 h 106"/>
                    <a:gd name="T10" fmla="*/ 873 w 875"/>
                    <a:gd name="T11" fmla="*/ 97 h 106"/>
                    <a:gd name="T12" fmla="*/ 517 w 875"/>
                    <a:gd name="T13" fmla="*/ 20 h 106"/>
                    <a:gd name="T14" fmla="*/ 130 w 875"/>
                    <a:gd name="T15" fmla="*/ 26 h 106"/>
                    <a:gd name="T16" fmla="*/ 6 w 875"/>
                    <a:gd name="T17" fmla="*/ 65 h 106"/>
                    <a:gd name="T18" fmla="*/ 10 w 875"/>
                    <a:gd name="T19" fmla="*/ 73 h 10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75" h="106">
                      <a:moveTo>
                        <a:pt x="10" y="73"/>
                      </a:moveTo>
                      <a:cubicBezTo>
                        <a:pt x="21" y="67"/>
                        <a:pt x="33" y="62"/>
                        <a:pt x="45" y="58"/>
                      </a:cubicBezTo>
                      <a:cubicBezTo>
                        <a:pt x="131" y="28"/>
                        <a:pt x="225" y="18"/>
                        <a:pt x="316" y="17"/>
                      </a:cubicBezTo>
                      <a:cubicBezTo>
                        <a:pt x="505" y="15"/>
                        <a:pt x="693" y="52"/>
                        <a:pt x="873" y="106"/>
                      </a:cubicBezTo>
                      <a:cubicBezTo>
                        <a:pt x="874" y="106"/>
                        <a:pt x="874" y="106"/>
                        <a:pt x="875" y="106"/>
                      </a:cubicBezTo>
                      <a:cubicBezTo>
                        <a:pt x="873" y="97"/>
                        <a:pt x="873" y="97"/>
                        <a:pt x="873" y="97"/>
                      </a:cubicBezTo>
                      <a:cubicBezTo>
                        <a:pt x="757" y="62"/>
                        <a:pt x="638" y="35"/>
                        <a:pt x="517" y="20"/>
                      </a:cubicBezTo>
                      <a:cubicBezTo>
                        <a:pt x="389" y="4"/>
                        <a:pt x="257" y="0"/>
                        <a:pt x="130" y="26"/>
                      </a:cubicBezTo>
                      <a:cubicBezTo>
                        <a:pt x="89" y="34"/>
                        <a:pt x="43" y="44"/>
                        <a:pt x="6" y="65"/>
                      </a:cubicBezTo>
                      <a:cubicBezTo>
                        <a:pt x="0" y="68"/>
                        <a:pt x="5" y="76"/>
                        <a:pt x="10" y="73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8E56B07C-102B-4ACD-9594-3B99967DAE8C}"/>
                    </a:ext>
                  </a:extLst>
                </p:cNvPr>
                <p:cNvSpPr/>
                <p:nvPr/>
              </p:nvSpPr>
              <p:spPr bwMode="auto">
                <a:xfrm>
                  <a:off x="6371050" y="4958230"/>
                  <a:ext cx="1551886" cy="233219"/>
                </a:xfrm>
                <a:custGeom>
                  <a:avLst/>
                  <a:gdLst>
                    <a:gd name="T0" fmla="*/ 8 w 851"/>
                    <a:gd name="T1" fmla="*/ 42 h 128"/>
                    <a:gd name="T2" fmla="*/ 23 w 851"/>
                    <a:gd name="T3" fmla="*/ 38 h 128"/>
                    <a:gd name="T4" fmla="*/ 286 w 851"/>
                    <a:gd name="T5" fmla="*/ 17 h 128"/>
                    <a:gd name="T6" fmla="*/ 849 w 851"/>
                    <a:gd name="T7" fmla="*/ 128 h 128"/>
                    <a:gd name="T8" fmla="*/ 851 w 851"/>
                    <a:gd name="T9" fmla="*/ 128 h 128"/>
                    <a:gd name="T10" fmla="*/ 850 w 851"/>
                    <a:gd name="T11" fmla="*/ 118 h 128"/>
                    <a:gd name="T12" fmla="*/ 631 w 851"/>
                    <a:gd name="T13" fmla="*/ 55 h 128"/>
                    <a:gd name="T14" fmla="*/ 168 w 851"/>
                    <a:gd name="T15" fmla="*/ 9 h 128"/>
                    <a:gd name="T16" fmla="*/ 6 w 851"/>
                    <a:gd name="T17" fmla="*/ 33 h 128"/>
                    <a:gd name="T18" fmla="*/ 8 w 851"/>
                    <a:gd name="T19" fmla="*/ 42 h 1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51" h="128">
                      <a:moveTo>
                        <a:pt x="8" y="42"/>
                      </a:moveTo>
                      <a:cubicBezTo>
                        <a:pt x="13" y="41"/>
                        <a:pt x="18" y="39"/>
                        <a:pt x="23" y="38"/>
                      </a:cubicBezTo>
                      <a:cubicBezTo>
                        <a:pt x="109" y="18"/>
                        <a:pt x="199" y="14"/>
                        <a:pt x="286" y="17"/>
                      </a:cubicBezTo>
                      <a:cubicBezTo>
                        <a:pt x="478" y="24"/>
                        <a:pt x="668" y="66"/>
                        <a:pt x="849" y="128"/>
                      </a:cubicBezTo>
                      <a:cubicBezTo>
                        <a:pt x="850" y="128"/>
                        <a:pt x="851" y="128"/>
                        <a:pt x="851" y="128"/>
                      </a:cubicBezTo>
                      <a:cubicBezTo>
                        <a:pt x="850" y="118"/>
                        <a:pt x="850" y="118"/>
                        <a:pt x="850" y="118"/>
                      </a:cubicBezTo>
                      <a:cubicBezTo>
                        <a:pt x="778" y="94"/>
                        <a:pt x="705" y="72"/>
                        <a:pt x="631" y="55"/>
                      </a:cubicBezTo>
                      <a:cubicBezTo>
                        <a:pt x="480" y="21"/>
                        <a:pt x="323" y="0"/>
                        <a:pt x="168" y="9"/>
                      </a:cubicBezTo>
                      <a:cubicBezTo>
                        <a:pt x="115" y="13"/>
                        <a:pt x="57" y="17"/>
                        <a:pt x="6" y="33"/>
                      </a:cubicBezTo>
                      <a:cubicBezTo>
                        <a:pt x="0" y="35"/>
                        <a:pt x="2" y="44"/>
                        <a:pt x="8" y="4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6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049AF16F-E9BB-49BE-9420-7B68C847E138}"/>
                    </a:ext>
                  </a:extLst>
                </p:cNvPr>
                <p:cNvSpPr/>
                <p:nvPr/>
              </p:nvSpPr>
              <p:spPr bwMode="auto">
                <a:xfrm>
                  <a:off x="6380767" y="5049574"/>
                  <a:ext cx="1551886" cy="194350"/>
                </a:xfrm>
                <a:custGeom>
                  <a:avLst/>
                  <a:gdLst>
                    <a:gd name="T0" fmla="*/ 10 w 851"/>
                    <a:gd name="T1" fmla="*/ 42 h 107"/>
                    <a:gd name="T2" fmla="*/ 60 w 851"/>
                    <a:gd name="T3" fmla="*/ 27 h 107"/>
                    <a:gd name="T4" fmla="*/ 145 w 851"/>
                    <a:gd name="T5" fmla="*/ 15 h 107"/>
                    <a:gd name="T6" fmla="*/ 145 w 851"/>
                    <a:gd name="T7" fmla="*/ 15 h 107"/>
                    <a:gd name="T8" fmla="*/ 308 w 851"/>
                    <a:gd name="T9" fmla="*/ 17 h 107"/>
                    <a:gd name="T10" fmla="*/ 850 w 851"/>
                    <a:gd name="T11" fmla="*/ 107 h 107"/>
                    <a:gd name="T12" fmla="*/ 851 w 851"/>
                    <a:gd name="T13" fmla="*/ 107 h 107"/>
                    <a:gd name="T14" fmla="*/ 849 w 851"/>
                    <a:gd name="T15" fmla="*/ 97 h 107"/>
                    <a:gd name="T16" fmla="*/ 364 w 851"/>
                    <a:gd name="T17" fmla="*/ 12 h 107"/>
                    <a:gd name="T18" fmla="*/ 106 w 851"/>
                    <a:gd name="T19" fmla="*/ 10 h 107"/>
                    <a:gd name="T20" fmla="*/ 106 w 851"/>
                    <a:gd name="T21" fmla="*/ 10 h 107"/>
                    <a:gd name="T22" fmla="*/ 81 w 851"/>
                    <a:gd name="T23" fmla="*/ 14 h 107"/>
                    <a:gd name="T24" fmla="*/ 5 w 851"/>
                    <a:gd name="T25" fmla="*/ 34 h 107"/>
                    <a:gd name="T26" fmla="*/ 10 w 851"/>
                    <a:gd name="T27" fmla="*/ 42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851" h="107">
                      <a:moveTo>
                        <a:pt x="10" y="42"/>
                      </a:moveTo>
                      <a:cubicBezTo>
                        <a:pt x="24" y="34"/>
                        <a:pt x="43" y="30"/>
                        <a:pt x="60" y="27"/>
                      </a:cubicBezTo>
                      <a:cubicBezTo>
                        <a:pt x="88" y="21"/>
                        <a:pt x="116" y="17"/>
                        <a:pt x="145" y="15"/>
                      </a:cubicBezTo>
                      <a:cubicBezTo>
                        <a:pt x="145" y="15"/>
                        <a:pt x="145" y="15"/>
                        <a:pt x="145" y="15"/>
                      </a:cubicBezTo>
                      <a:cubicBezTo>
                        <a:pt x="199" y="12"/>
                        <a:pt x="254" y="14"/>
                        <a:pt x="308" y="17"/>
                      </a:cubicBezTo>
                      <a:cubicBezTo>
                        <a:pt x="491" y="29"/>
                        <a:pt x="672" y="65"/>
                        <a:pt x="850" y="107"/>
                      </a:cubicBezTo>
                      <a:cubicBezTo>
                        <a:pt x="850" y="107"/>
                        <a:pt x="851" y="107"/>
                        <a:pt x="851" y="107"/>
                      </a:cubicBezTo>
                      <a:cubicBezTo>
                        <a:pt x="849" y="97"/>
                        <a:pt x="849" y="97"/>
                        <a:pt x="849" y="97"/>
                      </a:cubicBezTo>
                      <a:cubicBezTo>
                        <a:pt x="690" y="60"/>
                        <a:pt x="528" y="27"/>
                        <a:pt x="364" y="12"/>
                      </a:cubicBezTo>
                      <a:cubicBezTo>
                        <a:pt x="279" y="5"/>
                        <a:pt x="191" y="0"/>
                        <a:pt x="106" y="10"/>
                      </a:cubicBezTo>
                      <a:cubicBezTo>
                        <a:pt x="106" y="10"/>
                        <a:pt x="106" y="10"/>
                        <a:pt x="106" y="10"/>
                      </a:cubicBezTo>
                      <a:cubicBezTo>
                        <a:pt x="98" y="11"/>
                        <a:pt x="89" y="12"/>
                        <a:pt x="81" y="14"/>
                      </a:cubicBezTo>
                      <a:cubicBezTo>
                        <a:pt x="57" y="18"/>
                        <a:pt x="27" y="22"/>
                        <a:pt x="5" y="34"/>
                      </a:cubicBezTo>
                      <a:cubicBezTo>
                        <a:pt x="0" y="37"/>
                        <a:pt x="5" y="45"/>
                        <a:pt x="10" y="42"/>
                      </a:cubicBez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C10515A4-582A-462E-820B-63F6B2812C24}"/>
                    </a:ext>
                  </a:extLst>
                </p:cNvPr>
                <p:cNvSpPr/>
                <p:nvPr/>
              </p:nvSpPr>
              <p:spPr bwMode="auto">
                <a:xfrm>
                  <a:off x="5777311" y="4982525"/>
                  <a:ext cx="707434" cy="343998"/>
                </a:xfrm>
                <a:custGeom>
                  <a:avLst/>
                  <a:gdLst>
                    <a:gd name="T0" fmla="*/ 23 w 364"/>
                    <a:gd name="T1" fmla="*/ 60 h 189"/>
                    <a:gd name="T2" fmla="*/ 192 w 364"/>
                    <a:gd name="T3" fmla="*/ 9 h 189"/>
                    <a:gd name="T4" fmla="*/ 364 w 364"/>
                    <a:gd name="T5" fmla="*/ 92 h 189"/>
                    <a:gd name="T6" fmla="*/ 180 w 364"/>
                    <a:gd name="T7" fmla="*/ 179 h 189"/>
                    <a:gd name="T8" fmla="*/ 23 w 364"/>
                    <a:gd name="T9" fmla="*/ 60 h 18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64" h="189">
                      <a:moveTo>
                        <a:pt x="23" y="60"/>
                      </a:moveTo>
                      <a:cubicBezTo>
                        <a:pt x="23" y="60"/>
                        <a:pt x="72" y="0"/>
                        <a:pt x="192" y="9"/>
                      </a:cubicBezTo>
                      <a:cubicBezTo>
                        <a:pt x="313" y="17"/>
                        <a:pt x="364" y="92"/>
                        <a:pt x="364" y="92"/>
                      </a:cubicBezTo>
                      <a:cubicBezTo>
                        <a:pt x="364" y="92"/>
                        <a:pt x="257" y="189"/>
                        <a:pt x="180" y="179"/>
                      </a:cubicBezTo>
                      <a:cubicBezTo>
                        <a:pt x="102" y="169"/>
                        <a:pt x="0" y="126"/>
                        <a:pt x="23" y="60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lnSpcReduction="1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E39BDCF3-8141-4B06-8C5E-9F88728D56BB}"/>
                    </a:ext>
                  </a:extLst>
                </p:cNvPr>
                <p:cNvSpPr/>
                <p:nvPr/>
              </p:nvSpPr>
              <p:spPr bwMode="auto">
                <a:xfrm>
                  <a:off x="5767593" y="4934908"/>
                  <a:ext cx="717152" cy="176858"/>
                </a:xfrm>
                <a:custGeom>
                  <a:avLst/>
                  <a:gdLst>
                    <a:gd name="T0" fmla="*/ 40 w 393"/>
                    <a:gd name="T1" fmla="*/ 86 h 97"/>
                    <a:gd name="T2" fmla="*/ 354 w 393"/>
                    <a:gd name="T3" fmla="*/ 86 h 97"/>
                    <a:gd name="T4" fmla="*/ 372 w 393"/>
                    <a:gd name="T5" fmla="*/ 54 h 97"/>
                    <a:gd name="T6" fmla="*/ 22 w 393"/>
                    <a:gd name="T7" fmla="*/ 54 h 97"/>
                    <a:gd name="T8" fmla="*/ 40 w 393"/>
                    <a:gd name="T9" fmla="*/ 86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3" h="97">
                      <a:moveTo>
                        <a:pt x="40" y="86"/>
                      </a:moveTo>
                      <a:cubicBezTo>
                        <a:pt x="133" y="39"/>
                        <a:pt x="259" y="38"/>
                        <a:pt x="354" y="86"/>
                      </a:cubicBezTo>
                      <a:cubicBezTo>
                        <a:pt x="375" y="97"/>
                        <a:pt x="393" y="65"/>
                        <a:pt x="372" y="54"/>
                      </a:cubicBezTo>
                      <a:cubicBezTo>
                        <a:pt x="266" y="0"/>
                        <a:pt x="129" y="0"/>
                        <a:pt x="22" y="54"/>
                      </a:cubicBezTo>
                      <a:cubicBezTo>
                        <a:pt x="0" y="65"/>
                        <a:pt x="19" y="97"/>
                        <a:pt x="40" y="8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00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343C6B94-842D-4BCE-8EDF-1476B7B99AF3}"/>
                    </a:ext>
                  </a:extLst>
                </p:cNvPr>
                <p:cNvSpPr/>
                <p:nvPr/>
              </p:nvSpPr>
              <p:spPr bwMode="auto">
                <a:xfrm>
                  <a:off x="4259436" y="5054432"/>
                  <a:ext cx="3751928" cy="317761"/>
                </a:xfrm>
                <a:custGeom>
                  <a:avLst/>
                  <a:gdLst>
                    <a:gd name="T0" fmla="*/ 1995 w 2057"/>
                    <a:gd name="T1" fmla="*/ 166 h 174"/>
                    <a:gd name="T2" fmla="*/ 2040 w 2057"/>
                    <a:gd name="T3" fmla="*/ 157 h 174"/>
                    <a:gd name="T4" fmla="*/ 2011 w 2057"/>
                    <a:gd name="T5" fmla="*/ 122 h 174"/>
                    <a:gd name="T6" fmla="*/ 2009 w 2057"/>
                    <a:gd name="T7" fmla="*/ 122 h 174"/>
                    <a:gd name="T8" fmla="*/ 2006 w 2057"/>
                    <a:gd name="T9" fmla="*/ 122 h 174"/>
                    <a:gd name="T10" fmla="*/ 1654 w 2057"/>
                    <a:gd name="T11" fmla="*/ 68 h 174"/>
                    <a:gd name="T12" fmla="*/ 1296 w 2057"/>
                    <a:gd name="T13" fmla="*/ 13 h 174"/>
                    <a:gd name="T14" fmla="*/ 1222 w 2057"/>
                    <a:gd name="T15" fmla="*/ 2 h 174"/>
                    <a:gd name="T16" fmla="*/ 1178 w 2057"/>
                    <a:gd name="T17" fmla="*/ 9 h 174"/>
                    <a:gd name="T18" fmla="*/ 1168 w 2057"/>
                    <a:gd name="T19" fmla="*/ 31 h 174"/>
                    <a:gd name="T20" fmla="*/ 1158 w 2057"/>
                    <a:gd name="T21" fmla="*/ 59 h 174"/>
                    <a:gd name="T22" fmla="*/ 1118 w 2057"/>
                    <a:gd name="T23" fmla="*/ 97 h 174"/>
                    <a:gd name="T24" fmla="*/ 977 w 2057"/>
                    <a:gd name="T25" fmla="*/ 116 h 174"/>
                    <a:gd name="T26" fmla="*/ 908 w 2057"/>
                    <a:gd name="T27" fmla="*/ 83 h 174"/>
                    <a:gd name="T28" fmla="*/ 886 w 2057"/>
                    <a:gd name="T29" fmla="*/ 56 h 174"/>
                    <a:gd name="T30" fmla="*/ 878 w 2057"/>
                    <a:gd name="T31" fmla="*/ 24 h 174"/>
                    <a:gd name="T32" fmla="*/ 823 w 2057"/>
                    <a:gd name="T33" fmla="*/ 2 h 174"/>
                    <a:gd name="T34" fmla="*/ 745 w 2057"/>
                    <a:gd name="T35" fmla="*/ 14 h 174"/>
                    <a:gd name="T36" fmla="*/ 566 w 2057"/>
                    <a:gd name="T37" fmla="*/ 41 h 174"/>
                    <a:gd name="T38" fmla="*/ 208 w 2057"/>
                    <a:gd name="T39" fmla="*/ 96 h 174"/>
                    <a:gd name="T40" fmla="*/ 36 w 2057"/>
                    <a:gd name="T41" fmla="*/ 122 h 174"/>
                    <a:gd name="T42" fmla="*/ 3 w 2057"/>
                    <a:gd name="T43" fmla="*/ 141 h 174"/>
                    <a:gd name="T44" fmla="*/ 14 w 2057"/>
                    <a:gd name="T45" fmla="*/ 162 h 174"/>
                    <a:gd name="T46" fmla="*/ 80 w 2057"/>
                    <a:gd name="T47" fmla="*/ 162 h 174"/>
                    <a:gd name="T48" fmla="*/ 802 w 2057"/>
                    <a:gd name="T49" fmla="*/ 51 h 174"/>
                    <a:gd name="T50" fmla="*/ 823 w 2057"/>
                    <a:gd name="T51" fmla="*/ 59 h 174"/>
                    <a:gd name="T52" fmla="*/ 1023 w 2057"/>
                    <a:gd name="T53" fmla="*/ 162 h 174"/>
                    <a:gd name="T54" fmla="*/ 1224 w 2057"/>
                    <a:gd name="T55" fmla="*/ 59 h 174"/>
                    <a:gd name="T56" fmla="*/ 1245 w 2057"/>
                    <a:gd name="T57" fmla="*/ 51 h 174"/>
                    <a:gd name="T58" fmla="*/ 1713 w 2057"/>
                    <a:gd name="T59" fmla="*/ 123 h 174"/>
                    <a:gd name="T60" fmla="*/ 1940 w 2057"/>
                    <a:gd name="T61" fmla="*/ 158 h 174"/>
                    <a:gd name="T62" fmla="*/ 1995 w 2057"/>
                    <a:gd name="T63" fmla="*/ 166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2057" h="174">
                      <a:moveTo>
                        <a:pt x="1995" y="166"/>
                      </a:moveTo>
                      <a:cubicBezTo>
                        <a:pt x="2011" y="169"/>
                        <a:pt x="2028" y="170"/>
                        <a:pt x="2040" y="157"/>
                      </a:cubicBezTo>
                      <a:cubicBezTo>
                        <a:pt x="2057" y="138"/>
                        <a:pt x="2029" y="124"/>
                        <a:pt x="2011" y="122"/>
                      </a:cubicBezTo>
                      <a:cubicBezTo>
                        <a:pt x="2010" y="122"/>
                        <a:pt x="2009" y="122"/>
                        <a:pt x="2009" y="122"/>
                      </a:cubicBezTo>
                      <a:cubicBezTo>
                        <a:pt x="2008" y="122"/>
                        <a:pt x="2007" y="122"/>
                        <a:pt x="2006" y="122"/>
                      </a:cubicBezTo>
                      <a:cubicBezTo>
                        <a:pt x="1889" y="104"/>
                        <a:pt x="1772" y="86"/>
                        <a:pt x="1654" y="68"/>
                      </a:cubicBezTo>
                      <a:cubicBezTo>
                        <a:pt x="1535" y="49"/>
                        <a:pt x="1416" y="31"/>
                        <a:pt x="1296" y="13"/>
                      </a:cubicBezTo>
                      <a:cubicBezTo>
                        <a:pt x="1272" y="9"/>
                        <a:pt x="1247" y="3"/>
                        <a:pt x="1222" y="2"/>
                      </a:cubicBezTo>
                      <a:cubicBezTo>
                        <a:pt x="1208" y="1"/>
                        <a:pt x="1190" y="1"/>
                        <a:pt x="1178" y="9"/>
                      </a:cubicBezTo>
                      <a:cubicBezTo>
                        <a:pt x="1170" y="15"/>
                        <a:pt x="1170" y="23"/>
                        <a:pt x="1168" y="31"/>
                      </a:cubicBezTo>
                      <a:cubicBezTo>
                        <a:pt x="1166" y="41"/>
                        <a:pt x="1163" y="50"/>
                        <a:pt x="1158" y="59"/>
                      </a:cubicBezTo>
                      <a:cubicBezTo>
                        <a:pt x="1149" y="75"/>
                        <a:pt x="1135" y="88"/>
                        <a:pt x="1118" y="97"/>
                      </a:cubicBezTo>
                      <a:cubicBezTo>
                        <a:pt x="1076" y="121"/>
                        <a:pt x="1024" y="129"/>
                        <a:pt x="977" y="116"/>
                      </a:cubicBezTo>
                      <a:cubicBezTo>
                        <a:pt x="952" y="110"/>
                        <a:pt x="927" y="100"/>
                        <a:pt x="908" y="83"/>
                      </a:cubicBezTo>
                      <a:cubicBezTo>
                        <a:pt x="899" y="75"/>
                        <a:pt x="891" y="67"/>
                        <a:pt x="886" y="56"/>
                      </a:cubicBezTo>
                      <a:cubicBezTo>
                        <a:pt x="880" y="46"/>
                        <a:pt x="881" y="35"/>
                        <a:pt x="878" y="24"/>
                      </a:cubicBezTo>
                      <a:cubicBezTo>
                        <a:pt x="871" y="2"/>
                        <a:pt x="842" y="0"/>
                        <a:pt x="823" y="2"/>
                      </a:cubicBezTo>
                      <a:cubicBezTo>
                        <a:pt x="797" y="4"/>
                        <a:pt x="771" y="10"/>
                        <a:pt x="745" y="14"/>
                      </a:cubicBezTo>
                      <a:cubicBezTo>
                        <a:pt x="685" y="23"/>
                        <a:pt x="625" y="32"/>
                        <a:pt x="566" y="41"/>
                      </a:cubicBezTo>
                      <a:cubicBezTo>
                        <a:pt x="446" y="59"/>
                        <a:pt x="327" y="78"/>
                        <a:pt x="208" y="96"/>
                      </a:cubicBezTo>
                      <a:cubicBezTo>
                        <a:pt x="150" y="105"/>
                        <a:pt x="93" y="115"/>
                        <a:pt x="36" y="122"/>
                      </a:cubicBezTo>
                      <a:cubicBezTo>
                        <a:pt x="23" y="124"/>
                        <a:pt x="7" y="126"/>
                        <a:pt x="3" y="141"/>
                      </a:cubicBezTo>
                      <a:cubicBezTo>
                        <a:pt x="0" y="151"/>
                        <a:pt x="4" y="157"/>
                        <a:pt x="14" y="162"/>
                      </a:cubicBezTo>
                      <a:cubicBezTo>
                        <a:pt x="35" y="174"/>
                        <a:pt x="57" y="165"/>
                        <a:pt x="80" y="162"/>
                      </a:cubicBezTo>
                      <a:cubicBezTo>
                        <a:pt x="321" y="125"/>
                        <a:pt x="561" y="88"/>
                        <a:pt x="802" y="51"/>
                      </a:cubicBezTo>
                      <a:cubicBezTo>
                        <a:pt x="809" y="50"/>
                        <a:pt x="819" y="51"/>
                        <a:pt x="823" y="59"/>
                      </a:cubicBezTo>
                      <a:cubicBezTo>
                        <a:pt x="856" y="131"/>
                        <a:pt x="949" y="162"/>
                        <a:pt x="1023" y="162"/>
                      </a:cubicBezTo>
                      <a:cubicBezTo>
                        <a:pt x="1097" y="162"/>
                        <a:pt x="1191" y="131"/>
                        <a:pt x="1224" y="59"/>
                      </a:cubicBezTo>
                      <a:cubicBezTo>
                        <a:pt x="1228" y="51"/>
                        <a:pt x="1237" y="50"/>
                        <a:pt x="1245" y="51"/>
                      </a:cubicBezTo>
                      <a:cubicBezTo>
                        <a:pt x="1401" y="75"/>
                        <a:pt x="1557" y="99"/>
                        <a:pt x="1713" y="123"/>
                      </a:cubicBezTo>
                      <a:cubicBezTo>
                        <a:pt x="1789" y="135"/>
                        <a:pt x="1864" y="146"/>
                        <a:pt x="1940" y="158"/>
                      </a:cubicBezTo>
                      <a:cubicBezTo>
                        <a:pt x="1959" y="161"/>
                        <a:pt x="1977" y="164"/>
                        <a:pt x="1995" y="166"/>
                      </a:cubicBezTo>
                      <a:close/>
                    </a:path>
                  </a:pathLst>
                </a:custGeom>
                <a:solidFill>
                  <a:schemeClr val="accent1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92500" lnSpcReduction="20000"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7C38BF73-B4DE-4BE9-A023-2868409E5BE9}"/>
                    </a:ext>
                  </a:extLst>
                </p:cNvPr>
                <p:cNvSpPr/>
                <p:nvPr/>
              </p:nvSpPr>
              <p:spPr bwMode="auto">
                <a:xfrm>
                  <a:off x="5563523" y="5151607"/>
                  <a:ext cx="230305" cy="737555"/>
                </a:xfrm>
                <a:custGeom>
                  <a:avLst/>
                  <a:gdLst>
                    <a:gd name="T0" fmla="*/ 190 w 237"/>
                    <a:gd name="T1" fmla="*/ 0 h 759"/>
                    <a:gd name="T2" fmla="*/ 201 w 237"/>
                    <a:gd name="T3" fmla="*/ 191 h 759"/>
                    <a:gd name="T4" fmla="*/ 237 w 237"/>
                    <a:gd name="T5" fmla="*/ 721 h 759"/>
                    <a:gd name="T6" fmla="*/ 0 w 237"/>
                    <a:gd name="T7" fmla="*/ 759 h 759"/>
                    <a:gd name="T8" fmla="*/ 190 w 237"/>
                    <a:gd name="T9" fmla="*/ 0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37" h="759">
                      <a:moveTo>
                        <a:pt x="190" y="0"/>
                      </a:moveTo>
                      <a:lnTo>
                        <a:pt x="201" y="191"/>
                      </a:lnTo>
                      <a:lnTo>
                        <a:pt x="237" y="721"/>
                      </a:lnTo>
                      <a:lnTo>
                        <a:pt x="0" y="759"/>
                      </a:lnTo>
                      <a:lnTo>
                        <a:pt x="190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71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14B24EB4-5400-4F53-AAE7-D7C1124530E1}"/>
                    </a:ext>
                  </a:extLst>
                </p:cNvPr>
                <p:cNvSpPr/>
                <p:nvPr/>
              </p:nvSpPr>
              <p:spPr bwMode="auto">
                <a:xfrm>
                  <a:off x="6464318" y="5151605"/>
                  <a:ext cx="230305" cy="737555"/>
                </a:xfrm>
                <a:custGeom>
                  <a:avLst/>
                  <a:gdLst>
                    <a:gd name="T0" fmla="*/ 45 w 237"/>
                    <a:gd name="T1" fmla="*/ 0 h 759"/>
                    <a:gd name="T2" fmla="*/ 0 w 237"/>
                    <a:gd name="T3" fmla="*/ 721 h 759"/>
                    <a:gd name="T4" fmla="*/ 237 w 237"/>
                    <a:gd name="T5" fmla="*/ 759 h 759"/>
                    <a:gd name="T6" fmla="*/ 45 w 237"/>
                    <a:gd name="T7" fmla="*/ 0 h 7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7" h="759">
                      <a:moveTo>
                        <a:pt x="45" y="0"/>
                      </a:moveTo>
                      <a:lnTo>
                        <a:pt x="0" y="721"/>
                      </a:lnTo>
                      <a:lnTo>
                        <a:pt x="237" y="759"/>
                      </a:lnTo>
                      <a:lnTo>
                        <a:pt x="45" y="0"/>
                      </a:lnTo>
                      <a:close/>
                    </a:path>
                  </a:pathLst>
                </a:custGeom>
                <a:solidFill>
                  <a:schemeClr val="accent1">
                    <a:lumMod val="75000"/>
                    <a:alpha val="71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4572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5320F2E1-6A4E-405A-850C-618AF97D12E7}"/>
                </a:ext>
              </a:extLst>
            </p:cNvPr>
            <p:cNvSpPr/>
            <p:nvPr/>
          </p:nvSpPr>
          <p:spPr bwMode="auto">
            <a:xfrm>
              <a:off x="673100" y="3018244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EB531B56-B3CD-4F6C-AF75-2E1359BC86C2}"/>
                </a:ext>
              </a:extLst>
            </p:cNvPr>
            <p:cNvSpPr txBox="1"/>
            <p:nvPr/>
          </p:nvSpPr>
          <p:spPr bwMode="auto">
            <a:xfrm>
              <a:off x="673100" y="2276455"/>
              <a:ext cx="2798297" cy="463005"/>
            </a:xfrm>
            <a:prstGeom prst="roundRect">
              <a:avLst/>
            </a:prstGeom>
            <a:noFill/>
            <a:ln w="12700">
              <a:solidFill>
                <a:schemeClr val="accent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 i="1" dirty="0">
                  <a:cs typeface="+mn-ea"/>
                  <a:sym typeface="+mn-lt"/>
                </a:rPr>
                <a:t>01. …</a:t>
              </a:r>
              <a:r>
                <a:rPr lang="zh-CN" altLang="en-US" b="1" i="1" dirty="0">
                  <a:cs typeface="+mn-ea"/>
                  <a:sym typeface="+mn-lt"/>
                </a:rPr>
                <a:t>亮点</a:t>
              </a:r>
              <a:endParaRPr lang="en-US" altLang="zh-CN" b="1" i="1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BA4485BE-DB63-437A-A54D-766E859A1FEC}"/>
                </a:ext>
              </a:extLst>
            </p:cNvPr>
            <p:cNvSpPr/>
            <p:nvPr/>
          </p:nvSpPr>
          <p:spPr bwMode="auto">
            <a:xfrm>
              <a:off x="673100" y="3953624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2BBB97E4-86B7-4093-8491-25355910EF05}"/>
                </a:ext>
              </a:extLst>
            </p:cNvPr>
            <p:cNvSpPr/>
            <p:nvPr/>
          </p:nvSpPr>
          <p:spPr bwMode="auto">
            <a:xfrm>
              <a:off x="673100" y="4889005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5E1410A7-1A5B-4E69-8B27-BA01C1BF26B6}"/>
                </a:ext>
              </a:extLst>
            </p:cNvPr>
            <p:cNvSpPr/>
            <p:nvPr/>
          </p:nvSpPr>
          <p:spPr>
            <a:xfrm>
              <a:off x="1782855" y="1650371"/>
              <a:ext cx="578786" cy="539146"/>
            </a:xfrm>
            <a:custGeom>
              <a:avLst/>
              <a:gdLst>
                <a:gd name="connsiteX0" fmla="*/ 225640 w 606862"/>
                <a:gd name="connsiteY0" fmla="*/ 344936 h 565300"/>
                <a:gd name="connsiteX1" fmla="*/ 212735 w 606862"/>
                <a:gd name="connsiteY1" fmla="*/ 349595 h 565300"/>
                <a:gd name="connsiteX2" fmla="*/ 208268 w 606862"/>
                <a:gd name="connsiteY2" fmla="*/ 354750 h 565300"/>
                <a:gd name="connsiteX3" fmla="*/ 208268 w 606862"/>
                <a:gd name="connsiteY3" fmla="*/ 368033 h 565300"/>
                <a:gd name="connsiteX4" fmla="*/ 206282 w 606862"/>
                <a:gd name="connsiteY4" fmla="*/ 369421 h 565300"/>
                <a:gd name="connsiteX5" fmla="*/ 204992 w 606862"/>
                <a:gd name="connsiteY5" fmla="*/ 373584 h 565300"/>
                <a:gd name="connsiteX6" fmla="*/ 207870 w 606862"/>
                <a:gd name="connsiteY6" fmla="*/ 401836 h 565300"/>
                <a:gd name="connsiteX7" fmla="*/ 211742 w 606862"/>
                <a:gd name="connsiteY7" fmla="*/ 406396 h 565300"/>
                <a:gd name="connsiteX8" fmla="*/ 213132 w 606862"/>
                <a:gd name="connsiteY8" fmla="*/ 406594 h 565300"/>
                <a:gd name="connsiteX9" fmla="*/ 217400 w 606862"/>
                <a:gd name="connsiteY9" fmla="*/ 404413 h 565300"/>
                <a:gd name="connsiteX10" fmla="*/ 232390 w 606862"/>
                <a:gd name="connsiteY10" fmla="*/ 384687 h 565300"/>
                <a:gd name="connsiteX11" fmla="*/ 233482 w 606862"/>
                <a:gd name="connsiteY11" fmla="*/ 381415 h 565300"/>
                <a:gd name="connsiteX12" fmla="*/ 233383 w 606862"/>
                <a:gd name="connsiteY12" fmla="*/ 349694 h 565300"/>
                <a:gd name="connsiteX13" fmla="*/ 230901 w 606862"/>
                <a:gd name="connsiteY13" fmla="*/ 345134 h 565300"/>
                <a:gd name="connsiteX14" fmla="*/ 225640 w 606862"/>
                <a:gd name="connsiteY14" fmla="*/ 344936 h 565300"/>
                <a:gd name="connsiteX15" fmla="*/ 158236 w 606862"/>
                <a:gd name="connsiteY15" fmla="*/ 344936 h 565300"/>
                <a:gd name="connsiteX16" fmla="*/ 152974 w 606862"/>
                <a:gd name="connsiteY16" fmla="*/ 345134 h 565300"/>
                <a:gd name="connsiteX17" fmla="*/ 150393 w 606862"/>
                <a:gd name="connsiteY17" fmla="*/ 349694 h 565300"/>
                <a:gd name="connsiteX18" fmla="*/ 150393 w 606862"/>
                <a:gd name="connsiteY18" fmla="*/ 381415 h 565300"/>
                <a:gd name="connsiteX19" fmla="*/ 151485 w 606862"/>
                <a:gd name="connsiteY19" fmla="*/ 384687 h 565300"/>
                <a:gd name="connsiteX20" fmla="*/ 166475 w 606862"/>
                <a:gd name="connsiteY20" fmla="*/ 404512 h 565300"/>
                <a:gd name="connsiteX21" fmla="*/ 170644 w 606862"/>
                <a:gd name="connsiteY21" fmla="*/ 406594 h 565300"/>
                <a:gd name="connsiteX22" fmla="*/ 172133 w 606862"/>
                <a:gd name="connsiteY22" fmla="*/ 406396 h 565300"/>
                <a:gd name="connsiteX23" fmla="*/ 176005 w 606862"/>
                <a:gd name="connsiteY23" fmla="*/ 401836 h 565300"/>
                <a:gd name="connsiteX24" fmla="*/ 178884 w 606862"/>
                <a:gd name="connsiteY24" fmla="*/ 373584 h 565300"/>
                <a:gd name="connsiteX25" fmla="*/ 177593 w 606862"/>
                <a:gd name="connsiteY25" fmla="*/ 369421 h 565300"/>
                <a:gd name="connsiteX26" fmla="*/ 175509 w 606862"/>
                <a:gd name="connsiteY26" fmla="*/ 368033 h 565300"/>
                <a:gd name="connsiteX27" fmla="*/ 175509 w 606862"/>
                <a:gd name="connsiteY27" fmla="*/ 354750 h 565300"/>
                <a:gd name="connsiteX28" fmla="*/ 171141 w 606862"/>
                <a:gd name="connsiteY28" fmla="*/ 349595 h 565300"/>
                <a:gd name="connsiteX29" fmla="*/ 158236 w 606862"/>
                <a:gd name="connsiteY29" fmla="*/ 344936 h 565300"/>
                <a:gd name="connsiteX30" fmla="*/ 166475 w 606862"/>
                <a:gd name="connsiteY30" fmla="*/ 201992 h 565300"/>
                <a:gd name="connsiteX31" fmla="*/ 129547 w 606862"/>
                <a:gd name="connsiteY31" fmla="*/ 211706 h 565300"/>
                <a:gd name="connsiteX32" fmla="*/ 126569 w 606862"/>
                <a:gd name="connsiteY32" fmla="*/ 216464 h 565300"/>
                <a:gd name="connsiteX33" fmla="*/ 126569 w 606862"/>
                <a:gd name="connsiteY33" fmla="*/ 225981 h 565300"/>
                <a:gd name="connsiteX34" fmla="*/ 124385 w 606862"/>
                <a:gd name="connsiteY34" fmla="*/ 225981 h 565300"/>
                <a:gd name="connsiteX35" fmla="*/ 119124 w 606862"/>
                <a:gd name="connsiteY35" fmla="*/ 231334 h 565300"/>
                <a:gd name="connsiteX36" fmla="*/ 119124 w 606862"/>
                <a:gd name="connsiteY36" fmla="*/ 240057 h 565300"/>
                <a:gd name="connsiteX37" fmla="*/ 121506 w 606862"/>
                <a:gd name="connsiteY37" fmla="*/ 244518 h 565300"/>
                <a:gd name="connsiteX38" fmla="*/ 126668 w 606862"/>
                <a:gd name="connsiteY38" fmla="*/ 247888 h 565300"/>
                <a:gd name="connsiteX39" fmla="*/ 126966 w 606862"/>
                <a:gd name="connsiteY39" fmla="*/ 250069 h 565300"/>
                <a:gd name="connsiteX40" fmla="*/ 146026 w 606862"/>
                <a:gd name="connsiteY40" fmla="*/ 294083 h 565300"/>
                <a:gd name="connsiteX41" fmla="*/ 177593 w 606862"/>
                <a:gd name="connsiteY41" fmla="*/ 321442 h 565300"/>
                <a:gd name="connsiteX42" fmla="*/ 206183 w 606862"/>
                <a:gd name="connsiteY42" fmla="*/ 321442 h 565300"/>
                <a:gd name="connsiteX43" fmla="*/ 237751 w 606862"/>
                <a:gd name="connsiteY43" fmla="*/ 294083 h 565300"/>
                <a:gd name="connsiteX44" fmla="*/ 256910 w 606862"/>
                <a:gd name="connsiteY44" fmla="*/ 250069 h 565300"/>
                <a:gd name="connsiteX45" fmla="*/ 257207 w 606862"/>
                <a:gd name="connsiteY45" fmla="*/ 247888 h 565300"/>
                <a:gd name="connsiteX46" fmla="*/ 262369 w 606862"/>
                <a:gd name="connsiteY46" fmla="*/ 244518 h 565300"/>
                <a:gd name="connsiteX47" fmla="*/ 264752 w 606862"/>
                <a:gd name="connsiteY47" fmla="*/ 240057 h 565300"/>
                <a:gd name="connsiteX48" fmla="*/ 264752 w 606862"/>
                <a:gd name="connsiteY48" fmla="*/ 231334 h 565300"/>
                <a:gd name="connsiteX49" fmla="*/ 259391 w 606862"/>
                <a:gd name="connsiteY49" fmla="*/ 225981 h 565300"/>
                <a:gd name="connsiteX50" fmla="*/ 256513 w 606862"/>
                <a:gd name="connsiteY50" fmla="*/ 225981 h 565300"/>
                <a:gd name="connsiteX51" fmla="*/ 254825 w 606862"/>
                <a:gd name="connsiteY51" fmla="*/ 224197 h 565300"/>
                <a:gd name="connsiteX52" fmla="*/ 249762 w 606862"/>
                <a:gd name="connsiteY52" fmla="*/ 223800 h 565300"/>
                <a:gd name="connsiteX53" fmla="*/ 228717 w 606862"/>
                <a:gd name="connsiteY53" fmla="*/ 228657 h 565300"/>
                <a:gd name="connsiteX54" fmla="*/ 196057 w 606862"/>
                <a:gd name="connsiteY54" fmla="*/ 213788 h 565300"/>
                <a:gd name="connsiteX55" fmla="*/ 166475 w 606862"/>
                <a:gd name="connsiteY55" fmla="*/ 201992 h 565300"/>
                <a:gd name="connsiteX56" fmla="*/ 178487 w 606862"/>
                <a:gd name="connsiteY56" fmla="*/ 100979 h 565300"/>
                <a:gd name="connsiteX57" fmla="*/ 205389 w 606862"/>
                <a:gd name="connsiteY57" fmla="*/ 100979 h 565300"/>
                <a:gd name="connsiteX58" fmla="*/ 288477 w 606862"/>
                <a:gd name="connsiteY58" fmla="*/ 183950 h 565300"/>
                <a:gd name="connsiteX59" fmla="*/ 288477 w 606862"/>
                <a:gd name="connsiteY59" fmla="*/ 210021 h 565300"/>
                <a:gd name="connsiteX60" fmla="*/ 293242 w 606862"/>
                <a:gd name="connsiteY60" fmla="*/ 224890 h 565300"/>
                <a:gd name="connsiteX61" fmla="*/ 293242 w 606862"/>
                <a:gd name="connsiteY61" fmla="*/ 243428 h 565300"/>
                <a:gd name="connsiteX62" fmla="*/ 284109 w 606862"/>
                <a:gd name="connsiteY62" fmla="*/ 262956 h 565300"/>
                <a:gd name="connsiteX63" fmla="*/ 278749 w 606862"/>
                <a:gd name="connsiteY63" fmla="*/ 277132 h 565300"/>
                <a:gd name="connsiteX64" fmla="*/ 260781 w 606862"/>
                <a:gd name="connsiteY64" fmla="*/ 310637 h 565300"/>
                <a:gd name="connsiteX65" fmla="*/ 248670 w 606862"/>
                <a:gd name="connsiteY65" fmla="*/ 326101 h 565300"/>
                <a:gd name="connsiteX66" fmla="*/ 257704 w 606862"/>
                <a:gd name="connsiteY66" fmla="*/ 337303 h 565300"/>
                <a:gd name="connsiteX67" fmla="*/ 316968 w 606862"/>
                <a:gd name="connsiteY67" fmla="*/ 355245 h 565300"/>
                <a:gd name="connsiteX68" fmla="*/ 383875 w 606862"/>
                <a:gd name="connsiteY68" fmla="*/ 549638 h 565300"/>
                <a:gd name="connsiteX69" fmla="*/ 368091 w 606862"/>
                <a:gd name="connsiteY69" fmla="*/ 565300 h 565300"/>
                <a:gd name="connsiteX70" fmla="*/ 15685 w 606862"/>
                <a:gd name="connsiteY70" fmla="*/ 565300 h 565300"/>
                <a:gd name="connsiteX71" fmla="*/ 0 w 606862"/>
                <a:gd name="connsiteY71" fmla="*/ 549638 h 565300"/>
                <a:gd name="connsiteX72" fmla="*/ 199 w 606862"/>
                <a:gd name="connsiteY72" fmla="*/ 547159 h 565300"/>
                <a:gd name="connsiteX73" fmla="*/ 66908 w 606862"/>
                <a:gd name="connsiteY73" fmla="*/ 355245 h 565300"/>
                <a:gd name="connsiteX74" fmla="*/ 126172 w 606862"/>
                <a:gd name="connsiteY74" fmla="*/ 337303 h 565300"/>
                <a:gd name="connsiteX75" fmla="*/ 135205 w 606862"/>
                <a:gd name="connsiteY75" fmla="*/ 326101 h 565300"/>
                <a:gd name="connsiteX76" fmla="*/ 123094 w 606862"/>
                <a:gd name="connsiteY76" fmla="*/ 310637 h 565300"/>
                <a:gd name="connsiteX77" fmla="*/ 105127 w 606862"/>
                <a:gd name="connsiteY77" fmla="*/ 277132 h 565300"/>
                <a:gd name="connsiteX78" fmla="*/ 99766 w 606862"/>
                <a:gd name="connsiteY78" fmla="*/ 262956 h 565300"/>
                <a:gd name="connsiteX79" fmla="*/ 90633 w 606862"/>
                <a:gd name="connsiteY79" fmla="*/ 243428 h 565300"/>
                <a:gd name="connsiteX80" fmla="*/ 90633 w 606862"/>
                <a:gd name="connsiteY80" fmla="*/ 224890 h 565300"/>
                <a:gd name="connsiteX81" fmla="*/ 95398 w 606862"/>
                <a:gd name="connsiteY81" fmla="*/ 210021 h 565300"/>
                <a:gd name="connsiteX82" fmla="*/ 95398 w 606862"/>
                <a:gd name="connsiteY82" fmla="*/ 183950 h 565300"/>
                <a:gd name="connsiteX83" fmla="*/ 178487 w 606862"/>
                <a:gd name="connsiteY83" fmla="*/ 100979 h 565300"/>
                <a:gd name="connsiteX84" fmla="*/ 479606 w 606862"/>
                <a:gd name="connsiteY84" fmla="*/ 93305 h 565300"/>
                <a:gd name="connsiteX85" fmla="*/ 497278 w 606862"/>
                <a:gd name="connsiteY85" fmla="*/ 106483 h 565300"/>
                <a:gd name="connsiteX86" fmla="*/ 506710 w 606862"/>
                <a:gd name="connsiteY86" fmla="*/ 172472 h 565300"/>
                <a:gd name="connsiteX87" fmla="*/ 493505 w 606862"/>
                <a:gd name="connsiteY87" fmla="*/ 190109 h 565300"/>
                <a:gd name="connsiteX88" fmla="*/ 491222 w 606862"/>
                <a:gd name="connsiteY88" fmla="*/ 190208 h 565300"/>
                <a:gd name="connsiteX89" fmla="*/ 475833 w 606862"/>
                <a:gd name="connsiteY89" fmla="*/ 176832 h 565300"/>
                <a:gd name="connsiteX90" fmla="*/ 471862 w 606862"/>
                <a:gd name="connsiteY90" fmla="*/ 148989 h 565300"/>
                <a:gd name="connsiteX91" fmla="*/ 424107 w 606862"/>
                <a:gd name="connsiteY91" fmla="*/ 213789 h 565300"/>
                <a:gd name="connsiteX92" fmla="*/ 405244 w 606862"/>
                <a:gd name="connsiteY92" fmla="*/ 218843 h 565300"/>
                <a:gd name="connsiteX93" fmla="*/ 327506 w 606862"/>
                <a:gd name="connsiteY93" fmla="*/ 184758 h 565300"/>
                <a:gd name="connsiteX94" fmla="*/ 323237 w 606862"/>
                <a:gd name="connsiteY94" fmla="*/ 189415 h 565300"/>
                <a:gd name="connsiteX95" fmla="*/ 316486 w 606862"/>
                <a:gd name="connsiteY95" fmla="*/ 152061 h 565300"/>
                <a:gd name="connsiteX96" fmla="*/ 329790 w 606862"/>
                <a:gd name="connsiteY96" fmla="*/ 151665 h 565300"/>
                <a:gd name="connsiteX97" fmla="*/ 406336 w 606862"/>
                <a:gd name="connsiteY97" fmla="*/ 185254 h 565300"/>
                <a:gd name="connsiteX98" fmla="*/ 447538 w 606862"/>
                <a:gd name="connsiteY98" fmla="*/ 129371 h 565300"/>
                <a:gd name="connsiteX99" fmla="*/ 417952 w 606862"/>
                <a:gd name="connsiteY99" fmla="*/ 133632 h 565300"/>
                <a:gd name="connsiteX100" fmla="*/ 400280 w 606862"/>
                <a:gd name="connsiteY100" fmla="*/ 120355 h 565300"/>
                <a:gd name="connsiteX101" fmla="*/ 413484 w 606862"/>
                <a:gd name="connsiteY101" fmla="*/ 102718 h 565300"/>
                <a:gd name="connsiteX102" fmla="*/ 183273 w 606862"/>
                <a:gd name="connsiteY102" fmla="*/ 0 h 565300"/>
                <a:gd name="connsiteX103" fmla="*/ 580456 w 606862"/>
                <a:gd name="connsiteY103" fmla="*/ 0 h 565300"/>
                <a:gd name="connsiteX104" fmla="*/ 606862 w 606862"/>
                <a:gd name="connsiteY104" fmla="*/ 26468 h 565300"/>
                <a:gd name="connsiteX105" fmla="*/ 594850 w 606862"/>
                <a:gd name="connsiteY105" fmla="*/ 48575 h 565300"/>
                <a:gd name="connsiteX106" fmla="*/ 594850 w 606862"/>
                <a:gd name="connsiteY106" fmla="*/ 299675 h 565300"/>
                <a:gd name="connsiteX107" fmla="*/ 577776 w 606862"/>
                <a:gd name="connsiteY107" fmla="*/ 316627 h 565300"/>
                <a:gd name="connsiteX108" fmla="*/ 304086 w 606862"/>
                <a:gd name="connsiteY108" fmla="*/ 316627 h 565300"/>
                <a:gd name="connsiteX109" fmla="*/ 310439 w 606862"/>
                <a:gd name="connsiteY109" fmla="*/ 302154 h 565300"/>
                <a:gd name="connsiteX110" fmla="*/ 314410 w 606862"/>
                <a:gd name="connsiteY110" fmla="*/ 292340 h 565300"/>
                <a:gd name="connsiteX111" fmla="*/ 320962 w 606862"/>
                <a:gd name="connsiteY111" fmla="*/ 282625 h 565300"/>
                <a:gd name="connsiteX112" fmla="*/ 560801 w 606862"/>
                <a:gd name="connsiteY112" fmla="*/ 282625 h 565300"/>
                <a:gd name="connsiteX113" fmla="*/ 560801 w 606862"/>
                <a:gd name="connsiteY113" fmla="*/ 52837 h 565300"/>
                <a:gd name="connsiteX114" fmla="*/ 203028 w 606862"/>
                <a:gd name="connsiteY114" fmla="*/ 52837 h 565300"/>
                <a:gd name="connsiteX115" fmla="*/ 203028 w 606862"/>
                <a:gd name="connsiteY115" fmla="*/ 71871 h 565300"/>
                <a:gd name="connsiteX116" fmla="*/ 174835 w 606862"/>
                <a:gd name="connsiteY116" fmla="*/ 71871 h 565300"/>
                <a:gd name="connsiteX117" fmla="*/ 168879 w 606862"/>
                <a:gd name="connsiteY117" fmla="*/ 72069 h 565300"/>
                <a:gd name="connsiteX118" fmla="*/ 168879 w 606862"/>
                <a:gd name="connsiteY118" fmla="*/ 48575 h 565300"/>
                <a:gd name="connsiteX119" fmla="*/ 156867 w 606862"/>
                <a:gd name="connsiteY119" fmla="*/ 26468 h 565300"/>
                <a:gd name="connsiteX120" fmla="*/ 183273 w 606862"/>
                <a:gd name="connsiteY120" fmla="*/ 0 h 56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606862" h="565300">
                  <a:moveTo>
                    <a:pt x="225640" y="344936"/>
                  </a:moveTo>
                  <a:cubicBezTo>
                    <a:pt x="221272" y="347315"/>
                    <a:pt x="216904" y="348802"/>
                    <a:pt x="212735" y="349595"/>
                  </a:cubicBezTo>
                  <a:cubicBezTo>
                    <a:pt x="210154" y="349991"/>
                    <a:pt x="208268" y="352172"/>
                    <a:pt x="208268" y="354750"/>
                  </a:cubicBezTo>
                  <a:lnTo>
                    <a:pt x="208268" y="368033"/>
                  </a:lnTo>
                  <a:cubicBezTo>
                    <a:pt x="207573" y="368330"/>
                    <a:pt x="206878" y="368826"/>
                    <a:pt x="206282" y="369421"/>
                  </a:cubicBezTo>
                  <a:cubicBezTo>
                    <a:pt x="205289" y="370511"/>
                    <a:pt x="204793" y="371998"/>
                    <a:pt x="204992" y="373584"/>
                  </a:cubicBezTo>
                  <a:lnTo>
                    <a:pt x="207870" y="401836"/>
                  </a:lnTo>
                  <a:cubicBezTo>
                    <a:pt x="208069" y="404017"/>
                    <a:pt x="209657" y="405801"/>
                    <a:pt x="211742" y="406396"/>
                  </a:cubicBezTo>
                  <a:cubicBezTo>
                    <a:pt x="212238" y="406495"/>
                    <a:pt x="212735" y="406594"/>
                    <a:pt x="213132" y="406594"/>
                  </a:cubicBezTo>
                  <a:cubicBezTo>
                    <a:pt x="214819" y="406594"/>
                    <a:pt x="216408" y="405801"/>
                    <a:pt x="217400" y="404413"/>
                  </a:cubicBezTo>
                  <a:lnTo>
                    <a:pt x="232390" y="384687"/>
                  </a:lnTo>
                  <a:cubicBezTo>
                    <a:pt x="233085" y="383695"/>
                    <a:pt x="233383" y="382605"/>
                    <a:pt x="233482" y="381415"/>
                  </a:cubicBezTo>
                  <a:lnTo>
                    <a:pt x="233383" y="349694"/>
                  </a:lnTo>
                  <a:cubicBezTo>
                    <a:pt x="233383" y="347811"/>
                    <a:pt x="232489" y="346026"/>
                    <a:pt x="230901" y="345134"/>
                  </a:cubicBezTo>
                  <a:cubicBezTo>
                    <a:pt x="229213" y="344143"/>
                    <a:pt x="227228" y="344143"/>
                    <a:pt x="225640" y="344936"/>
                  </a:cubicBezTo>
                  <a:close/>
                  <a:moveTo>
                    <a:pt x="158236" y="344936"/>
                  </a:moveTo>
                  <a:cubicBezTo>
                    <a:pt x="156548" y="344044"/>
                    <a:pt x="154563" y="344143"/>
                    <a:pt x="152974" y="345134"/>
                  </a:cubicBezTo>
                  <a:cubicBezTo>
                    <a:pt x="151386" y="346026"/>
                    <a:pt x="150393" y="347811"/>
                    <a:pt x="150393" y="349694"/>
                  </a:cubicBezTo>
                  <a:lnTo>
                    <a:pt x="150393" y="381415"/>
                  </a:lnTo>
                  <a:cubicBezTo>
                    <a:pt x="150393" y="382605"/>
                    <a:pt x="150791" y="383695"/>
                    <a:pt x="151485" y="384687"/>
                  </a:cubicBezTo>
                  <a:lnTo>
                    <a:pt x="166475" y="404512"/>
                  </a:lnTo>
                  <a:cubicBezTo>
                    <a:pt x="167468" y="405801"/>
                    <a:pt x="169056" y="406594"/>
                    <a:pt x="170644" y="406594"/>
                  </a:cubicBezTo>
                  <a:cubicBezTo>
                    <a:pt x="171141" y="406594"/>
                    <a:pt x="171637" y="406495"/>
                    <a:pt x="172133" y="406396"/>
                  </a:cubicBezTo>
                  <a:cubicBezTo>
                    <a:pt x="174218" y="405801"/>
                    <a:pt x="175707" y="404017"/>
                    <a:pt x="176005" y="401836"/>
                  </a:cubicBezTo>
                  <a:lnTo>
                    <a:pt x="178884" y="373584"/>
                  </a:lnTo>
                  <a:cubicBezTo>
                    <a:pt x="179082" y="372097"/>
                    <a:pt x="178586" y="370511"/>
                    <a:pt x="177593" y="369421"/>
                  </a:cubicBezTo>
                  <a:cubicBezTo>
                    <a:pt x="176998" y="368826"/>
                    <a:pt x="176303" y="368330"/>
                    <a:pt x="175509" y="368033"/>
                  </a:cubicBezTo>
                  <a:lnTo>
                    <a:pt x="175509" y="354750"/>
                  </a:lnTo>
                  <a:cubicBezTo>
                    <a:pt x="175509" y="352172"/>
                    <a:pt x="173722" y="349991"/>
                    <a:pt x="171141" y="349595"/>
                  </a:cubicBezTo>
                  <a:cubicBezTo>
                    <a:pt x="166971" y="348802"/>
                    <a:pt x="162604" y="347216"/>
                    <a:pt x="158236" y="344936"/>
                  </a:cubicBezTo>
                  <a:close/>
                  <a:moveTo>
                    <a:pt x="166475" y="201992"/>
                  </a:moveTo>
                  <a:cubicBezTo>
                    <a:pt x="151386" y="201992"/>
                    <a:pt x="136893" y="208038"/>
                    <a:pt x="129547" y="211706"/>
                  </a:cubicBezTo>
                  <a:cubicBezTo>
                    <a:pt x="127760" y="212598"/>
                    <a:pt x="126569" y="214482"/>
                    <a:pt x="126569" y="216464"/>
                  </a:cubicBezTo>
                  <a:lnTo>
                    <a:pt x="126569" y="225981"/>
                  </a:lnTo>
                  <a:lnTo>
                    <a:pt x="124385" y="225981"/>
                  </a:lnTo>
                  <a:cubicBezTo>
                    <a:pt x="121506" y="225981"/>
                    <a:pt x="119124" y="228360"/>
                    <a:pt x="119124" y="231334"/>
                  </a:cubicBezTo>
                  <a:lnTo>
                    <a:pt x="119124" y="240057"/>
                  </a:lnTo>
                  <a:cubicBezTo>
                    <a:pt x="119124" y="241842"/>
                    <a:pt x="120017" y="243527"/>
                    <a:pt x="121506" y="244518"/>
                  </a:cubicBezTo>
                  <a:lnTo>
                    <a:pt x="126668" y="247888"/>
                  </a:lnTo>
                  <a:lnTo>
                    <a:pt x="126966" y="250069"/>
                  </a:lnTo>
                  <a:cubicBezTo>
                    <a:pt x="128653" y="262758"/>
                    <a:pt x="135801" y="279213"/>
                    <a:pt x="146026" y="294083"/>
                  </a:cubicBezTo>
                  <a:cubicBezTo>
                    <a:pt x="159129" y="313016"/>
                    <a:pt x="171339" y="321442"/>
                    <a:pt x="177593" y="321442"/>
                  </a:cubicBezTo>
                  <a:lnTo>
                    <a:pt x="206183" y="321442"/>
                  </a:lnTo>
                  <a:cubicBezTo>
                    <a:pt x="212536" y="321442"/>
                    <a:pt x="224746" y="313016"/>
                    <a:pt x="237751" y="294083"/>
                  </a:cubicBezTo>
                  <a:cubicBezTo>
                    <a:pt x="248075" y="279213"/>
                    <a:pt x="255222" y="262758"/>
                    <a:pt x="256910" y="250069"/>
                  </a:cubicBezTo>
                  <a:lnTo>
                    <a:pt x="257207" y="247888"/>
                  </a:lnTo>
                  <a:lnTo>
                    <a:pt x="262369" y="244518"/>
                  </a:lnTo>
                  <a:cubicBezTo>
                    <a:pt x="263858" y="243527"/>
                    <a:pt x="264752" y="241842"/>
                    <a:pt x="264752" y="240057"/>
                  </a:cubicBezTo>
                  <a:lnTo>
                    <a:pt x="264752" y="231334"/>
                  </a:lnTo>
                  <a:cubicBezTo>
                    <a:pt x="264752" y="228360"/>
                    <a:pt x="262369" y="225981"/>
                    <a:pt x="259391" y="225981"/>
                  </a:cubicBezTo>
                  <a:lnTo>
                    <a:pt x="256513" y="225981"/>
                  </a:lnTo>
                  <a:cubicBezTo>
                    <a:pt x="256115" y="225287"/>
                    <a:pt x="255520" y="224692"/>
                    <a:pt x="254825" y="224197"/>
                  </a:cubicBezTo>
                  <a:cubicBezTo>
                    <a:pt x="253336" y="223205"/>
                    <a:pt x="251450" y="223106"/>
                    <a:pt x="249762" y="223800"/>
                  </a:cubicBezTo>
                  <a:cubicBezTo>
                    <a:pt x="242615" y="226972"/>
                    <a:pt x="235567" y="228657"/>
                    <a:pt x="228717" y="228657"/>
                  </a:cubicBezTo>
                  <a:cubicBezTo>
                    <a:pt x="216606" y="228657"/>
                    <a:pt x="205587" y="223602"/>
                    <a:pt x="196057" y="213788"/>
                  </a:cubicBezTo>
                  <a:cubicBezTo>
                    <a:pt x="188414" y="205957"/>
                    <a:pt x="178487" y="201992"/>
                    <a:pt x="166475" y="201992"/>
                  </a:cubicBezTo>
                  <a:close/>
                  <a:moveTo>
                    <a:pt x="178487" y="100979"/>
                  </a:moveTo>
                  <a:lnTo>
                    <a:pt x="205389" y="100979"/>
                  </a:lnTo>
                  <a:cubicBezTo>
                    <a:pt x="251152" y="100979"/>
                    <a:pt x="288477" y="138152"/>
                    <a:pt x="288477" y="183950"/>
                  </a:cubicBezTo>
                  <a:lnTo>
                    <a:pt x="288477" y="210021"/>
                  </a:lnTo>
                  <a:cubicBezTo>
                    <a:pt x="291555" y="214383"/>
                    <a:pt x="293242" y="219537"/>
                    <a:pt x="293242" y="224890"/>
                  </a:cubicBezTo>
                  <a:lnTo>
                    <a:pt x="293242" y="243428"/>
                  </a:lnTo>
                  <a:cubicBezTo>
                    <a:pt x="293242" y="250961"/>
                    <a:pt x="289867" y="258198"/>
                    <a:pt x="284109" y="262956"/>
                  </a:cubicBezTo>
                  <a:cubicBezTo>
                    <a:pt x="282620" y="267615"/>
                    <a:pt x="280834" y="272373"/>
                    <a:pt x="278749" y="277132"/>
                  </a:cubicBezTo>
                  <a:cubicBezTo>
                    <a:pt x="274381" y="288234"/>
                    <a:pt x="268226" y="299832"/>
                    <a:pt x="260781" y="310637"/>
                  </a:cubicBezTo>
                  <a:cubicBezTo>
                    <a:pt x="257704" y="315197"/>
                    <a:pt x="253534" y="320649"/>
                    <a:pt x="248670" y="326101"/>
                  </a:cubicBezTo>
                  <a:cubicBezTo>
                    <a:pt x="253137" y="329273"/>
                    <a:pt x="256314" y="332941"/>
                    <a:pt x="257704" y="337303"/>
                  </a:cubicBezTo>
                  <a:lnTo>
                    <a:pt x="316968" y="355245"/>
                  </a:lnTo>
                  <a:cubicBezTo>
                    <a:pt x="358661" y="367240"/>
                    <a:pt x="383875" y="542104"/>
                    <a:pt x="383875" y="549638"/>
                  </a:cubicBezTo>
                  <a:cubicBezTo>
                    <a:pt x="383875" y="558262"/>
                    <a:pt x="376827" y="565300"/>
                    <a:pt x="368091" y="565300"/>
                  </a:cubicBezTo>
                  <a:lnTo>
                    <a:pt x="15685" y="565300"/>
                  </a:lnTo>
                  <a:cubicBezTo>
                    <a:pt x="7048" y="565300"/>
                    <a:pt x="0" y="558262"/>
                    <a:pt x="0" y="549638"/>
                  </a:cubicBezTo>
                  <a:cubicBezTo>
                    <a:pt x="0" y="548745"/>
                    <a:pt x="100" y="547952"/>
                    <a:pt x="199" y="547159"/>
                  </a:cubicBezTo>
                  <a:cubicBezTo>
                    <a:pt x="199" y="547159"/>
                    <a:pt x="25215" y="367240"/>
                    <a:pt x="66908" y="355245"/>
                  </a:cubicBezTo>
                  <a:lnTo>
                    <a:pt x="126172" y="337303"/>
                  </a:lnTo>
                  <a:cubicBezTo>
                    <a:pt x="127562" y="332941"/>
                    <a:pt x="130738" y="329273"/>
                    <a:pt x="135205" y="326101"/>
                  </a:cubicBezTo>
                  <a:cubicBezTo>
                    <a:pt x="130341" y="320649"/>
                    <a:pt x="126172" y="315197"/>
                    <a:pt x="123094" y="310637"/>
                  </a:cubicBezTo>
                  <a:cubicBezTo>
                    <a:pt x="115649" y="299832"/>
                    <a:pt x="109395" y="288234"/>
                    <a:pt x="105127" y="277132"/>
                  </a:cubicBezTo>
                  <a:cubicBezTo>
                    <a:pt x="103042" y="272373"/>
                    <a:pt x="101255" y="267615"/>
                    <a:pt x="99766" y="262956"/>
                  </a:cubicBezTo>
                  <a:cubicBezTo>
                    <a:pt x="94008" y="258099"/>
                    <a:pt x="90633" y="250961"/>
                    <a:pt x="90633" y="243428"/>
                  </a:cubicBezTo>
                  <a:lnTo>
                    <a:pt x="90633" y="224890"/>
                  </a:lnTo>
                  <a:cubicBezTo>
                    <a:pt x="90633" y="219537"/>
                    <a:pt x="92321" y="214383"/>
                    <a:pt x="95398" y="210021"/>
                  </a:cubicBezTo>
                  <a:lnTo>
                    <a:pt x="95398" y="183950"/>
                  </a:lnTo>
                  <a:cubicBezTo>
                    <a:pt x="95398" y="138152"/>
                    <a:pt x="132624" y="100979"/>
                    <a:pt x="178487" y="100979"/>
                  </a:cubicBezTo>
                  <a:close/>
                  <a:moveTo>
                    <a:pt x="479606" y="93305"/>
                  </a:moveTo>
                  <a:cubicBezTo>
                    <a:pt x="488144" y="92017"/>
                    <a:pt x="496086" y="97962"/>
                    <a:pt x="497278" y="106483"/>
                  </a:cubicBezTo>
                  <a:lnTo>
                    <a:pt x="506710" y="172472"/>
                  </a:lnTo>
                  <a:cubicBezTo>
                    <a:pt x="508000" y="180993"/>
                    <a:pt x="502043" y="188821"/>
                    <a:pt x="493505" y="190109"/>
                  </a:cubicBezTo>
                  <a:cubicBezTo>
                    <a:pt x="492711" y="190208"/>
                    <a:pt x="492016" y="190208"/>
                    <a:pt x="491222" y="190208"/>
                  </a:cubicBezTo>
                  <a:cubicBezTo>
                    <a:pt x="483676" y="190208"/>
                    <a:pt x="476925" y="184659"/>
                    <a:pt x="475833" y="176832"/>
                  </a:cubicBezTo>
                  <a:lnTo>
                    <a:pt x="471862" y="148989"/>
                  </a:lnTo>
                  <a:lnTo>
                    <a:pt x="424107" y="213789"/>
                  </a:lnTo>
                  <a:cubicBezTo>
                    <a:pt x="419739" y="219635"/>
                    <a:pt x="411896" y="221716"/>
                    <a:pt x="405244" y="218843"/>
                  </a:cubicBezTo>
                  <a:lnTo>
                    <a:pt x="327506" y="184758"/>
                  </a:lnTo>
                  <a:lnTo>
                    <a:pt x="323237" y="189415"/>
                  </a:lnTo>
                  <a:cubicBezTo>
                    <a:pt x="322940" y="176336"/>
                    <a:pt x="320557" y="163753"/>
                    <a:pt x="316486" y="152061"/>
                  </a:cubicBezTo>
                  <a:cubicBezTo>
                    <a:pt x="320557" y="149980"/>
                    <a:pt x="325422" y="149782"/>
                    <a:pt x="329790" y="151665"/>
                  </a:cubicBezTo>
                  <a:lnTo>
                    <a:pt x="406336" y="185254"/>
                  </a:lnTo>
                  <a:lnTo>
                    <a:pt x="447538" y="129371"/>
                  </a:lnTo>
                  <a:lnTo>
                    <a:pt x="417952" y="133632"/>
                  </a:lnTo>
                  <a:cubicBezTo>
                    <a:pt x="409414" y="134821"/>
                    <a:pt x="401471" y="128876"/>
                    <a:pt x="400280" y="120355"/>
                  </a:cubicBezTo>
                  <a:cubicBezTo>
                    <a:pt x="398989" y="111834"/>
                    <a:pt x="404946" y="104006"/>
                    <a:pt x="413484" y="102718"/>
                  </a:cubicBezTo>
                  <a:close/>
                  <a:moveTo>
                    <a:pt x="183273" y="0"/>
                  </a:moveTo>
                  <a:lnTo>
                    <a:pt x="580456" y="0"/>
                  </a:lnTo>
                  <a:cubicBezTo>
                    <a:pt x="595049" y="0"/>
                    <a:pt x="606862" y="11896"/>
                    <a:pt x="606862" y="26468"/>
                  </a:cubicBezTo>
                  <a:cubicBezTo>
                    <a:pt x="606862" y="35687"/>
                    <a:pt x="602097" y="43816"/>
                    <a:pt x="594850" y="48575"/>
                  </a:cubicBezTo>
                  <a:lnTo>
                    <a:pt x="594850" y="299675"/>
                  </a:lnTo>
                  <a:cubicBezTo>
                    <a:pt x="594850" y="308994"/>
                    <a:pt x="587207" y="316627"/>
                    <a:pt x="577776" y="316627"/>
                  </a:cubicBezTo>
                  <a:lnTo>
                    <a:pt x="304086" y="316627"/>
                  </a:lnTo>
                  <a:cubicBezTo>
                    <a:pt x="306468" y="311770"/>
                    <a:pt x="308652" y="306912"/>
                    <a:pt x="310439" y="302154"/>
                  </a:cubicBezTo>
                  <a:cubicBezTo>
                    <a:pt x="311928" y="298882"/>
                    <a:pt x="313219" y="295611"/>
                    <a:pt x="314410" y="292340"/>
                  </a:cubicBezTo>
                  <a:cubicBezTo>
                    <a:pt x="316991" y="289267"/>
                    <a:pt x="319175" y="285995"/>
                    <a:pt x="320962" y="282625"/>
                  </a:cubicBezTo>
                  <a:lnTo>
                    <a:pt x="560801" y="282625"/>
                  </a:lnTo>
                  <a:lnTo>
                    <a:pt x="560801" y="52837"/>
                  </a:lnTo>
                  <a:lnTo>
                    <a:pt x="203028" y="52837"/>
                  </a:lnTo>
                  <a:lnTo>
                    <a:pt x="203028" y="71871"/>
                  </a:lnTo>
                  <a:lnTo>
                    <a:pt x="174835" y="71871"/>
                  </a:lnTo>
                  <a:cubicBezTo>
                    <a:pt x="172850" y="71871"/>
                    <a:pt x="170864" y="71970"/>
                    <a:pt x="168879" y="72069"/>
                  </a:cubicBezTo>
                  <a:lnTo>
                    <a:pt x="168879" y="48575"/>
                  </a:lnTo>
                  <a:cubicBezTo>
                    <a:pt x="161632" y="43816"/>
                    <a:pt x="156867" y="35687"/>
                    <a:pt x="156867" y="26468"/>
                  </a:cubicBezTo>
                  <a:cubicBezTo>
                    <a:pt x="156867" y="11896"/>
                    <a:pt x="168680" y="0"/>
                    <a:pt x="183273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067A5D43-3AE7-4A50-88B3-F8BFA409815E}"/>
                </a:ext>
              </a:extLst>
            </p:cNvPr>
            <p:cNvSpPr/>
            <p:nvPr/>
          </p:nvSpPr>
          <p:spPr bwMode="auto">
            <a:xfrm>
              <a:off x="8720603" y="3018244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24CC703E-82F0-46D0-8F9A-41774D2E905A}"/>
                </a:ext>
              </a:extLst>
            </p:cNvPr>
            <p:cNvSpPr txBox="1"/>
            <p:nvPr/>
          </p:nvSpPr>
          <p:spPr bwMode="auto">
            <a:xfrm>
              <a:off x="8720603" y="2276455"/>
              <a:ext cx="2798297" cy="463005"/>
            </a:xfrm>
            <a:prstGeom prst="roundRect">
              <a:avLst/>
            </a:prstGeom>
            <a:noFill/>
            <a:ln w="12700">
              <a:solidFill>
                <a:schemeClr val="accent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en-US" altLang="zh-CN" b="1" i="1" dirty="0">
                  <a:cs typeface="+mn-ea"/>
                  <a:sym typeface="+mn-lt"/>
                </a:rPr>
                <a:t>02. …</a:t>
              </a:r>
              <a:r>
                <a:rPr lang="zh-CN" altLang="en-US" b="1" i="1" dirty="0">
                  <a:cs typeface="+mn-ea"/>
                  <a:sym typeface="+mn-lt"/>
                </a:rPr>
                <a:t>亮点</a:t>
              </a:r>
              <a:endParaRPr lang="en-US" altLang="zh-CN" b="1" i="1" dirty="0">
                <a:cs typeface="+mn-ea"/>
                <a:sym typeface="+mn-lt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D019C5C3-06A3-449F-A0E1-DD89478AB8F2}"/>
                </a:ext>
              </a:extLst>
            </p:cNvPr>
            <p:cNvSpPr/>
            <p:nvPr/>
          </p:nvSpPr>
          <p:spPr bwMode="auto">
            <a:xfrm>
              <a:off x="8720603" y="3953624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07C4A63F-21F8-4E20-A6D4-76354819746B}"/>
                </a:ext>
              </a:extLst>
            </p:cNvPr>
            <p:cNvSpPr/>
            <p:nvPr/>
          </p:nvSpPr>
          <p:spPr bwMode="auto">
            <a:xfrm>
              <a:off x="8720603" y="4889005"/>
              <a:ext cx="2798297" cy="86240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36BE80CC-1889-46FD-8781-FDC0BA07B38D}"/>
                </a:ext>
              </a:extLst>
            </p:cNvPr>
            <p:cNvGrpSpPr/>
            <p:nvPr/>
          </p:nvGrpSpPr>
          <p:grpSpPr>
            <a:xfrm>
              <a:off x="673100" y="3917136"/>
              <a:ext cx="2798297" cy="935380"/>
              <a:chOff x="673100" y="3917136"/>
              <a:chExt cx="2798297" cy="935380"/>
            </a:xfrm>
          </p:grpSpPr>
          <p:cxnSp>
            <p:nvCxnSpPr>
              <p:cNvPr id="20" name="直接连接符 19">
                <a:extLst>
                  <a:ext uri="{FF2B5EF4-FFF2-40B4-BE49-F238E27FC236}">
                    <a16:creationId xmlns:a16="http://schemas.microsoft.com/office/drawing/2014/main" id="{6E2923CF-CD14-400E-8715-ADFEDA0FBEEB}"/>
                  </a:ext>
                </a:extLst>
              </p:cNvPr>
              <p:cNvCxnSpPr/>
              <p:nvPr/>
            </p:nvCxnSpPr>
            <p:spPr>
              <a:xfrm>
                <a:off x="673100" y="3917136"/>
                <a:ext cx="2798297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321DB32C-A2D5-4F3E-9BF3-551FBC1EA193}"/>
                  </a:ext>
                </a:extLst>
              </p:cNvPr>
              <p:cNvCxnSpPr/>
              <p:nvPr/>
            </p:nvCxnSpPr>
            <p:spPr>
              <a:xfrm>
                <a:off x="673100" y="4852516"/>
                <a:ext cx="2798297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40CDCFD-CC05-4B05-A6C8-AA9DFCFC0D8B}"/>
                </a:ext>
              </a:extLst>
            </p:cNvPr>
            <p:cNvSpPr/>
            <p:nvPr/>
          </p:nvSpPr>
          <p:spPr>
            <a:xfrm>
              <a:off x="9830358" y="1650371"/>
              <a:ext cx="578786" cy="539146"/>
            </a:xfrm>
            <a:custGeom>
              <a:avLst/>
              <a:gdLst>
                <a:gd name="connsiteX0" fmla="*/ 225640 w 606862"/>
                <a:gd name="connsiteY0" fmla="*/ 344936 h 565300"/>
                <a:gd name="connsiteX1" fmla="*/ 212735 w 606862"/>
                <a:gd name="connsiteY1" fmla="*/ 349595 h 565300"/>
                <a:gd name="connsiteX2" fmla="*/ 208268 w 606862"/>
                <a:gd name="connsiteY2" fmla="*/ 354750 h 565300"/>
                <a:gd name="connsiteX3" fmla="*/ 208268 w 606862"/>
                <a:gd name="connsiteY3" fmla="*/ 368033 h 565300"/>
                <a:gd name="connsiteX4" fmla="*/ 206282 w 606862"/>
                <a:gd name="connsiteY4" fmla="*/ 369421 h 565300"/>
                <a:gd name="connsiteX5" fmla="*/ 204992 w 606862"/>
                <a:gd name="connsiteY5" fmla="*/ 373584 h 565300"/>
                <a:gd name="connsiteX6" fmla="*/ 207870 w 606862"/>
                <a:gd name="connsiteY6" fmla="*/ 401836 h 565300"/>
                <a:gd name="connsiteX7" fmla="*/ 211742 w 606862"/>
                <a:gd name="connsiteY7" fmla="*/ 406396 h 565300"/>
                <a:gd name="connsiteX8" fmla="*/ 213132 w 606862"/>
                <a:gd name="connsiteY8" fmla="*/ 406594 h 565300"/>
                <a:gd name="connsiteX9" fmla="*/ 217400 w 606862"/>
                <a:gd name="connsiteY9" fmla="*/ 404413 h 565300"/>
                <a:gd name="connsiteX10" fmla="*/ 232390 w 606862"/>
                <a:gd name="connsiteY10" fmla="*/ 384687 h 565300"/>
                <a:gd name="connsiteX11" fmla="*/ 233482 w 606862"/>
                <a:gd name="connsiteY11" fmla="*/ 381415 h 565300"/>
                <a:gd name="connsiteX12" fmla="*/ 233383 w 606862"/>
                <a:gd name="connsiteY12" fmla="*/ 349694 h 565300"/>
                <a:gd name="connsiteX13" fmla="*/ 230901 w 606862"/>
                <a:gd name="connsiteY13" fmla="*/ 345134 h 565300"/>
                <a:gd name="connsiteX14" fmla="*/ 225640 w 606862"/>
                <a:gd name="connsiteY14" fmla="*/ 344936 h 565300"/>
                <a:gd name="connsiteX15" fmla="*/ 158236 w 606862"/>
                <a:gd name="connsiteY15" fmla="*/ 344936 h 565300"/>
                <a:gd name="connsiteX16" fmla="*/ 152974 w 606862"/>
                <a:gd name="connsiteY16" fmla="*/ 345134 h 565300"/>
                <a:gd name="connsiteX17" fmla="*/ 150393 w 606862"/>
                <a:gd name="connsiteY17" fmla="*/ 349694 h 565300"/>
                <a:gd name="connsiteX18" fmla="*/ 150393 w 606862"/>
                <a:gd name="connsiteY18" fmla="*/ 381415 h 565300"/>
                <a:gd name="connsiteX19" fmla="*/ 151485 w 606862"/>
                <a:gd name="connsiteY19" fmla="*/ 384687 h 565300"/>
                <a:gd name="connsiteX20" fmla="*/ 166475 w 606862"/>
                <a:gd name="connsiteY20" fmla="*/ 404512 h 565300"/>
                <a:gd name="connsiteX21" fmla="*/ 170644 w 606862"/>
                <a:gd name="connsiteY21" fmla="*/ 406594 h 565300"/>
                <a:gd name="connsiteX22" fmla="*/ 172133 w 606862"/>
                <a:gd name="connsiteY22" fmla="*/ 406396 h 565300"/>
                <a:gd name="connsiteX23" fmla="*/ 176005 w 606862"/>
                <a:gd name="connsiteY23" fmla="*/ 401836 h 565300"/>
                <a:gd name="connsiteX24" fmla="*/ 178884 w 606862"/>
                <a:gd name="connsiteY24" fmla="*/ 373584 h 565300"/>
                <a:gd name="connsiteX25" fmla="*/ 177593 w 606862"/>
                <a:gd name="connsiteY25" fmla="*/ 369421 h 565300"/>
                <a:gd name="connsiteX26" fmla="*/ 175509 w 606862"/>
                <a:gd name="connsiteY26" fmla="*/ 368033 h 565300"/>
                <a:gd name="connsiteX27" fmla="*/ 175509 w 606862"/>
                <a:gd name="connsiteY27" fmla="*/ 354750 h 565300"/>
                <a:gd name="connsiteX28" fmla="*/ 171141 w 606862"/>
                <a:gd name="connsiteY28" fmla="*/ 349595 h 565300"/>
                <a:gd name="connsiteX29" fmla="*/ 158236 w 606862"/>
                <a:gd name="connsiteY29" fmla="*/ 344936 h 565300"/>
                <a:gd name="connsiteX30" fmla="*/ 166475 w 606862"/>
                <a:gd name="connsiteY30" fmla="*/ 201992 h 565300"/>
                <a:gd name="connsiteX31" fmla="*/ 129547 w 606862"/>
                <a:gd name="connsiteY31" fmla="*/ 211706 h 565300"/>
                <a:gd name="connsiteX32" fmla="*/ 126569 w 606862"/>
                <a:gd name="connsiteY32" fmla="*/ 216464 h 565300"/>
                <a:gd name="connsiteX33" fmla="*/ 126569 w 606862"/>
                <a:gd name="connsiteY33" fmla="*/ 225981 h 565300"/>
                <a:gd name="connsiteX34" fmla="*/ 124385 w 606862"/>
                <a:gd name="connsiteY34" fmla="*/ 225981 h 565300"/>
                <a:gd name="connsiteX35" fmla="*/ 119124 w 606862"/>
                <a:gd name="connsiteY35" fmla="*/ 231334 h 565300"/>
                <a:gd name="connsiteX36" fmla="*/ 119124 w 606862"/>
                <a:gd name="connsiteY36" fmla="*/ 240057 h 565300"/>
                <a:gd name="connsiteX37" fmla="*/ 121506 w 606862"/>
                <a:gd name="connsiteY37" fmla="*/ 244518 h 565300"/>
                <a:gd name="connsiteX38" fmla="*/ 126668 w 606862"/>
                <a:gd name="connsiteY38" fmla="*/ 247888 h 565300"/>
                <a:gd name="connsiteX39" fmla="*/ 126966 w 606862"/>
                <a:gd name="connsiteY39" fmla="*/ 250069 h 565300"/>
                <a:gd name="connsiteX40" fmla="*/ 146026 w 606862"/>
                <a:gd name="connsiteY40" fmla="*/ 294083 h 565300"/>
                <a:gd name="connsiteX41" fmla="*/ 177593 w 606862"/>
                <a:gd name="connsiteY41" fmla="*/ 321442 h 565300"/>
                <a:gd name="connsiteX42" fmla="*/ 206183 w 606862"/>
                <a:gd name="connsiteY42" fmla="*/ 321442 h 565300"/>
                <a:gd name="connsiteX43" fmla="*/ 237751 w 606862"/>
                <a:gd name="connsiteY43" fmla="*/ 294083 h 565300"/>
                <a:gd name="connsiteX44" fmla="*/ 256910 w 606862"/>
                <a:gd name="connsiteY44" fmla="*/ 250069 h 565300"/>
                <a:gd name="connsiteX45" fmla="*/ 257207 w 606862"/>
                <a:gd name="connsiteY45" fmla="*/ 247888 h 565300"/>
                <a:gd name="connsiteX46" fmla="*/ 262369 w 606862"/>
                <a:gd name="connsiteY46" fmla="*/ 244518 h 565300"/>
                <a:gd name="connsiteX47" fmla="*/ 264752 w 606862"/>
                <a:gd name="connsiteY47" fmla="*/ 240057 h 565300"/>
                <a:gd name="connsiteX48" fmla="*/ 264752 w 606862"/>
                <a:gd name="connsiteY48" fmla="*/ 231334 h 565300"/>
                <a:gd name="connsiteX49" fmla="*/ 259391 w 606862"/>
                <a:gd name="connsiteY49" fmla="*/ 225981 h 565300"/>
                <a:gd name="connsiteX50" fmla="*/ 256513 w 606862"/>
                <a:gd name="connsiteY50" fmla="*/ 225981 h 565300"/>
                <a:gd name="connsiteX51" fmla="*/ 254825 w 606862"/>
                <a:gd name="connsiteY51" fmla="*/ 224197 h 565300"/>
                <a:gd name="connsiteX52" fmla="*/ 249762 w 606862"/>
                <a:gd name="connsiteY52" fmla="*/ 223800 h 565300"/>
                <a:gd name="connsiteX53" fmla="*/ 228717 w 606862"/>
                <a:gd name="connsiteY53" fmla="*/ 228657 h 565300"/>
                <a:gd name="connsiteX54" fmla="*/ 196057 w 606862"/>
                <a:gd name="connsiteY54" fmla="*/ 213788 h 565300"/>
                <a:gd name="connsiteX55" fmla="*/ 166475 w 606862"/>
                <a:gd name="connsiteY55" fmla="*/ 201992 h 565300"/>
                <a:gd name="connsiteX56" fmla="*/ 178487 w 606862"/>
                <a:gd name="connsiteY56" fmla="*/ 100979 h 565300"/>
                <a:gd name="connsiteX57" fmla="*/ 205389 w 606862"/>
                <a:gd name="connsiteY57" fmla="*/ 100979 h 565300"/>
                <a:gd name="connsiteX58" fmla="*/ 288477 w 606862"/>
                <a:gd name="connsiteY58" fmla="*/ 183950 h 565300"/>
                <a:gd name="connsiteX59" fmla="*/ 288477 w 606862"/>
                <a:gd name="connsiteY59" fmla="*/ 210021 h 565300"/>
                <a:gd name="connsiteX60" fmla="*/ 293242 w 606862"/>
                <a:gd name="connsiteY60" fmla="*/ 224890 h 565300"/>
                <a:gd name="connsiteX61" fmla="*/ 293242 w 606862"/>
                <a:gd name="connsiteY61" fmla="*/ 243428 h 565300"/>
                <a:gd name="connsiteX62" fmla="*/ 284109 w 606862"/>
                <a:gd name="connsiteY62" fmla="*/ 262956 h 565300"/>
                <a:gd name="connsiteX63" fmla="*/ 278749 w 606862"/>
                <a:gd name="connsiteY63" fmla="*/ 277132 h 565300"/>
                <a:gd name="connsiteX64" fmla="*/ 260781 w 606862"/>
                <a:gd name="connsiteY64" fmla="*/ 310637 h 565300"/>
                <a:gd name="connsiteX65" fmla="*/ 248670 w 606862"/>
                <a:gd name="connsiteY65" fmla="*/ 326101 h 565300"/>
                <a:gd name="connsiteX66" fmla="*/ 257704 w 606862"/>
                <a:gd name="connsiteY66" fmla="*/ 337303 h 565300"/>
                <a:gd name="connsiteX67" fmla="*/ 316968 w 606862"/>
                <a:gd name="connsiteY67" fmla="*/ 355245 h 565300"/>
                <a:gd name="connsiteX68" fmla="*/ 383875 w 606862"/>
                <a:gd name="connsiteY68" fmla="*/ 549638 h 565300"/>
                <a:gd name="connsiteX69" fmla="*/ 368091 w 606862"/>
                <a:gd name="connsiteY69" fmla="*/ 565300 h 565300"/>
                <a:gd name="connsiteX70" fmla="*/ 15685 w 606862"/>
                <a:gd name="connsiteY70" fmla="*/ 565300 h 565300"/>
                <a:gd name="connsiteX71" fmla="*/ 0 w 606862"/>
                <a:gd name="connsiteY71" fmla="*/ 549638 h 565300"/>
                <a:gd name="connsiteX72" fmla="*/ 199 w 606862"/>
                <a:gd name="connsiteY72" fmla="*/ 547159 h 565300"/>
                <a:gd name="connsiteX73" fmla="*/ 66908 w 606862"/>
                <a:gd name="connsiteY73" fmla="*/ 355245 h 565300"/>
                <a:gd name="connsiteX74" fmla="*/ 126172 w 606862"/>
                <a:gd name="connsiteY74" fmla="*/ 337303 h 565300"/>
                <a:gd name="connsiteX75" fmla="*/ 135205 w 606862"/>
                <a:gd name="connsiteY75" fmla="*/ 326101 h 565300"/>
                <a:gd name="connsiteX76" fmla="*/ 123094 w 606862"/>
                <a:gd name="connsiteY76" fmla="*/ 310637 h 565300"/>
                <a:gd name="connsiteX77" fmla="*/ 105127 w 606862"/>
                <a:gd name="connsiteY77" fmla="*/ 277132 h 565300"/>
                <a:gd name="connsiteX78" fmla="*/ 99766 w 606862"/>
                <a:gd name="connsiteY78" fmla="*/ 262956 h 565300"/>
                <a:gd name="connsiteX79" fmla="*/ 90633 w 606862"/>
                <a:gd name="connsiteY79" fmla="*/ 243428 h 565300"/>
                <a:gd name="connsiteX80" fmla="*/ 90633 w 606862"/>
                <a:gd name="connsiteY80" fmla="*/ 224890 h 565300"/>
                <a:gd name="connsiteX81" fmla="*/ 95398 w 606862"/>
                <a:gd name="connsiteY81" fmla="*/ 210021 h 565300"/>
                <a:gd name="connsiteX82" fmla="*/ 95398 w 606862"/>
                <a:gd name="connsiteY82" fmla="*/ 183950 h 565300"/>
                <a:gd name="connsiteX83" fmla="*/ 178487 w 606862"/>
                <a:gd name="connsiteY83" fmla="*/ 100979 h 565300"/>
                <a:gd name="connsiteX84" fmla="*/ 479606 w 606862"/>
                <a:gd name="connsiteY84" fmla="*/ 93305 h 565300"/>
                <a:gd name="connsiteX85" fmla="*/ 497278 w 606862"/>
                <a:gd name="connsiteY85" fmla="*/ 106483 h 565300"/>
                <a:gd name="connsiteX86" fmla="*/ 506710 w 606862"/>
                <a:gd name="connsiteY86" fmla="*/ 172472 h 565300"/>
                <a:gd name="connsiteX87" fmla="*/ 493505 w 606862"/>
                <a:gd name="connsiteY87" fmla="*/ 190109 h 565300"/>
                <a:gd name="connsiteX88" fmla="*/ 491222 w 606862"/>
                <a:gd name="connsiteY88" fmla="*/ 190208 h 565300"/>
                <a:gd name="connsiteX89" fmla="*/ 475833 w 606862"/>
                <a:gd name="connsiteY89" fmla="*/ 176832 h 565300"/>
                <a:gd name="connsiteX90" fmla="*/ 471862 w 606862"/>
                <a:gd name="connsiteY90" fmla="*/ 148989 h 565300"/>
                <a:gd name="connsiteX91" fmla="*/ 424107 w 606862"/>
                <a:gd name="connsiteY91" fmla="*/ 213789 h 565300"/>
                <a:gd name="connsiteX92" fmla="*/ 405244 w 606862"/>
                <a:gd name="connsiteY92" fmla="*/ 218843 h 565300"/>
                <a:gd name="connsiteX93" fmla="*/ 327506 w 606862"/>
                <a:gd name="connsiteY93" fmla="*/ 184758 h 565300"/>
                <a:gd name="connsiteX94" fmla="*/ 323237 w 606862"/>
                <a:gd name="connsiteY94" fmla="*/ 189415 h 565300"/>
                <a:gd name="connsiteX95" fmla="*/ 316486 w 606862"/>
                <a:gd name="connsiteY95" fmla="*/ 152061 h 565300"/>
                <a:gd name="connsiteX96" fmla="*/ 329790 w 606862"/>
                <a:gd name="connsiteY96" fmla="*/ 151665 h 565300"/>
                <a:gd name="connsiteX97" fmla="*/ 406336 w 606862"/>
                <a:gd name="connsiteY97" fmla="*/ 185254 h 565300"/>
                <a:gd name="connsiteX98" fmla="*/ 447538 w 606862"/>
                <a:gd name="connsiteY98" fmla="*/ 129371 h 565300"/>
                <a:gd name="connsiteX99" fmla="*/ 417952 w 606862"/>
                <a:gd name="connsiteY99" fmla="*/ 133632 h 565300"/>
                <a:gd name="connsiteX100" fmla="*/ 400280 w 606862"/>
                <a:gd name="connsiteY100" fmla="*/ 120355 h 565300"/>
                <a:gd name="connsiteX101" fmla="*/ 413484 w 606862"/>
                <a:gd name="connsiteY101" fmla="*/ 102718 h 565300"/>
                <a:gd name="connsiteX102" fmla="*/ 183273 w 606862"/>
                <a:gd name="connsiteY102" fmla="*/ 0 h 565300"/>
                <a:gd name="connsiteX103" fmla="*/ 580456 w 606862"/>
                <a:gd name="connsiteY103" fmla="*/ 0 h 565300"/>
                <a:gd name="connsiteX104" fmla="*/ 606862 w 606862"/>
                <a:gd name="connsiteY104" fmla="*/ 26468 h 565300"/>
                <a:gd name="connsiteX105" fmla="*/ 594850 w 606862"/>
                <a:gd name="connsiteY105" fmla="*/ 48575 h 565300"/>
                <a:gd name="connsiteX106" fmla="*/ 594850 w 606862"/>
                <a:gd name="connsiteY106" fmla="*/ 299675 h 565300"/>
                <a:gd name="connsiteX107" fmla="*/ 577776 w 606862"/>
                <a:gd name="connsiteY107" fmla="*/ 316627 h 565300"/>
                <a:gd name="connsiteX108" fmla="*/ 304086 w 606862"/>
                <a:gd name="connsiteY108" fmla="*/ 316627 h 565300"/>
                <a:gd name="connsiteX109" fmla="*/ 310439 w 606862"/>
                <a:gd name="connsiteY109" fmla="*/ 302154 h 565300"/>
                <a:gd name="connsiteX110" fmla="*/ 314410 w 606862"/>
                <a:gd name="connsiteY110" fmla="*/ 292340 h 565300"/>
                <a:gd name="connsiteX111" fmla="*/ 320962 w 606862"/>
                <a:gd name="connsiteY111" fmla="*/ 282625 h 565300"/>
                <a:gd name="connsiteX112" fmla="*/ 560801 w 606862"/>
                <a:gd name="connsiteY112" fmla="*/ 282625 h 565300"/>
                <a:gd name="connsiteX113" fmla="*/ 560801 w 606862"/>
                <a:gd name="connsiteY113" fmla="*/ 52837 h 565300"/>
                <a:gd name="connsiteX114" fmla="*/ 203028 w 606862"/>
                <a:gd name="connsiteY114" fmla="*/ 52837 h 565300"/>
                <a:gd name="connsiteX115" fmla="*/ 203028 w 606862"/>
                <a:gd name="connsiteY115" fmla="*/ 71871 h 565300"/>
                <a:gd name="connsiteX116" fmla="*/ 174835 w 606862"/>
                <a:gd name="connsiteY116" fmla="*/ 71871 h 565300"/>
                <a:gd name="connsiteX117" fmla="*/ 168879 w 606862"/>
                <a:gd name="connsiteY117" fmla="*/ 72069 h 565300"/>
                <a:gd name="connsiteX118" fmla="*/ 168879 w 606862"/>
                <a:gd name="connsiteY118" fmla="*/ 48575 h 565300"/>
                <a:gd name="connsiteX119" fmla="*/ 156867 w 606862"/>
                <a:gd name="connsiteY119" fmla="*/ 26468 h 565300"/>
                <a:gd name="connsiteX120" fmla="*/ 183273 w 606862"/>
                <a:gd name="connsiteY120" fmla="*/ 0 h 565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606862" h="565300">
                  <a:moveTo>
                    <a:pt x="225640" y="344936"/>
                  </a:moveTo>
                  <a:cubicBezTo>
                    <a:pt x="221272" y="347315"/>
                    <a:pt x="216904" y="348802"/>
                    <a:pt x="212735" y="349595"/>
                  </a:cubicBezTo>
                  <a:cubicBezTo>
                    <a:pt x="210154" y="349991"/>
                    <a:pt x="208268" y="352172"/>
                    <a:pt x="208268" y="354750"/>
                  </a:cubicBezTo>
                  <a:lnTo>
                    <a:pt x="208268" y="368033"/>
                  </a:lnTo>
                  <a:cubicBezTo>
                    <a:pt x="207573" y="368330"/>
                    <a:pt x="206878" y="368826"/>
                    <a:pt x="206282" y="369421"/>
                  </a:cubicBezTo>
                  <a:cubicBezTo>
                    <a:pt x="205289" y="370511"/>
                    <a:pt x="204793" y="371998"/>
                    <a:pt x="204992" y="373584"/>
                  </a:cubicBezTo>
                  <a:lnTo>
                    <a:pt x="207870" y="401836"/>
                  </a:lnTo>
                  <a:cubicBezTo>
                    <a:pt x="208069" y="404017"/>
                    <a:pt x="209657" y="405801"/>
                    <a:pt x="211742" y="406396"/>
                  </a:cubicBezTo>
                  <a:cubicBezTo>
                    <a:pt x="212238" y="406495"/>
                    <a:pt x="212735" y="406594"/>
                    <a:pt x="213132" y="406594"/>
                  </a:cubicBezTo>
                  <a:cubicBezTo>
                    <a:pt x="214819" y="406594"/>
                    <a:pt x="216408" y="405801"/>
                    <a:pt x="217400" y="404413"/>
                  </a:cubicBezTo>
                  <a:lnTo>
                    <a:pt x="232390" y="384687"/>
                  </a:lnTo>
                  <a:cubicBezTo>
                    <a:pt x="233085" y="383695"/>
                    <a:pt x="233383" y="382605"/>
                    <a:pt x="233482" y="381415"/>
                  </a:cubicBezTo>
                  <a:lnTo>
                    <a:pt x="233383" y="349694"/>
                  </a:lnTo>
                  <a:cubicBezTo>
                    <a:pt x="233383" y="347811"/>
                    <a:pt x="232489" y="346026"/>
                    <a:pt x="230901" y="345134"/>
                  </a:cubicBezTo>
                  <a:cubicBezTo>
                    <a:pt x="229213" y="344143"/>
                    <a:pt x="227228" y="344143"/>
                    <a:pt x="225640" y="344936"/>
                  </a:cubicBezTo>
                  <a:close/>
                  <a:moveTo>
                    <a:pt x="158236" y="344936"/>
                  </a:moveTo>
                  <a:cubicBezTo>
                    <a:pt x="156548" y="344044"/>
                    <a:pt x="154563" y="344143"/>
                    <a:pt x="152974" y="345134"/>
                  </a:cubicBezTo>
                  <a:cubicBezTo>
                    <a:pt x="151386" y="346026"/>
                    <a:pt x="150393" y="347811"/>
                    <a:pt x="150393" y="349694"/>
                  </a:cubicBezTo>
                  <a:lnTo>
                    <a:pt x="150393" y="381415"/>
                  </a:lnTo>
                  <a:cubicBezTo>
                    <a:pt x="150393" y="382605"/>
                    <a:pt x="150791" y="383695"/>
                    <a:pt x="151485" y="384687"/>
                  </a:cubicBezTo>
                  <a:lnTo>
                    <a:pt x="166475" y="404512"/>
                  </a:lnTo>
                  <a:cubicBezTo>
                    <a:pt x="167468" y="405801"/>
                    <a:pt x="169056" y="406594"/>
                    <a:pt x="170644" y="406594"/>
                  </a:cubicBezTo>
                  <a:cubicBezTo>
                    <a:pt x="171141" y="406594"/>
                    <a:pt x="171637" y="406495"/>
                    <a:pt x="172133" y="406396"/>
                  </a:cubicBezTo>
                  <a:cubicBezTo>
                    <a:pt x="174218" y="405801"/>
                    <a:pt x="175707" y="404017"/>
                    <a:pt x="176005" y="401836"/>
                  </a:cubicBezTo>
                  <a:lnTo>
                    <a:pt x="178884" y="373584"/>
                  </a:lnTo>
                  <a:cubicBezTo>
                    <a:pt x="179082" y="372097"/>
                    <a:pt x="178586" y="370511"/>
                    <a:pt x="177593" y="369421"/>
                  </a:cubicBezTo>
                  <a:cubicBezTo>
                    <a:pt x="176998" y="368826"/>
                    <a:pt x="176303" y="368330"/>
                    <a:pt x="175509" y="368033"/>
                  </a:cubicBezTo>
                  <a:lnTo>
                    <a:pt x="175509" y="354750"/>
                  </a:lnTo>
                  <a:cubicBezTo>
                    <a:pt x="175509" y="352172"/>
                    <a:pt x="173722" y="349991"/>
                    <a:pt x="171141" y="349595"/>
                  </a:cubicBezTo>
                  <a:cubicBezTo>
                    <a:pt x="166971" y="348802"/>
                    <a:pt x="162604" y="347216"/>
                    <a:pt x="158236" y="344936"/>
                  </a:cubicBezTo>
                  <a:close/>
                  <a:moveTo>
                    <a:pt x="166475" y="201992"/>
                  </a:moveTo>
                  <a:cubicBezTo>
                    <a:pt x="151386" y="201992"/>
                    <a:pt x="136893" y="208038"/>
                    <a:pt x="129547" y="211706"/>
                  </a:cubicBezTo>
                  <a:cubicBezTo>
                    <a:pt x="127760" y="212598"/>
                    <a:pt x="126569" y="214482"/>
                    <a:pt x="126569" y="216464"/>
                  </a:cubicBezTo>
                  <a:lnTo>
                    <a:pt x="126569" y="225981"/>
                  </a:lnTo>
                  <a:lnTo>
                    <a:pt x="124385" y="225981"/>
                  </a:lnTo>
                  <a:cubicBezTo>
                    <a:pt x="121506" y="225981"/>
                    <a:pt x="119124" y="228360"/>
                    <a:pt x="119124" y="231334"/>
                  </a:cubicBezTo>
                  <a:lnTo>
                    <a:pt x="119124" y="240057"/>
                  </a:lnTo>
                  <a:cubicBezTo>
                    <a:pt x="119124" y="241842"/>
                    <a:pt x="120017" y="243527"/>
                    <a:pt x="121506" y="244518"/>
                  </a:cubicBezTo>
                  <a:lnTo>
                    <a:pt x="126668" y="247888"/>
                  </a:lnTo>
                  <a:lnTo>
                    <a:pt x="126966" y="250069"/>
                  </a:lnTo>
                  <a:cubicBezTo>
                    <a:pt x="128653" y="262758"/>
                    <a:pt x="135801" y="279213"/>
                    <a:pt x="146026" y="294083"/>
                  </a:cubicBezTo>
                  <a:cubicBezTo>
                    <a:pt x="159129" y="313016"/>
                    <a:pt x="171339" y="321442"/>
                    <a:pt x="177593" y="321442"/>
                  </a:cubicBezTo>
                  <a:lnTo>
                    <a:pt x="206183" y="321442"/>
                  </a:lnTo>
                  <a:cubicBezTo>
                    <a:pt x="212536" y="321442"/>
                    <a:pt x="224746" y="313016"/>
                    <a:pt x="237751" y="294083"/>
                  </a:cubicBezTo>
                  <a:cubicBezTo>
                    <a:pt x="248075" y="279213"/>
                    <a:pt x="255222" y="262758"/>
                    <a:pt x="256910" y="250069"/>
                  </a:cubicBezTo>
                  <a:lnTo>
                    <a:pt x="257207" y="247888"/>
                  </a:lnTo>
                  <a:lnTo>
                    <a:pt x="262369" y="244518"/>
                  </a:lnTo>
                  <a:cubicBezTo>
                    <a:pt x="263858" y="243527"/>
                    <a:pt x="264752" y="241842"/>
                    <a:pt x="264752" y="240057"/>
                  </a:cubicBezTo>
                  <a:lnTo>
                    <a:pt x="264752" y="231334"/>
                  </a:lnTo>
                  <a:cubicBezTo>
                    <a:pt x="264752" y="228360"/>
                    <a:pt x="262369" y="225981"/>
                    <a:pt x="259391" y="225981"/>
                  </a:cubicBezTo>
                  <a:lnTo>
                    <a:pt x="256513" y="225981"/>
                  </a:lnTo>
                  <a:cubicBezTo>
                    <a:pt x="256115" y="225287"/>
                    <a:pt x="255520" y="224692"/>
                    <a:pt x="254825" y="224197"/>
                  </a:cubicBezTo>
                  <a:cubicBezTo>
                    <a:pt x="253336" y="223205"/>
                    <a:pt x="251450" y="223106"/>
                    <a:pt x="249762" y="223800"/>
                  </a:cubicBezTo>
                  <a:cubicBezTo>
                    <a:pt x="242615" y="226972"/>
                    <a:pt x="235567" y="228657"/>
                    <a:pt x="228717" y="228657"/>
                  </a:cubicBezTo>
                  <a:cubicBezTo>
                    <a:pt x="216606" y="228657"/>
                    <a:pt x="205587" y="223602"/>
                    <a:pt x="196057" y="213788"/>
                  </a:cubicBezTo>
                  <a:cubicBezTo>
                    <a:pt x="188414" y="205957"/>
                    <a:pt x="178487" y="201992"/>
                    <a:pt x="166475" y="201992"/>
                  </a:cubicBezTo>
                  <a:close/>
                  <a:moveTo>
                    <a:pt x="178487" y="100979"/>
                  </a:moveTo>
                  <a:lnTo>
                    <a:pt x="205389" y="100979"/>
                  </a:lnTo>
                  <a:cubicBezTo>
                    <a:pt x="251152" y="100979"/>
                    <a:pt x="288477" y="138152"/>
                    <a:pt x="288477" y="183950"/>
                  </a:cubicBezTo>
                  <a:lnTo>
                    <a:pt x="288477" y="210021"/>
                  </a:lnTo>
                  <a:cubicBezTo>
                    <a:pt x="291555" y="214383"/>
                    <a:pt x="293242" y="219537"/>
                    <a:pt x="293242" y="224890"/>
                  </a:cubicBezTo>
                  <a:lnTo>
                    <a:pt x="293242" y="243428"/>
                  </a:lnTo>
                  <a:cubicBezTo>
                    <a:pt x="293242" y="250961"/>
                    <a:pt x="289867" y="258198"/>
                    <a:pt x="284109" y="262956"/>
                  </a:cubicBezTo>
                  <a:cubicBezTo>
                    <a:pt x="282620" y="267615"/>
                    <a:pt x="280834" y="272373"/>
                    <a:pt x="278749" y="277132"/>
                  </a:cubicBezTo>
                  <a:cubicBezTo>
                    <a:pt x="274381" y="288234"/>
                    <a:pt x="268226" y="299832"/>
                    <a:pt x="260781" y="310637"/>
                  </a:cubicBezTo>
                  <a:cubicBezTo>
                    <a:pt x="257704" y="315197"/>
                    <a:pt x="253534" y="320649"/>
                    <a:pt x="248670" y="326101"/>
                  </a:cubicBezTo>
                  <a:cubicBezTo>
                    <a:pt x="253137" y="329273"/>
                    <a:pt x="256314" y="332941"/>
                    <a:pt x="257704" y="337303"/>
                  </a:cubicBezTo>
                  <a:lnTo>
                    <a:pt x="316968" y="355245"/>
                  </a:lnTo>
                  <a:cubicBezTo>
                    <a:pt x="358661" y="367240"/>
                    <a:pt x="383875" y="542104"/>
                    <a:pt x="383875" y="549638"/>
                  </a:cubicBezTo>
                  <a:cubicBezTo>
                    <a:pt x="383875" y="558262"/>
                    <a:pt x="376827" y="565300"/>
                    <a:pt x="368091" y="565300"/>
                  </a:cubicBezTo>
                  <a:lnTo>
                    <a:pt x="15685" y="565300"/>
                  </a:lnTo>
                  <a:cubicBezTo>
                    <a:pt x="7048" y="565300"/>
                    <a:pt x="0" y="558262"/>
                    <a:pt x="0" y="549638"/>
                  </a:cubicBezTo>
                  <a:cubicBezTo>
                    <a:pt x="0" y="548745"/>
                    <a:pt x="100" y="547952"/>
                    <a:pt x="199" y="547159"/>
                  </a:cubicBezTo>
                  <a:cubicBezTo>
                    <a:pt x="199" y="547159"/>
                    <a:pt x="25215" y="367240"/>
                    <a:pt x="66908" y="355245"/>
                  </a:cubicBezTo>
                  <a:lnTo>
                    <a:pt x="126172" y="337303"/>
                  </a:lnTo>
                  <a:cubicBezTo>
                    <a:pt x="127562" y="332941"/>
                    <a:pt x="130738" y="329273"/>
                    <a:pt x="135205" y="326101"/>
                  </a:cubicBezTo>
                  <a:cubicBezTo>
                    <a:pt x="130341" y="320649"/>
                    <a:pt x="126172" y="315197"/>
                    <a:pt x="123094" y="310637"/>
                  </a:cubicBezTo>
                  <a:cubicBezTo>
                    <a:pt x="115649" y="299832"/>
                    <a:pt x="109395" y="288234"/>
                    <a:pt x="105127" y="277132"/>
                  </a:cubicBezTo>
                  <a:cubicBezTo>
                    <a:pt x="103042" y="272373"/>
                    <a:pt x="101255" y="267615"/>
                    <a:pt x="99766" y="262956"/>
                  </a:cubicBezTo>
                  <a:cubicBezTo>
                    <a:pt x="94008" y="258099"/>
                    <a:pt x="90633" y="250961"/>
                    <a:pt x="90633" y="243428"/>
                  </a:cubicBezTo>
                  <a:lnTo>
                    <a:pt x="90633" y="224890"/>
                  </a:lnTo>
                  <a:cubicBezTo>
                    <a:pt x="90633" y="219537"/>
                    <a:pt x="92321" y="214383"/>
                    <a:pt x="95398" y="210021"/>
                  </a:cubicBezTo>
                  <a:lnTo>
                    <a:pt x="95398" y="183950"/>
                  </a:lnTo>
                  <a:cubicBezTo>
                    <a:pt x="95398" y="138152"/>
                    <a:pt x="132624" y="100979"/>
                    <a:pt x="178487" y="100979"/>
                  </a:cubicBezTo>
                  <a:close/>
                  <a:moveTo>
                    <a:pt x="479606" y="93305"/>
                  </a:moveTo>
                  <a:cubicBezTo>
                    <a:pt x="488144" y="92017"/>
                    <a:pt x="496086" y="97962"/>
                    <a:pt x="497278" y="106483"/>
                  </a:cubicBezTo>
                  <a:lnTo>
                    <a:pt x="506710" y="172472"/>
                  </a:lnTo>
                  <a:cubicBezTo>
                    <a:pt x="508000" y="180993"/>
                    <a:pt x="502043" y="188821"/>
                    <a:pt x="493505" y="190109"/>
                  </a:cubicBezTo>
                  <a:cubicBezTo>
                    <a:pt x="492711" y="190208"/>
                    <a:pt x="492016" y="190208"/>
                    <a:pt x="491222" y="190208"/>
                  </a:cubicBezTo>
                  <a:cubicBezTo>
                    <a:pt x="483676" y="190208"/>
                    <a:pt x="476925" y="184659"/>
                    <a:pt x="475833" y="176832"/>
                  </a:cubicBezTo>
                  <a:lnTo>
                    <a:pt x="471862" y="148989"/>
                  </a:lnTo>
                  <a:lnTo>
                    <a:pt x="424107" y="213789"/>
                  </a:lnTo>
                  <a:cubicBezTo>
                    <a:pt x="419739" y="219635"/>
                    <a:pt x="411896" y="221716"/>
                    <a:pt x="405244" y="218843"/>
                  </a:cubicBezTo>
                  <a:lnTo>
                    <a:pt x="327506" y="184758"/>
                  </a:lnTo>
                  <a:lnTo>
                    <a:pt x="323237" y="189415"/>
                  </a:lnTo>
                  <a:cubicBezTo>
                    <a:pt x="322940" y="176336"/>
                    <a:pt x="320557" y="163753"/>
                    <a:pt x="316486" y="152061"/>
                  </a:cubicBezTo>
                  <a:cubicBezTo>
                    <a:pt x="320557" y="149980"/>
                    <a:pt x="325422" y="149782"/>
                    <a:pt x="329790" y="151665"/>
                  </a:cubicBezTo>
                  <a:lnTo>
                    <a:pt x="406336" y="185254"/>
                  </a:lnTo>
                  <a:lnTo>
                    <a:pt x="447538" y="129371"/>
                  </a:lnTo>
                  <a:lnTo>
                    <a:pt x="417952" y="133632"/>
                  </a:lnTo>
                  <a:cubicBezTo>
                    <a:pt x="409414" y="134821"/>
                    <a:pt x="401471" y="128876"/>
                    <a:pt x="400280" y="120355"/>
                  </a:cubicBezTo>
                  <a:cubicBezTo>
                    <a:pt x="398989" y="111834"/>
                    <a:pt x="404946" y="104006"/>
                    <a:pt x="413484" y="102718"/>
                  </a:cubicBezTo>
                  <a:close/>
                  <a:moveTo>
                    <a:pt x="183273" y="0"/>
                  </a:moveTo>
                  <a:lnTo>
                    <a:pt x="580456" y="0"/>
                  </a:lnTo>
                  <a:cubicBezTo>
                    <a:pt x="595049" y="0"/>
                    <a:pt x="606862" y="11896"/>
                    <a:pt x="606862" y="26468"/>
                  </a:cubicBezTo>
                  <a:cubicBezTo>
                    <a:pt x="606862" y="35687"/>
                    <a:pt x="602097" y="43816"/>
                    <a:pt x="594850" y="48575"/>
                  </a:cubicBezTo>
                  <a:lnTo>
                    <a:pt x="594850" y="299675"/>
                  </a:lnTo>
                  <a:cubicBezTo>
                    <a:pt x="594850" y="308994"/>
                    <a:pt x="587207" y="316627"/>
                    <a:pt x="577776" y="316627"/>
                  </a:cubicBezTo>
                  <a:lnTo>
                    <a:pt x="304086" y="316627"/>
                  </a:lnTo>
                  <a:cubicBezTo>
                    <a:pt x="306468" y="311770"/>
                    <a:pt x="308652" y="306912"/>
                    <a:pt x="310439" y="302154"/>
                  </a:cubicBezTo>
                  <a:cubicBezTo>
                    <a:pt x="311928" y="298882"/>
                    <a:pt x="313219" y="295611"/>
                    <a:pt x="314410" y="292340"/>
                  </a:cubicBezTo>
                  <a:cubicBezTo>
                    <a:pt x="316991" y="289267"/>
                    <a:pt x="319175" y="285995"/>
                    <a:pt x="320962" y="282625"/>
                  </a:cubicBezTo>
                  <a:lnTo>
                    <a:pt x="560801" y="282625"/>
                  </a:lnTo>
                  <a:lnTo>
                    <a:pt x="560801" y="52837"/>
                  </a:lnTo>
                  <a:lnTo>
                    <a:pt x="203028" y="52837"/>
                  </a:lnTo>
                  <a:lnTo>
                    <a:pt x="203028" y="71871"/>
                  </a:lnTo>
                  <a:lnTo>
                    <a:pt x="174835" y="71871"/>
                  </a:lnTo>
                  <a:cubicBezTo>
                    <a:pt x="172850" y="71871"/>
                    <a:pt x="170864" y="71970"/>
                    <a:pt x="168879" y="72069"/>
                  </a:cubicBezTo>
                  <a:lnTo>
                    <a:pt x="168879" y="48575"/>
                  </a:lnTo>
                  <a:cubicBezTo>
                    <a:pt x="161632" y="43816"/>
                    <a:pt x="156867" y="35687"/>
                    <a:pt x="156867" y="26468"/>
                  </a:cubicBezTo>
                  <a:cubicBezTo>
                    <a:pt x="156867" y="11896"/>
                    <a:pt x="168680" y="0"/>
                    <a:pt x="183273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/>
              <a:endParaRPr lang="zh-CN" altLang="en-US" sz="20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3C145698-3880-4DE5-89BC-E39D0E7AF81C}"/>
                </a:ext>
              </a:extLst>
            </p:cNvPr>
            <p:cNvCxnSpPr/>
            <p:nvPr/>
          </p:nvCxnSpPr>
          <p:spPr>
            <a:xfrm>
              <a:off x="8720603" y="3917136"/>
              <a:ext cx="27982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直接连接符 18">
              <a:extLst>
                <a:ext uri="{FF2B5EF4-FFF2-40B4-BE49-F238E27FC236}">
                  <a16:creationId xmlns:a16="http://schemas.microsoft.com/office/drawing/2014/main" id="{A446C2A7-A70F-4BA9-AC1A-F58282CFCCB1}"/>
                </a:ext>
              </a:extLst>
            </p:cNvPr>
            <p:cNvCxnSpPr/>
            <p:nvPr/>
          </p:nvCxnSpPr>
          <p:spPr>
            <a:xfrm>
              <a:off x="8720603" y="4852516"/>
              <a:ext cx="27982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9909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CBCCE63-2539-4996-9440-BAA1122C80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亮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69565D6-3AAF-4415-BC01-A66598F34F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BDC9A6E-2BBC-4ED3-899C-327F7B689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C7E39B0-5C1A-4EED-9753-94415F7389E6}"/>
              </a:ext>
            </a:extLst>
          </p:cNvPr>
          <p:cNvGrpSpPr>
            <a:grpSpLocks noChangeAspect="1"/>
          </p:cNvGrpSpPr>
          <p:nvPr/>
        </p:nvGrpSpPr>
        <p:grpSpPr>
          <a:xfrm>
            <a:off x="659606" y="1851064"/>
            <a:ext cx="10859294" cy="3596714"/>
            <a:chOff x="659606" y="1851064"/>
            <a:chExt cx="10859294" cy="359671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2A400D2-8A75-4FD0-8ED4-59290F601F9F}"/>
                </a:ext>
              </a:extLst>
            </p:cNvPr>
            <p:cNvGrpSpPr/>
            <p:nvPr/>
          </p:nvGrpSpPr>
          <p:grpSpPr>
            <a:xfrm>
              <a:off x="3997325" y="1980530"/>
              <a:ext cx="4184650" cy="3303334"/>
              <a:chOff x="3881207" y="1888869"/>
              <a:chExt cx="4416886" cy="3486662"/>
            </a:xfrm>
          </p:grpSpPr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FA27067-F9C1-401C-AC3F-6EDFC2645C9B}"/>
                  </a:ext>
                </a:extLst>
              </p:cNvPr>
              <p:cNvSpPr/>
              <p:nvPr/>
            </p:nvSpPr>
            <p:spPr bwMode="auto">
              <a:xfrm>
                <a:off x="3881207" y="4306031"/>
                <a:ext cx="1404130" cy="756743"/>
              </a:xfrm>
              <a:custGeom>
                <a:avLst/>
                <a:gdLst>
                  <a:gd name="T0" fmla="*/ 0 w 1284"/>
                  <a:gd name="T1" fmla="*/ 285 h 692"/>
                  <a:gd name="T2" fmla="*/ 1034 w 1284"/>
                  <a:gd name="T3" fmla="*/ 0 h 692"/>
                  <a:gd name="T4" fmla="*/ 1284 w 1284"/>
                  <a:gd name="T5" fmla="*/ 173 h 692"/>
                  <a:gd name="T6" fmla="*/ 1056 w 1284"/>
                  <a:gd name="T7" fmla="*/ 692 h 692"/>
                  <a:gd name="T8" fmla="*/ 918 w 1284"/>
                  <a:gd name="T9" fmla="*/ 644 h 692"/>
                  <a:gd name="T10" fmla="*/ 132 w 1284"/>
                  <a:gd name="T11" fmla="*/ 328 h 692"/>
                  <a:gd name="T12" fmla="*/ 0 w 1284"/>
                  <a:gd name="T13" fmla="*/ 285 h 6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84" h="692">
                    <a:moveTo>
                      <a:pt x="0" y="285"/>
                    </a:moveTo>
                    <a:lnTo>
                      <a:pt x="1034" y="0"/>
                    </a:lnTo>
                    <a:lnTo>
                      <a:pt x="1284" y="173"/>
                    </a:lnTo>
                    <a:lnTo>
                      <a:pt x="1056" y="692"/>
                    </a:lnTo>
                    <a:lnTo>
                      <a:pt x="918" y="644"/>
                    </a:lnTo>
                    <a:lnTo>
                      <a:pt x="132" y="328"/>
                    </a:lnTo>
                    <a:lnTo>
                      <a:pt x="0" y="285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6A752D70-FC12-443A-BFDD-F5FF675DB5B0}"/>
                  </a:ext>
                </a:extLst>
              </p:cNvPr>
              <p:cNvSpPr/>
              <p:nvPr/>
            </p:nvSpPr>
            <p:spPr bwMode="auto">
              <a:xfrm>
                <a:off x="3908545" y="4537864"/>
                <a:ext cx="4389548" cy="837667"/>
              </a:xfrm>
              <a:custGeom>
                <a:avLst/>
                <a:gdLst>
                  <a:gd name="T0" fmla="*/ 691 w 2666"/>
                  <a:gd name="T1" fmla="*/ 318 h 508"/>
                  <a:gd name="T2" fmla="*/ 0 w 2666"/>
                  <a:gd name="T3" fmla="*/ 48 h 508"/>
                  <a:gd name="T4" fmla="*/ 0 w 2666"/>
                  <a:gd name="T5" fmla="*/ 130 h 508"/>
                  <a:gd name="T6" fmla="*/ 640 w 2666"/>
                  <a:gd name="T7" fmla="*/ 370 h 508"/>
                  <a:gd name="T8" fmla="*/ 1628 w 2666"/>
                  <a:gd name="T9" fmla="*/ 508 h 508"/>
                  <a:gd name="T10" fmla="*/ 2666 w 2666"/>
                  <a:gd name="T11" fmla="*/ 121 h 508"/>
                  <a:gd name="T12" fmla="*/ 2664 w 2666"/>
                  <a:gd name="T13" fmla="*/ 59 h 508"/>
                  <a:gd name="T14" fmla="*/ 1259 w 2666"/>
                  <a:gd name="T15" fmla="*/ 57 h 508"/>
                  <a:gd name="T16" fmla="*/ 691 w 2666"/>
                  <a:gd name="T17" fmla="*/ 318 h 5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66" h="508">
                    <a:moveTo>
                      <a:pt x="691" y="318"/>
                    </a:moveTo>
                    <a:cubicBezTo>
                      <a:pt x="691" y="318"/>
                      <a:pt x="301" y="0"/>
                      <a:pt x="0" y="48"/>
                    </a:cubicBezTo>
                    <a:cubicBezTo>
                      <a:pt x="0" y="130"/>
                      <a:pt x="0" y="130"/>
                      <a:pt x="0" y="130"/>
                    </a:cubicBezTo>
                    <a:cubicBezTo>
                      <a:pt x="0" y="130"/>
                      <a:pt x="352" y="107"/>
                      <a:pt x="640" y="370"/>
                    </a:cubicBezTo>
                    <a:cubicBezTo>
                      <a:pt x="1628" y="508"/>
                      <a:pt x="1628" y="508"/>
                      <a:pt x="1628" y="508"/>
                    </a:cubicBezTo>
                    <a:cubicBezTo>
                      <a:pt x="2666" y="121"/>
                      <a:pt x="2666" y="121"/>
                      <a:pt x="2666" y="121"/>
                    </a:cubicBezTo>
                    <a:cubicBezTo>
                      <a:pt x="2664" y="59"/>
                      <a:pt x="2664" y="59"/>
                      <a:pt x="2664" y="59"/>
                    </a:cubicBezTo>
                    <a:cubicBezTo>
                      <a:pt x="1259" y="57"/>
                      <a:pt x="1259" y="57"/>
                      <a:pt x="1259" y="57"/>
                    </a:cubicBezTo>
                    <a:lnTo>
                      <a:pt x="691" y="318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7A6FAB5A-2C76-4FFB-B831-AD67E1BCE8C6}"/>
                  </a:ext>
                </a:extLst>
              </p:cNvPr>
              <p:cNvSpPr/>
              <p:nvPr/>
            </p:nvSpPr>
            <p:spPr bwMode="auto">
              <a:xfrm>
                <a:off x="5036006" y="4453658"/>
                <a:ext cx="3256620" cy="807046"/>
              </a:xfrm>
              <a:custGeom>
                <a:avLst/>
                <a:gdLst>
                  <a:gd name="T0" fmla="*/ 0 w 2978"/>
                  <a:gd name="T1" fmla="*/ 557 h 738"/>
                  <a:gd name="T2" fmla="*/ 1416 w 2978"/>
                  <a:gd name="T3" fmla="*/ 738 h 738"/>
                  <a:gd name="T4" fmla="*/ 2978 w 2978"/>
                  <a:gd name="T5" fmla="*/ 166 h 738"/>
                  <a:gd name="T6" fmla="*/ 1580 w 2978"/>
                  <a:gd name="T7" fmla="*/ 0 h 738"/>
                  <a:gd name="T8" fmla="*/ 0 w 2978"/>
                  <a:gd name="T9" fmla="*/ 557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78" h="738">
                    <a:moveTo>
                      <a:pt x="0" y="557"/>
                    </a:moveTo>
                    <a:lnTo>
                      <a:pt x="1416" y="738"/>
                    </a:lnTo>
                    <a:lnTo>
                      <a:pt x="2978" y="166"/>
                    </a:lnTo>
                    <a:lnTo>
                      <a:pt x="1580" y="0"/>
                    </a:lnTo>
                    <a:lnTo>
                      <a:pt x="0" y="557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7B606BC5-692E-4DD1-BC0D-2DC47453841D}"/>
                  </a:ext>
                </a:extLst>
              </p:cNvPr>
              <p:cNvSpPr/>
              <p:nvPr/>
            </p:nvSpPr>
            <p:spPr bwMode="auto">
              <a:xfrm>
                <a:off x="5036006" y="4453658"/>
                <a:ext cx="3209597" cy="694410"/>
              </a:xfrm>
              <a:custGeom>
                <a:avLst/>
                <a:gdLst>
                  <a:gd name="T0" fmla="*/ 0 w 2935"/>
                  <a:gd name="T1" fmla="*/ 557 h 635"/>
                  <a:gd name="T2" fmla="*/ 1373 w 2935"/>
                  <a:gd name="T3" fmla="*/ 635 h 635"/>
                  <a:gd name="T4" fmla="*/ 2935 w 2935"/>
                  <a:gd name="T5" fmla="*/ 64 h 635"/>
                  <a:gd name="T6" fmla="*/ 1580 w 2935"/>
                  <a:gd name="T7" fmla="*/ 0 h 635"/>
                  <a:gd name="T8" fmla="*/ 0 w 2935"/>
                  <a:gd name="T9" fmla="*/ 557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35" h="635">
                    <a:moveTo>
                      <a:pt x="0" y="557"/>
                    </a:moveTo>
                    <a:lnTo>
                      <a:pt x="1373" y="635"/>
                    </a:lnTo>
                    <a:lnTo>
                      <a:pt x="2935" y="64"/>
                    </a:lnTo>
                    <a:lnTo>
                      <a:pt x="1580" y="0"/>
                    </a:lnTo>
                    <a:lnTo>
                      <a:pt x="0" y="557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F668AC1B-A26D-4F33-A559-3AAFABA67E08}"/>
                  </a:ext>
                </a:extLst>
              </p:cNvPr>
              <p:cNvSpPr/>
              <p:nvPr/>
            </p:nvSpPr>
            <p:spPr bwMode="auto">
              <a:xfrm>
                <a:off x="5055690" y="4411009"/>
                <a:ext cx="3157106" cy="662697"/>
              </a:xfrm>
              <a:custGeom>
                <a:avLst/>
                <a:gdLst>
                  <a:gd name="T0" fmla="*/ 1037 w 1917"/>
                  <a:gd name="T1" fmla="*/ 26 h 402"/>
                  <a:gd name="T2" fmla="*/ 1917 w 1917"/>
                  <a:gd name="T3" fmla="*/ 0 h 402"/>
                  <a:gd name="T4" fmla="*/ 906 w 1917"/>
                  <a:gd name="T5" fmla="*/ 402 h 402"/>
                  <a:gd name="T6" fmla="*/ 0 w 1917"/>
                  <a:gd name="T7" fmla="*/ 391 h 402"/>
                  <a:gd name="T8" fmla="*/ 1037 w 1917"/>
                  <a:gd name="T9" fmla="*/ 26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17" h="402">
                    <a:moveTo>
                      <a:pt x="1037" y="26"/>
                    </a:moveTo>
                    <a:cubicBezTo>
                      <a:pt x="1037" y="26"/>
                      <a:pt x="1702" y="68"/>
                      <a:pt x="1917" y="0"/>
                    </a:cubicBezTo>
                    <a:cubicBezTo>
                      <a:pt x="906" y="402"/>
                      <a:pt x="906" y="402"/>
                      <a:pt x="906" y="402"/>
                    </a:cubicBezTo>
                    <a:cubicBezTo>
                      <a:pt x="0" y="391"/>
                      <a:pt x="0" y="391"/>
                      <a:pt x="0" y="391"/>
                    </a:cubicBezTo>
                    <a:lnTo>
                      <a:pt x="1037" y="26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A748923F-7CA8-4A11-A98C-534BC8FE42ED}"/>
                  </a:ext>
                </a:extLst>
              </p:cNvPr>
              <p:cNvSpPr/>
              <p:nvPr/>
            </p:nvSpPr>
            <p:spPr bwMode="auto">
              <a:xfrm>
                <a:off x="3901984" y="3762530"/>
                <a:ext cx="2861845" cy="1300241"/>
              </a:xfrm>
              <a:custGeom>
                <a:avLst/>
                <a:gdLst>
                  <a:gd name="T0" fmla="*/ 689 w 1738"/>
                  <a:gd name="T1" fmla="*/ 788 h 788"/>
                  <a:gd name="T2" fmla="*/ 0 w 1738"/>
                  <a:gd name="T3" fmla="*/ 465 h 788"/>
                  <a:gd name="T4" fmla="*/ 1250 w 1738"/>
                  <a:gd name="T5" fmla="*/ 0 h 788"/>
                  <a:gd name="T6" fmla="*/ 1738 w 1738"/>
                  <a:gd name="T7" fmla="*/ 419 h 788"/>
                  <a:gd name="T8" fmla="*/ 689 w 1738"/>
                  <a:gd name="T9" fmla="*/ 788 h 7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38" h="788">
                    <a:moveTo>
                      <a:pt x="689" y="788"/>
                    </a:moveTo>
                    <a:cubicBezTo>
                      <a:pt x="689" y="788"/>
                      <a:pt x="332" y="453"/>
                      <a:pt x="0" y="465"/>
                    </a:cubicBezTo>
                    <a:cubicBezTo>
                      <a:pt x="1250" y="0"/>
                      <a:pt x="1250" y="0"/>
                      <a:pt x="1250" y="0"/>
                    </a:cubicBezTo>
                    <a:cubicBezTo>
                      <a:pt x="1250" y="0"/>
                      <a:pt x="1647" y="16"/>
                      <a:pt x="1738" y="419"/>
                    </a:cubicBezTo>
                    <a:lnTo>
                      <a:pt x="689" y="78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D1DDF084-1DF2-45C2-A7E9-4040940BC40E}"/>
                  </a:ext>
                </a:extLst>
              </p:cNvPr>
              <p:cNvSpPr/>
              <p:nvPr/>
            </p:nvSpPr>
            <p:spPr bwMode="auto">
              <a:xfrm>
                <a:off x="3917294" y="3658642"/>
                <a:ext cx="2846535" cy="1404130"/>
              </a:xfrm>
              <a:custGeom>
                <a:avLst/>
                <a:gdLst>
                  <a:gd name="T0" fmla="*/ 680 w 1729"/>
                  <a:gd name="T1" fmla="*/ 851 h 851"/>
                  <a:gd name="T2" fmla="*/ 0 w 1729"/>
                  <a:gd name="T3" fmla="*/ 480 h 851"/>
                  <a:gd name="T4" fmla="*/ 1243 w 1729"/>
                  <a:gd name="T5" fmla="*/ 0 h 851"/>
                  <a:gd name="T6" fmla="*/ 1729 w 1729"/>
                  <a:gd name="T7" fmla="*/ 482 h 851"/>
                  <a:gd name="T8" fmla="*/ 680 w 1729"/>
                  <a:gd name="T9" fmla="*/ 851 h 8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29" h="851">
                    <a:moveTo>
                      <a:pt x="680" y="851"/>
                    </a:moveTo>
                    <a:cubicBezTo>
                      <a:pt x="680" y="851"/>
                      <a:pt x="420" y="471"/>
                      <a:pt x="0" y="480"/>
                    </a:cubicBezTo>
                    <a:cubicBezTo>
                      <a:pt x="1243" y="0"/>
                      <a:pt x="1243" y="0"/>
                      <a:pt x="1243" y="0"/>
                    </a:cubicBezTo>
                    <a:cubicBezTo>
                      <a:pt x="1243" y="0"/>
                      <a:pt x="1574" y="109"/>
                      <a:pt x="1729" y="482"/>
                    </a:cubicBezTo>
                    <a:lnTo>
                      <a:pt x="680" y="851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C28E494F-07BF-430B-BBD4-E02AAABF0370}"/>
                  </a:ext>
                </a:extLst>
              </p:cNvPr>
              <p:cNvSpPr/>
              <p:nvPr/>
            </p:nvSpPr>
            <p:spPr bwMode="auto">
              <a:xfrm>
                <a:off x="4000405" y="3582093"/>
                <a:ext cx="2763425" cy="1480679"/>
              </a:xfrm>
              <a:custGeom>
                <a:avLst/>
                <a:gdLst>
                  <a:gd name="T0" fmla="*/ 629 w 1678"/>
                  <a:gd name="T1" fmla="*/ 898 h 898"/>
                  <a:gd name="T2" fmla="*/ 0 w 1678"/>
                  <a:gd name="T3" fmla="*/ 434 h 898"/>
                  <a:gd name="T4" fmla="*/ 1170 w 1678"/>
                  <a:gd name="T5" fmla="*/ 0 h 898"/>
                  <a:gd name="T6" fmla="*/ 1678 w 1678"/>
                  <a:gd name="T7" fmla="*/ 529 h 898"/>
                  <a:gd name="T8" fmla="*/ 629 w 1678"/>
                  <a:gd name="T9" fmla="*/ 898 h 8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8" h="898">
                    <a:moveTo>
                      <a:pt x="629" y="898"/>
                    </a:moveTo>
                    <a:cubicBezTo>
                      <a:pt x="629" y="898"/>
                      <a:pt x="499" y="428"/>
                      <a:pt x="0" y="434"/>
                    </a:cubicBezTo>
                    <a:cubicBezTo>
                      <a:pt x="1170" y="0"/>
                      <a:pt x="1170" y="0"/>
                      <a:pt x="1170" y="0"/>
                    </a:cubicBezTo>
                    <a:cubicBezTo>
                      <a:pt x="1170" y="0"/>
                      <a:pt x="1602" y="41"/>
                      <a:pt x="1678" y="529"/>
                    </a:cubicBezTo>
                    <a:lnTo>
                      <a:pt x="629" y="898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B9F37A6B-F65B-48A4-B1E9-3D4B54BE4246}"/>
                  </a:ext>
                </a:extLst>
              </p:cNvPr>
              <p:cNvSpPr/>
              <p:nvPr/>
            </p:nvSpPr>
            <p:spPr bwMode="auto">
              <a:xfrm>
                <a:off x="5856693" y="3241220"/>
                <a:ext cx="1022151" cy="1138624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6EBEFB78-D285-4F8F-B386-8858C0CC6425}"/>
                  </a:ext>
                </a:extLst>
              </p:cNvPr>
              <p:cNvSpPr/>
              <p:nvPr/>
            </p:nvSpPr>
            <p:spPr bwMode="auto">
              <a:xfrm flipH="1">
                <a:off x="6272943" y="2705469"/>
                <a:ext cx="532146" cy="592788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9AC1FF6B-FE58-4E7D-A9EE-2FAE1645023A}"/>
                  </a:ext>
                </a:extLst>
              </p:cNvPr>
              <p:cNvSpPr/>
              <p:nvPr/>
            </p:nvSpPr>
            <p:spPr bwMode="auto">
              <a:xfrm>
                <a:off x="5734865" y="1888869"/>
                <a:ext cx="851687" cy="948735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468F453F-6658-432E-A46A-B29330A15F73}"/>
                  </a:ext>
                </a:extLst>
              </p:cNvPr>
              <p:cNvSpPr/>
              <p:nvPr/>
            </p:nvSpPr>
            <p:spPr bwMode="auto">
              <a:xfrm>
                <a:off x="5199931" y="2695108"/>
                <a:ext cx="891969" cy="993608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7E4FA6A4-AFDF-4B69-81D0-5BE7714E64D1}"/>
                  </a:ext>
                </a:extLst>
              </p:cNvPr>
              <p:cNvSpPr/>
              <p:nvPr/>
            </p:nvSpPr>
            <p:spPr bwMode="auto">
              <a:xfrm flipH="1">
                <a:off x="6878844" y="3210055"/>
                <a:ext cx="742373" cy="826966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59FA8FDA-C433-4750-8999-A0BE5FBC2558}"/>
                  </a:ext>
                </a:extLst>
              </p:cNvPr>
              <p:cNvSpPr/>
              <p:nvPr/>
            </p:nvSpPr>
            <p:spPr bwMode="auto">
              <a:xfrm>
                <a:off x="6867397" y="2607816"/>
                <a:ext cx="457234" cy="509336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67366D5F-43C8-4DE2-AB83-288E78DC05CA}"/>
                  </a:ext>
                </a:extLst>
              </p:cNvPr>
              <p:cNvSpPr/>
              <p:nvPr/>
            </p:nvSpPr>
            <p:spPr bwMode="auto">
              <a:xfrm flipH="1">
                <a:off x="5285337" y="2196124"/>
                <a:ext cx="348660" cy="388390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B15359BD-0428-4FFC-A0BE-9DCD0F3D7318}"/>
                  </a:ext>
                </a:extLst>
              </p:cNvPr>
              <p:cNvSpPr/>
              <p:nvPr/>
            </p:nvSpPr>
            <p:spPr bwMode="auto">
              <a:xfrm flipH="1">
                <a:off x="6613812" y="2099048"/>
                <a:ext cx="381130" cy="424562"/>
              </a:xfrm>
              <a:custGeom>
                <a:avLst/>
                <a:gdLst>
                  <a:gd name="T0" fmla="*/ 428 w 428"/>
                  <a:gd name="T1" fmla="*/ 194 h 477"/>
                  <a:gd name="T2" fmla="*/ 202 w 428"/>
                  <a:gd name="T3" fmla="*/ 388 h 477"/>
                  <a:gd name="T4" fmla="*/ 178 w 428"/>
                  <a:gd name="T5" fmla="*/ 386 h 477"/>
                  <a:gd name="T6" fmla="*/ 191 w 428"/>
                  <a:gd name="T7" fmla="*/ 477 h 477"/>
                  <a:gd name="T8" fmla="*/ 1 w 428"/>
                  <a:gd name="T9" fmla="*/ 194 h 477"/>
                  <a:gd name="T10" fmla="*/ 215 w 428"/>
                  <a:gd name="T11" fmla="*/ 0 h 477"/>
                  <a:gd name="T12" fmla="*/ 428 w 428"/>
                  <a:gd name="T13" fmla="*/ 194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28" h="477">
                    <a:moveTo>
                      <a:pt x="428" y="194"/>
                    </a:moveTo>
                    <a:cubicBezTo>
                      <a:pt x="428" y="301"/>
                      <a:pt x="319" y="388"/>
                      <a:pt x="202" y="388"/>
                    </a:cubicBezTo>
                    <a:cubicBezTo>
                      <a:pt x="187" y="388"/>
                      <a:pt x="191" y="388"/>
                      <a:pt x="178" y="386"/>
                    </a:cubicBezTo>
                    <a:cubicBezTo>
                      <a:pt x="138" y="382"/>
                      <a:pt x="191" y="477"/>
                      <a:pt x="191" y="477"/>
                    </a:cubicBezTo>
                    <a:cubicBezTo>
                      <a:pt x="191" y="477"/>
                      <a:pt x="4" y="366"/>
                      <a:pt x="1" y="194"/>
                    </a:cubicBezTo>
                    <a:cubicBezTo>
                      <a:pt x="0" y="87"/>
                      <a:pt x="97" y="0"/>
                      <a:pt x="215" y="0"/>
                    </a:cubicBezTo>
                    <a:cubicBezTo>
                      <a:pt x="332" y="0"/>
                      <a:pt x="428" y="87"/>
                      <a:pt x="428" y="19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 sz="1350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D65D4E44-F465-44D6-9217-9AEDE10A0CCB}"/>
                  </a:ext>
                </a:extLst>
              </p:cNvPr>
              <p:cNvSpPr/>
              <p:nvPr/>
            </p:nvSpPr>
            <p:spPr bwMode="auto">
              <a:xfrm>
                <a:off x="5453005" y="2915200"/>
                <a:ext cx="385820" cy="385094"/>
              </a:xfrm>
              <a:custGeom>
                <a:avLst/>
                <a:gdLst>
                  <a:gd name="connsiteX0" fmla="*/ 290910 w 605702"/>
                  <a:gd name="connsiteY0" fmla="*/ 156336 h 604568"/>
                  <a:gd name="connsiteX1" fmla="*/ 335849 w 605702"/>
                  <a:gd name="connsiteY1" fmla="*/ 164992 h 604568"/>
                  <a:gd name="connsiteX2" fmla="*/ 288310 w 605702"/>
                  <a:gd name="connsiteY2" fmla="*/ 212456 h 604568"/>
                  <a:gd name="connsiteX3" fmla="*/ 203632 w 605702"/>
                  <a:gd name="connsiteY3" fmla="*/ 244717 h 604568"/>
                  <a:gd name="connsiteX4" fmla="*/ 203632 w 605702"/>
                  <a:gd name="connsiteY4" fmla="*/ 401388 h 604568"/>
                  <a:gd name="connsiteX5" fmla="*/ 360547 w 605702"/>
                  <a:gd name="connsiteY5" fmla="*/ 401388 h 604568"/>
                  <a:gd name="connsiteX6" fmla="*/ 392859 w 605702"/>
                  <a:gd name="connsiteY6" fmla="*/ 316749 h 604568"/>
                  <a:gd name="connsiteX7" fmla="*/ 440397 w 605702"/>
                  <a:gd name="connsiteY7" fmla="*/ 269284 h 604568"/>
                  <a:gd name="connsiteX8" fmla="*/ 400287 w 605702"/>
                  <a:gd name="connsiteY8" fmla="*/ 441065 h 604568"/>
                  <a:gd name="connsiteX9" fmla="*/ 163892 w 605702"/>
                  <a:gd name="connsiteY9" fmla="*/ 441065 h 604568"/>
                  <a:gd name="connsiteX10" fmla="*/ 163892 w 605702"/>
                  <a:gd name="connsiteY10" fmla="*/ 205040 h 604568"/>
                  <a:gd name="connsiteX11" fmla="*/ 290910 w 605702"/>
                  <a:gd name="connsiteY11" fmla="*/ 156336 h 604568"/>
                  <a:gd name="connsiteX12" fmla="*/ 246542 w 605702"/>
                  <a:gd name="connsiteY12" fmla="*/ 43775 h 604568"/>
                  <a:gd name="connsiteX13" fmla="*/ 422196 w 605702"/>
                  <a:gd name="connsiteY13" fmla="*/ 78723 h 604568"/>
                  <a:gd name="connsiteX14" fmla="*/ 376794 w 605702"/>
                  <a:gd name="connsiteY14" fmla="*/ 124054 h 604568"/>
                  <a:gd name="connsiteX15" fmla="*/ 126109 w 605702"/>
                  <a:gd name="connsiteY15" fmla="*/ 167345 h 604568"/>
                  <a:gd name="connsiteX16" fmla="*/ 126109 w 605702"/>
                  <a:gd name="connsiteY16" fmla="*/ 478820 h 604568"/>
                  <a:gd name="connsiteX17" fmla="*/ 438073 w 605702"/>
                  <a:gd name="connsiteY17" fmla="*/ 478820 h 604568"/>
                  <a:gd name="connsiteX18" fmla="*/ 481432 w 605702"/>
                  <a:gd name="connsiteY18" fmla="*/ 228527 h 604568"/>
                  <a:gd name="connsiteX19" fmla="*/ 526741 w 605702"/>
                  <a:gd name="connsiteY19" fmla="*/ 183011 h 604568"/>
                  <a:gd name="connsiteX20" fmla="*/ 481432 w 605702"/>
                  <a:gd name="connsiteY20" fmla="*/ 522111 h 604568"/>
                  <a:gd name="connsiteX21" fmla="*/ 82657 w 605702"/>
                  <a:gd name="connsiteY21" fmla="*/ 522111 h 604568"/>
                  <a:gd name="connsiteX22" fmla="*/ 82657 w 605702"/>
                  <a:gd name="connsiteY22" fmla="*/ 123961 h 604568"/>
                  <a:gd name="connsiteX23" fmla="*/ 246542 w 605702"/>
                  <a:gd name="connsiteY23" fmla="*/ 43775 h 604568"/>
                  <a:gd name="connsiteX24" fmla="*/ 536061 w 605702"/>
                  <a:gd name="connsiteY24" fmla="*/ 0 h 604568"/>
                  <a:gd name="connsiteX25" fmla="*/ 544232 w 605702"/>
                  <a:gd name="connsiteY25" fmla="*/ 61368 h 604568"/>
                  <a:gd name="connsiteX26" fmla="*/ 605702 w 605702"/>
                  <a:gd name="connsiteY26" fmla="*/ 69526 h 604568"/>
                  <a:gd name="connsiteX27" fmla="*/ 524361 w 605702"/>
                  <a:gd name="connsiteY27" fmla="*/ 150732 h 604568"/>
                  <a:gd name="connsiteX28" fmla="*/ 498361 w 605702"/>
                  <a:gd name="connsiteY28" fmla="*/ 147302 h 604568"/>
                  <a:gd name="connsiteX29" fmla="*/ 337721 w 605702"/>
                  <a:gd name="connsiteY29" fmla="*/ 307767 h 604568"/>
                  <a:gd name="connsiteX30" fmla="*/ 339764 w 605702"/>
                  <a:gd name="connsiteY30" fmla="*/ 323063 h 604568"/>
                  <a:gd name="connsiteX31" fmla="*/ 282101 w 605702"/>
                  <a:gd name="connsiteY31" fmla="*/ 380630 h 604568"/>
                  <a:gd name="connsiteX32" fmla="*/ 224437 w 605702"/>
                  <a:gd name="connsiteY32" fmla="*/ 323063 h 604568"/>
                  <a:gd name="connsiteX33" fmla="*/ 282101 w 605702"/>
                  <a:gd name="connsiteY33" fmla="*/ 265495 h 604568"/>
                  <a:gd name="connsiteX34" fmla="*/ 297422 w 605702"/>
                  <a:gd name="connsiteY34" fmla="*/ 267535 h 604568"/>
                  <a:gd name="connsiteX35" fmla="*/ 458155 w 605702"/>
                  <a:gd name="connsiteY35" fmla="*/ 107162 h 604568"/>
                  <a:gd name="connsiteX36" fmla="*/ 454719 w 605702"/>
                  <a:gd name="connsiteY36" fmla="*/ 81206 h 6045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5702" h="604568">
                    <a:moveTo>
                      <a:pt x="290910" y="156336"/>
                    </a:moveTo>
                    <a:cubicBezTo>
                      <a:pt x="306137" y="157147"/>
                      <a:pt x="321272" y="160032"/>
                      <a:pt x="335849" y="164992"/>
                    </a:cubicBezTo>
                    <a:lnTo>
                      <a:pt x="288310" y="212456"/>
                    </a:lnTo>
                    <a:cubicBezTo>
                      <a:pt x="257856" y="210695"/>
                      <a:pt x="226844" y="221449"/>
                      <a:pt x="203632" y="244717"/>
                    </a:cubicBezTo>
                    <a:cubicBezTo>
                      <a:pt x="160271" y="287918"/>
                      <a:pt x="160271" y="358187"/>
                      <a:pt x="203632" y="401388"/>
                    </a:cubicBezTo>
                    <a:cubicBezTo>
                      <a:pt x="246900" y="444680"/>
                      <a:pt x="317279" y="444680"/>
                      <a:pt x="360547" y="401388"/>
                    </a:cubicBezTo>
                    <a:cubicBezTo>
                      <a:pt x="383852" y="378211"/>
                      <a:pt x="394623" y="347156"/>
                      <a:pt x="392859" y="316749"/>
                    </a:cubicBezTo>
                    <a:lnTo>
                      <a:pt x="440397" y="269284"/>
                    </a:lnTo>
                    <a:cubicBezTo>
                      <a:pt x="460267" y="327595"/>
                      <a:pt x="446897" y="394620"/>
                      <a:pt x="400287" y="441065"/>
                    </a:cubicBezTo>
                    <a:cubicBezTo>
                      <a:pt x="335106" y="506236"/>
                      <a:pt x="229073" y="506236"/>
                      <a:pt x="163892" y="441065"/>
                    </a:cubicBezTo>
                    <a:cubicBezTo>
                      <a:pt x="98619" y="375987"/>
                      <a:pt x="98619" y="270118"/>
                      <a:pt x="163892" y="205040"/>
                    </a:cubicBezTo>
                    <a:cubicBezTo>
                      <a:pt x="198711" y="170137"/>
                      <a:pt x="245228" y="153902"/>
                      <a:pt x="290910" y="156336"/>
                    </a:cubicBezTo>
                    <a:close/>
                    <a:moveTo>
                      <a:pt x="246542" y="43775"/>
                    </a:moveTo>
                    <a:cubicBezTo>
                      <a:pt x="306463" y="36243"/>
                      <a:pt x="368345" y="47900"/>
                      <a:pt x="422196" y="78723"/>
                    </a:cubicBezTo>
                    <a:lnTo>
                      <a:pt x="376794" y="124054"/>
                    </a:lnTo>
                    <a:cubicBezTo>
                      <a:pt x="294811" y="85305"/>
                      <a:pt x="193980" y="99581"/>
                      <a:pt x="126109" y="167345"/>
                    </a:cubicBezTo>
                    <a:cubicBezTo>
                      <a:pt x="39948" y="253371"/>
                      <a:pt x="39948" y="392793"/>
                      <a:pt x="126109" y="478820"/>
                    </a:cubicBezTo>
                    <a:cubicBezTo>
                      <a:pt x="212271" y="564846"/>
                      <a:pt x="351912" y="564846"/>
                      <a:pt x="438073" y="478820"/>
                    </a:cubicBezTo>
                    <a:cubicBezTo>
                      <a:pt x="505944" y="411055"/>
                      <a:pt x="520428" y="310382"/>
                      <a:pt x="481432" y="228527"/>
                    </a:cubicBezTo>
                    <a:lnTo>
                      <a:pt x="526741" y="183011"/>
                    </a:lnTo>
                    <a:cubicBezTo>
                      <a:pt x="588484" y="290544"/>
                      <a:pt x="573350" y="430244"/>
                      <a:pt x="481432" y="522111"/>
                    </a:cubicBezTo>
                    <a:cubicBezTo>
                      <a:pt x="371316" y="632054"/>
                      <a:pt x="192866" y="632054"/>
                      <a:pt x="82657" y="522111"/>
                    </a:cubicBezTo>
                    <a:cubicBezTo>
                      <a:pt x="-27552" y="412168"/>
                      <a:pt x="-27552" y="233997"/>
                      <a:pt x="82657" y="123961"/>
                    </a:cubicBezTo>
                    <a:cubicBezTo>
                      <a:pt x="128662" y="78028"/>
                      <a:pt x="186622" y="51307"/>
                      <a:pt x="246542" y="43775"/>
                    </a:cubicBezTo>
                    <a:close/>
                    <a:moveTo>
                      <a:pt x="536061" y="0"/>
                    </a:moveTo>
                    <a:lnTo>
                      <a:pt x="544232" y="61368"/>
                    </a:lnTo>
                    <a:lnTo>
                      <a:pt x="605702" y="69526"/>
                    </a:lnTo>
                    <a:lnTo>
                      <a:pt x="524361" y="150732"/>
                    </a:lnTo>
                    <a:lnTo>
                      <a:pt x="498361" y="147302"/>
                    </a:lnTo>
                    <a:lnTo>
                      <a:pt x="337721" y="307767"/>
                    </a:lnTo>
                    <a:cubicBezTo>
                      <a:pt x="339021" y="312588"/>
                      <a:pt x="339764" y="317779"/>
                      <a:pt x="339764" y="323063"/>
                    </a:cubicBezTo>
                    <a:cubicBezTo>
                      <a:pt x="339764" y="354859"/>
                      <a:pt x="313950" y="380630"/>
                      <a:pt x="282101" y="380630"/>
                    </a:cubicBezTo>
                    <a:cubicBezTo>
                      <a:pt x="250251" y="380630"/>
                      <a:pt x="224437" y="354859"/>
                      <a:pt x="224437" y="323063"/>
                    </a:cubicBezTo>
                    <a:cubicBezTo>
                      <a:pt x="224437" y="291266"/>
                      <a:pt x="250251" y="265495"/>
                      <a:pt x="282101" y="265495"/>
                    </a:cubicBezTo>
                    <a:cubicBezTo>
                      <a:pt x="287393" y="265495"/>
                      <a:pt x="292500" y="266237"/>
                      <a:pt x="297422" y="267535"/>
                    </a:cubicBezTo>
                    <a:lnTo>
                      <a:pt x="458155" y="107162"/>
                    </a:lnTo>
                    <a:lnTo>
                      <a:pt x="454719" y="81206"/>
                    </a:ln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lnSpcReduction="10000"/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C79B3B09-F794-430F-A861-C030946F4EC8}"/>
                  </a:ext>
                </a:extLst>
              </p:cNvPr>
              <p:cNvSpPr/>
              <p:nvPr/>
            </p:nvSpPr>
            <p:spPr bwMode="auto">
              <a:xfrm>
                <a:off x="7061352" y="3380092"/>
                <a:ext cx="377356" cy="305436"/>
              </a:xfrm>
              <a:custGeom>
                <a:avLst/>
                <a:gdLst>
                  <a:gd name="connsiteX0" fmla="*/ 355420 w 607568"/>
                  <a:gd name="connsiteY0" fmla="*/ 250307 h 491771"/>
                  <a:gd name="connsiteX1" fmla="*/ 352312 w 607568"/>
                  <a:gd name="connsiteY1" fmla="*/ 251812 h 491771"/>
                  <a:gd name="connsiteX2" fmla="*/ 321042 w 607568"/>
                  <a:gd name="connsiteY2" fmla="*/ 289814 h 491771"/>
                  <a:gd name="connsiteX3" fmla="*/ 321513 w 607568"/>
                  <a:gd name="connsiteY3" fmla="*/ 295364 h 491771"/>
                  <a:gd name="connsiteX4" fmla="*/ 369736 w 607568"/>
                  <a:gd name="connsiteY4" fmla="*/ 338257 h 491771"/>
                  <a:gd name="connsiteX5" fmla="*/ 371997 w 607568"/>
                  <a:gd name="connsiteY5" fmla="*/ 339104 h 491771"/>
                  <a:gd name="connsiteX6" fmla="*/ 373127 w 607568"/>
                  <a:gd name="connsiteY6" fmla="*/ 338916 h 491771"/>
                  <a:gd name="connsiteX7" fmla="*/ 375293 w 607568"/>
                  <a:gd name="connsiteY7" fmla="*/ 336282 h 491771"/>
                  <a:gd name="connsiteX8" fmla="*/ 383676 w 607568"/>
                  <a:gd name="connsiteY8" fmla="*/ 279467 h 491771"/>
                  <a:gd name="connsiteX9" fmla="*/ 376424 w 607568"/>
                  <a:gd name="connsiteY9" fmla="*/ 263287 h 491771"/>
                  <a:gd name="connsiteX10" fmla="*/ 357681 w 607568"/>
                  <a:gd name="connsiteY10" fmla="*/ 250965 h 491771"/>
                  <a:gd name="connsiteX11" fmla="*/ 355420 w 607568"/>
                  <a:gd name="connsiteY11" fmla="*/ 250307 h 491771"/>
                  <a:gd name="connsiteX12" fmla="*/ 258879 w 607568"/>
                  <a:gd name="connsiteY12" fmla="*/ 250307 h 491771"/>
                  <a:gd name="connsiteX13" fmla="*/ 256712 w 607568"/>
                  <a:gd name="connsiteY13" fmla="*/ 250965 h 491771"/>
                  <a:gd name="connsiteX14" fmla="*/ 237969 w 607568"/>
                  <a:gd name="connsiteY14" fmla="*/ 263287 h 491771"/>
                  <a:gd name="connsiteX15" fmla="*/ 230717 w 607568"/>
                  <a:gd name="connsiteY15" fmla="*/ 279467 h 491771"/>
                  <a:gd name="connsiteX16" fmla="*/ 239100 w 607568"/>
                  <a:gd name="connsiteY16" fmla="*/ 336282 h 491771"/>
                  <a:gd name="connsiteX17" fmla="*/ 241266 w 607568"/>
                  <a:gd name="connsiteY17" fmla="*/ 338916 h 491771"/>
                  <a:gd name="connsiteX18" fmla="*/ 242396 w 607568"/>
                  <a:gd name="connsiteY18" fmla="*/ 339104 h 491771"/>
                  <a:gd name="connsiteX19" fmla="*/ 244657 w 607568"/>
                  <a:gd name="connsiteY19" fmla="*/ 338257 h 491771"/>
                  <a:gd name="connsiteX20" fmla="*/ 292880 w 607568"/>
                  <a:gd name="connsiteY20" fmla="*/ 295364 h 491771"/>
                  <a:gd name="connsiteX21" fmla="*/ 293351 w 607568"/>
                  <a:gd name="connsiteY21" fmla="*/ 289814 h 491771"/>
                  <a:gd name="connsiteX22" fmla="*/ 261987 w 607568"/>
                  <a:gd name="connsiteY22" fmla="*/ 251812 h 491771"/>
                  <a:gd name="connsiteX23" fmla="*/ 258879 w 607568"/>
                  <a:gd name="connsiteY23" fmla="*/ 250307 h 491771"/>
                  <a:gd name="connsiteX24" fmla="*/ 500465 w 607568"/>
                  <a:gd name="connsiteY24" fmla="*/ 66049 h 491771"/>
                  <a:gd name="connsiteX25" fmla="*/ 565743 w 607568"/>
                  <a:gd name="connsiteY25" fmla="*/ 130673 h 491771"/>
                  <a:gd name="connsiteX26" fmla="*/ 566120 w 607568"/>
                  <a:gd name="connsiteY26" fmla="*/ 130673 h 491771"/>
                  <a:gd name="connsiteX27" fmla="*/ 580250 w 607568"/>
                  <a:gd name="connsiteY27" fmla="*/ 160962 h 491771"/>
                  <a:gd name="connsiteX28" fmla="*/ 560939 w 607568"/>
                  <a:gd name="connsiteY28" fmla="*/ 182503 h 491771"/>
                  <a:gd name="connsiteX29" fmla="*/ 531927 w 607568"/>
                  <a:gd name="connsiteY29" fmla="*/ 223799 h 491771"/>
                  <a:gd name="connsiteX30" fmla="*/ 528253 w 607568"/>
                  <a:gd name="connsiteY30" fmla="*/ 234240 h 491771"/>
                  <a:gd name="connsiteX31" fmla="*/ 530797 w 607568"/>
                  <a:gd name="connsiteY31" fmla="*/ 246281 h 491771"/>
                  <a:gd name="connsiteX32" fmla="*/ 545868 w 607568"/>
                  <a:gd name="connsiteY32" fmla="*/ 261143 h 491771"/>
                  <a:gd name="connsiteX33" fmla="*/ 558961 w 607568"/>
                  <a:gd name="connsiteY33" fmla="*/ 263777 h 491771"/>
                  <a:gd name="connsiteX34" fmla="*/ 597299 w 607568"/>
                  <a:gd name="connsiteY34" fmla="*/ 301968 h 491771"/>
                  <a:gd name="connsiteX35" fmla="*/ 607002 w 607568"/>
                  <a:gd name="connsiteY35" fmla="*/ 350788 h 491771"/>
                  <a:gd name="connsiteX36" fmla="*/ 601256 w 607568"/>
                  <a:gd name="connsiteY36" fmla="*/ 373835 h 491771"/>
                  <a:gd name="connsiteX37" fmla="*/ 579685 w 607568"/>
                  <a:gd name="connsiteY37" fmla="*/ 384088 h 491771"/>
                  <a:gd name="connsiteX38" fmla="*/ 490386 w 607568"/>
                  <a:gd name="connsiteY38" fmla="*/ 384088 h 491771"/>
                  <a:gd name="connsiteX39" fmla="*/ 467685 w 607568"/>
                  <a:gd name="connsiteY39" fmla="*/ 310058 h 491771"/>
                  <a:gd name="connsiteX40" fmla="*/ 431702 w 607568"/>
                  <a:gd name="connsiteY40" fmla="*/ 267445 h 491771"/>
                  <a:gd name="connsiteX41" fmla="*/ 441969 w 607568"/>
                  <a:gd name="connsiteY41" fmla="*/ 263777 h 491771"/>
                  <a:gd name="connsiteX42" fmla="*/ 455157 w 607568"/>
                  <a:gd name="connsiteY42" fmla="*/ 261237 h 491771"/>
                  <a:gd name="connsiteX43" fmla="*/ 470228 w 607568"/>
                  <a:gd name="connsiteY43" fmla="*/ 246281 h 491771"/>
                  <a:gd name="connsiteX44" fmla="*/ 472677 w 607568"/>
                  <a:gd name="connsiteY44" fmla="*/ 234240 h 491771"/>
                  <a:gd name="connsiteX45" fmla="*/ 469098 w 607568"/>
                  <a:gd name="connsiteY45" fmla="*/ 223893 h 491771"/>
                  <a:gd name="connsiteX46" fmla="*/ 439991 w 607568"/>
                  <a:gd name="connsiteY46" fmla="*/ 182503 h 491771"/>
                  <a:gd name="connsiteX47" fmla="*/ 426144 w 607568"/>
                  <a:gd name="connsiteY47" fmla="*/ 172720 h 491771"/>
                  <a:gd name="connsiteX48" fmla="*/ 441404 w 607568"/>
                  <a:gd name="connsiteY48" fmla="*/ 143278 h 491771"/>
                  <a:gd name="connsiteX49" fmla="*/ 439708 w 607568"/>
                  <a:gd name="connsiteY49" fmla="*/ 107438 h 491771"/>
                  <a:gd name="connsiteX50" fmla="*/ 500465 w 607568"/>
                  <a:gd name="connsiteY50" fmla="*/ 66049 h 491771"/>
                  <a:gd name="connsiteX51" fmla="*/ 107100 w 607568"/>
                  <a:gd name="connsiteY51" fmla="*/ 66049 h 491771"/>
                  <a:gd name="connsiteX52" fmla="*/ 171341 w 607568"/>
                  <a:gd name="connsiteY52" fmla="*/ 123618 h 491771"/>
                  <a:gd name="connsiteX53" fmla="*/ 172849 w 607568"/>
                  <a:gd name="connsiteY53" fmla="*/ 143278 h 491771"/>
                  <a:gd name="connsiteX54" fmla="*/ 184246 w 607568"/>
                  <a:gd name="connsiteY54" fmla="*/ 168205 h 491771"/>
                  <a:gd name="connsiteX55" fmla="*/ 167574 w 607568"/>
                  <a:gd name="connsiteY55" fmla="*/ 182503 h 491771"/>
                  <a:gd name="connsiteX56" fmla="*/ 138468 w 607568"/>
                  <a:gd name="connsiteY56" fmla="*/ 223799 h 491771"/>
                  <a:gd name="connsiteX57" fmla="*/ 134794 w 607568"/>
                  <a:gd name="connsiteY57" fmla="*/ 234240 h 491771"/>
                  <a:gd name="connsiteX58" fmla="*/ 137337 w 607568"/>
                  <a:gd name="connsiteY58" fmla="*/ 246281 h 491771"/>
                  <a:gd name="connsiteX59" fmla="*/ 152408 w 607568"/>
                  <a:gd name="connsiteY59" fmla="*/ 261143 h 491771"/>
                  <a:gd name="connsiteX60" fmla="*/ 165596 w 607568"/>
                  <a:gd name="connsiteY60" fmla="*/ 263777 h 491771"/>
                  <a:gd name="connsiteX61" fmla="*/ 179442 w 607568"/>
                  <a:gd name="connsiteY61" fmla="*/ 268856 h 491771"/>
                  <a:gd name="connsiteX62" fmla="*/ 146662 w 607568"/>
                  <a:gd name="connsiteY62" fmla="*/ 310058 h 491771"/>
                  <a:gd name="connsiteX63" fmla="*/ 123867 w 607568"/>
                  <a:gd name="connsiteY63" fmla="*/ 384088 h 491771"/>
                  <a:gd name="connsiteX64" fmla="*/ 27883 w 607568"/>
                  <a:gd name="connsiteY64" fmla="*/ 384088 h 491771"/>
                  <a:gd name="connsiteX65" fmla="*/ 6312 w 607568"/>
                  <a:gd name="connsiteY65" fmla="*/ 373835 h 491771"/>
                  <a:gd name="connsiteX66" fmla="*/ 566 w 607568"/>
                  <a:gd name="connsiteY66" fmla="*/ 350788 h 491771"/>
                  <a:gd name="connsiteX67" fmla="*/ 10268 w 607568"/>
                  <a:gd name="connsiteY67" fmla="*/ 301968 h 491771"/>
                  <a:gd name="connsiteX68" fmla="*/ 48606 w 607568"/>
                  <a:gd name="connsiteY68" fmla="*/ 263777 h 491771"/>
                  <a:gd name="connsiteX69" fmla="*/ 61699 w 607568"/>
                  <a:gd name="connsiteY69" fmla="*/ 261237 h 491771"/>
                  <a:gd name="connsiteX70" fmla="*/ 76770 w 607568"/>
                  <a:gd name="connsiteY70" fmla="*/ 246281 h 491771"/>
                  <a:gd name="connsiteX71" fmla="*/ 79313 w 607568"/>
                  <a:gd name="connsiteY71" fmla="*/ 234240 h 491771"/>
                  <a:gd name="connsiteX72" fmla="*/ 75639 w 607568"/>
                  <a:gd name="connsiteY72" fmla="*/ 223893 h 491771"/>
                  <a:gd name="connsiteX73" fmla="*/ 46628 w 607568"/>
                  <a:gd name="connsiteY73" fmla="*/ 182503 h 491771"/>
                  <a:gd name="connsiteX74" fmla="*/ 27318 w 607568"/>
                  <a:gd name="connsiteY74" fmla="*/ 160962 h 491771"/>
                  <a:gd name="connsiteX75" fmla="*/ 41447 w 607568"/>
                  <a:gd name="connsiteY75" fmla="*/ 130673 h 491771"/>
                  <a:gd name="connsiteX76" fmla="*/ 41824 w 607568"/>
                  <a:gd name="connsiteY76" fmla="*/ 130673 h 491771"/>
                  <a:gd name="connsiteX77" fmla="*/ 107100 w 607568"/>
                  <a:gd name="connsiteY77" fmla="*/ 66049 h 491771"/>
                  <a:gd name="connsiteX78" fmla="*/ 298626 w 607568"/>
                  <a:gd name="connsiteY78" fmla="*/ 0 h 491771"/>
                  <a:gd name="connsiteX79" fmla="*/ 315956 w 607568"/>
                  <a:gd name="connsiteY79" fmla="*/ 0 h 491771"/>
                  <a:gd name="connsiteX80" fmla="*/ 401854 w 607568"/>
                  <a:gd name="connsiteY80" fmla="*/ 85787 h 491771"/>
                  <a:gd name="connsiteX81" fmla="*/ 401854 w 607568"/>
                  <a:gd name="connsiteY81" fmla="*/ 95476 h 491771"/>
                  <a:gd name="connsiteX82" fmla="*/ 421633 w 607568"/>
                  <a:gd name="connsiteY82" fmla="*/ 138840 h 491771"/>
                  <a:gd name="connsiteX83" fmla="*/ 417960 w 607568"/>
                  <a:gd name="connsiteY83" fmla="*/ 149281 h 491771"/>
                  <a:gd name="connsiteX84" fmla="*/ 417112 w 607568"/>
                  <a:gd name="connsiteY84" fmla="*/ 151068 h 491771"/>
                  <a:gd name="connsiteX85" fmla="*/ 411273 w 607568"/>
                  <a:gd name="connsiteY85" fmla="*/ 159534 h 491771"/>
                  <a:gd name="connsiteX86" fmla="*/ 410896 w 607568"/>
                  <a:gd name="connsiteY86" fmla="*/ 159910 h 491771"/>
                  <a:gd name="connsiteX87" fmla="*/ 394037 w 607568"/>
                  <a:gd name="connsiteY87" fmla="*/ 169787 h 491771"/>
                  <a:gd name="connsiteX88" fmla="*/ 384900 w 607568"/>
                  <a:gd name="connsiteY88" fmla="*/ 189541 h 491771"/>
                  <a:gd name="connsiteX89" fmla="*/ 384712 w 607568"/>
                  <a:gd name="connsiteY89" fmla="*/ 189823 h 491771"/>
                  <a:gd name="connsiteX90" fmla="*/ 373316 w 607568"/>
                  <a:gd name="connsiteY90" fmla="*/ 207131 h 491771"/>
                  <a:gd name="connsiteX91" fmla="*/ 372750 w 607568"/>
                  <a:gd name="connsiteY91" fmla="*/ 207789 h 491771"/>
                  <a:gd name="connsiteX92" fmla="*/ 359847 w 607568"/>
                  <a:gd name="connsiteY92" fmla="*/ 222275 h 491771"/>
                  <a:gd name="connsiteX93" fmla="*/ 359188 w 607568"/>
                  <a:gd name="connsiteY93" fmla="*/ 222934 h 491771"/>
                  <a:gd name="connsiteX94" fmla="*/ 345154 w 607568"/>
                  <a:gd name="connsiteY94" fmla="*/ 234598 h 491771"/>
                  <a:gd name="connsiteX95" fmla="*/ 345625 w 607568"/>
                  <a:gd name="connsiteY95" fmla="*/ 236855 h 491771"/>
                  <a:gd name="connsiteX96" fmla="*/ 348639 w 607568"/>
                  <a:gd name="connsiteY96" fmla="*/ 235538 h 491771"/>
                  <a:gd name="connsiteX97" fmla="*/ 355514 w 607568"/>
                  <a:gd name="connsiteY97" fmla="*/ 234033 h 491771"/>
                  <a:gd name="connsiteX98" fmla="*/ 366628 w 607568"/>
                  <a:gd name="connsiteY98" fmla="*/ 237326 h 491771"/>
                  <a:gd name="connsiteX99" fmla="*/ 385371 w 607568"/>
                  <a:gd name="connsiteY99" fmla="*/ 249648 h 491771"/>
                  <a:gd name="connsiteX100" fmla="*/ 399876 w 607568"/>
                  <a:gd name="connsiteY100" fmla="*/ 279373 h 491771"/>
                  <a:gd name="connsiteX101" fmla="*/ 430016 w 607568"/>
                  <a:gd name="connsiteY101" fmla="*/ 289814 h 491771"/>
                  <a:gd name="connsiteX102" fmla="*/ 448382 w 607568"/>
                  <a:gd name="connsiteY102" fmla="*/ 316058 h 491771"/>
                  <a:gd name="connsiteX103" fmla="*/ 481630 w 607568"/>
                  <a:gd name="connsiteY103" fmla="*/ 424515 h 491771"/>
                  <a:gd name="connsiteX104" fmla="*/ 483891 w 607568"/>
                  <a:gd name="connsiteY104" fmla="*/ 436461 h 491771"/>
                  <a:gd name="connsiteX105" fmla="*/ 473718 w 607568"/>
                  <a:gd name="connsiteY105" fmla="*/ 470700 h 491771"/>
                  <a:gd name="connsiteX106" fmla="*/ 443956 w 607568"/>
                  <a:gd name="connsiteY106" fmla="*/ 490360 h 491771"/>
                  <a:gd name="connsiteX107" fmla="*/ 431805 w 607568"/>
                  <a:gd name="connsiteY107" fmla="*/ 491771 h 491771"/>
                  <a:gd name="connsiteX108" fmla="*/ 325375 w 607568"/>
                  <a:gd name="connsiteY108" fmla="*/ 491771 h 491771"/>
                  <a:gd name="connsiteX109" fmla="*/ 337430 w 607568"/>
                  <a:gd name="connsiteY109" fmla="*/ 415296 h 491771"/>
                  <a:gd name="connsiteX110" fmla="*/ 334605 w 607568"/>
                  <a:gd name="connsiteY110" fmla="*/ 389052 h 491771"/>
                  <a:gd name="connsiteX111" fmla="*/ 323962 w 607568"/>
                  <a:gd name="connsiteY111" fmla="*/ 360927 h 491771"/>
                  <a:gd name="connsiteX112" fmla="*/ 337430 w 607568"/>
                  <a:gd name="connsiteY112" fmla="*/ 347476 h 491771"/>
                  <a:gd name="connsiteX113" fmla="*/ 307196 w 607568"/>
                  <a:gd name="connsiteY113" fmla="*/ 317281 h 491771"/>
                  <a:gd name="connsiteX114" fmla="*/ 276868 w 607568"/>
                  <a:gd name="connsiteY114" fmla="*/ 347476 h 491771"/>
                  <a:gd name="connsiteX115" fmla="*/ 290337 w 607568"/>
                  <a:gd name="connsiteY115" fmla="*/ 360927 h 491771"/>
                  <a:gd name="connsiteX116" fmla="*/ 279694 w 607568"/>
                  <a:gd name="connsiteY116" fmla="*/ 389052 h 491771"/>
                  <a:gd name="connsiteX117" fmla="*/ 276963 w 607568"/>
                  <a:gd name="connsiteY117" fmla="*/ 415296 h 491771"/>
                  <a:gd name="connsiteX118" fmla="*/ 288736 w 607568"/>
                  <a:gd name="connsiteY118" fmla="*/ 491771 h 491771"/>
                  <a:gd name="connsiteX119" fmla="*/ 182493 w 607568"/>
                  <a:gd name="connsiteY119" fmla="*/ 491771 h 491771"/>
                  <a:gd name="connsiteX120" fmla="*/ 170437 w 607568"/>
                  <a:gd name="connsiteY120" fmla="*/ 490360 h 491771"/>
                  <a:gd name="connsiteX121" fmla="*/ 140675 w 607568"/>
                  <a:gd name="connsiteY121" fmla="*/ 470700 h 491771"/>
                  <a:gd name="connsiteX122" fmla="*/ 132669 w 607568"/>
                  <a:gd name="connsiteY122" fmla="*/ 424515 h 491771"/>
                  <a:gd name="connsiteX123" fmla="*/ 166011 w 607568"/>
                  <a:gd name="connsiteY123" fmla="*/ 316058 h 491771"/>
                  <a:gd name="connsiteX124" fmla="*/ 184377 w 607568"/>
                  <a:gd name="connsiteY124" fmla="*/ 289814 h 491771"/>
                  <a:gd name="connsiteX125" fmla="*/ 214517 w 607568"/>
                  <a:gd name="connsiteY125" fmla="*/ 279373 h 491771"/>
                  <a:gd name="connsiteX126" fmla="*/ 214517 w 607568"/>
                  <a:gd name="connsiteY126" fmla="*/ 279279 h 491771"/>
                  <a:gd name="connsiteX127" fmla="*/ 229022 w 607568"/>
                  <a:gd name="connsiteY127" fmla="*/ 249648 h 491771"/>
                  <a:gd name="connsiteX128" fmla="*/ 247765 w 607568"/>
                  <a:gd name="connsiteY128" fmla="*/ 237326 h 491771"/>
                  <a:gd name="connsiteX129" fmla="*/ 258879 w 607568"/>
                  <a:gd name="connsiteY129" fmla="*/ 234033 h 491771"/>
                  <a:gd name="connsiteX130" fmla="*/ 265754 w 607568"/>
                  <a:gd name="connsiteY130" fmla="*/ 235538 h 491771"/>
                  <a:gd name="connsiteX131" fmla="*/ 268768 w 607568"/>
                  <a:gd name="connsiteY131" fmla="*/ 236855 h 491771"/>
                  <a:gd name="connsiteX132" fmla="*/ 269239 w 607568"/>
                  <a:gd name="connsiteY132" fmla="*/ 234598 h 491771"/>
                  <a:gd name="connsiteX133" fmla="*/ 255205 w 607568"/>
                  <a:gd name="connsiteY133" fmla="*/ 222934 h 491771"/>
                  <a:gd name="connsiteX134" fmla="*/ 254546 w 607568"/>
                  <a:gd name="connsiteY134" fmla="*/ 222275 h 491771"/>
                  <a:gd name="connsiteX135" fmla="*/ 241548 w 607568"/>
                  <a:gd name="connsiteY135" fmla="*/ 207789 h 491771"/>
                  <a:gd name="connsiteX136" fmla="*/ 241077 w 607568"/>
                  <a:gd name="connsiteY136" fmla="*/ 207225 h 491771"/>
                  <a:gd name="connsiteX137" fmla="*/ 229681 w 607568"/>
                  <a:gd name="connsiteY137" fmla="*/ 189823 h 491771"/>
                  <a:gd name="connsiteX138" fmla="*/ 229493 w 607568"/>
                  <a:gd name="connsiteY138" fmla="*/ 189635 h 491771"/>
                  <a:gd name="connsiteX139" fmla="*/ 220356 w 607568"/>
                  <a:gd name="connsiteY139" fmla="*/ 169787 h 491771"/>
                  <a:gd name="connsiteX140" fmla="*/ 203497 w 607568"/>
                  <a:gd name="connsiteY140" fmla="*/ 159910 h 491771"/>
                  <a:gd name="connsiteX141" fmla="*/ 203120 w 607568"/>
                  <a:gd name="connsiteY141" fmla="*/ 159534 h 491771"/>
                  <a:gd name="connsiteX142" fmla="*/ 197281 w 607568"/>
                  <a:gd name="connsiteY142" fmla="*/ 151068 h 491771"/>
                  <a:gd name="connsiteX143" fmla="*/ 196433 w 607568"/>
                  <a:gd name="connsiteY143" fmla="*/ 149281 h 491771"/>
                  <a:gd name="connsiteX144" fmla="*/ 192666 w 607568"/>
                  <a:gd name="connsiteY144" fmla="*/ 138840 h 491771"/>
                  <a:gd name="connsiteX145" fmla="*/ 212727 w 607568"/>
                  <a:gd name="connsiteY145" fmla="*/ 95476 h 491771"/>
                  <a:gd name="connsiteX146" fmla="*/ 212727 w 607568"/>
                  <a:gd name="connsiteY146" fmla="*/ 85787 h 491771"/>
                  <a:gd name="connsiteX147" fmla="*/ 298626 w 607568"/>
                  <a:gd name="connsiteY147" fmla="*/ 0 h 4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607568" h="491771">
                    <a:moveTo>
                      <a:pt x="355420" y="250307"/>
                    </a:moveTo>
                    <a:cubicBezTo>
                      <a:pt x="354290" y="250307"/>
                      <a:pt x="353160" y="250871"/>
                      <a:pt x="352312" y="251812"/>
                    </a:cubicBezTo>
                    <a:lnTo>
                      <a:pt x="321042" y="289814"/>
                    </a:lnTo>
                    <a:cubicBezTo>
                      <a:pt x="319723" y="291507"/>
                      <a:pt x="319912" y="293953"/>
                      <a:pt x="321513" y="295364"/>
                    </a:cubicBezTo>
                    <a:lnTo>
                      <a:pt x="369736" y="338257"/>
                    </a:lnTo>
                    <a:cubicBezTo>
                      <a:pt x="370396" y="338822"/>
                      <a:pt x="371149" y="339104"/>
                      <a:pt x="371997" y="339104"/>
                    </a:cubicBezTo>
                    <a:cubicBezTo>
                      <a:pt x="372374" y="339104"/>
                      <a:pt x="372750" y="339010"/>
                      <a:pt x="373127" y="338916"/>
                    </a:cubicBezTo>
                    <a:cubicBezTo>
                      <a:pt x="374257" y="338539"/>
                      <a:pt x="375105" y="337505"/>
                      <a:pt x="375293" y="336282"/>
                    </a:cubicBezTo>
                    <a:lnTo>
                      <a:pt x="383676" y="279467"/>
                    </a:lnTo>
                    <a:cubicBezTo>
                      <a:pt x="384618" y="273164"/>
                      <a:pt x="381792" y="266768"/>
                      <a:pt x="376424" y="263287"/>
                    </a:cubicBezTo>
                    <a:lnTo>
                      <a:pt x="357681" y="250965"/>
                    </a:lnTo>
                    <a:cubicBezTo>
                      <a:pt x="357021" y="250495"/>
                      <a:pt x="356174" y="250307"/>
                      <a:pt x="355420" y="250307"/>
                    </a:cubicBezTo>
                    <a:close/>
                    <a:moveTo>
                      <a:pt x="258879" y="250307"/>
                    </a:moveTo>
                    <a:cubicBezTo>
                      <a:pt x="258125" y="250307"/>
                      <a:pt x="257372" y="250495"/>
                      <a:pt x="256712" y="250965"/>
                    </a:cubicBezTo>
                    <a:lnTo>
                      <a:pt x="237969" y="263287"/>
                    </a:lnTo>
                    <a:cubicBezTo>
                      <a:pt x="232601" y="266768"/>
                      <a:pt x="229775" y="273164"/>
                      <a:pt x="230717" y="279467"/>
                    </a:cubicBezTo>
                    <a:lnTo>
                      <a:pt x="239100" y="336282"/>
                    </a:lnTo>
                    <a:cubicBezTo>
                      <a:pt x="239288" y="337505"/>
                      <a:pt x="240136" y="338539"/>
                      <a:pt x="241266" y="338916"/>
                    </a:cubicBezTo>
                    <a:cubicBezTo>
                      <a:pt x="241643" y="339010"/>
                      <a:pt x="242019" y="339104"/>
                      <a:pt x="242396" y="339104"/>
                    </a:cubicBezTo>
                    <a:cubicBezTo>
                      <a:pt x="243244" y="339104"/>
                      <a:pt x="243997" y="338822"/>
                      <a:pt x="244657" y="338257"/>
                    </a:cubicBezTo>
                    <a:lnTo>
                      <a:pt x="292880" y="295364"/>
                    </a:lnTo>
                    <a:cubicBezTo>
                      <a:pt x="294481" y="293953"/>
                      <a:pt x="294670" y="291507"/>
                      <a:pt x="293351" y="289814"/>
                    </a:cubicBezTo>
                    <a:lnTo>
                      <a:pt x="261987" y="251812"/>
                    </a:lnTo>
                    <a:cubicBezTo>
                      <a:pt x="261233" y="250871"/>
                      <a:pt x="260103" y="250307"/>
                      <a:pt x="258879" y="250307"/>
                    </a:cubicBezTo>
                    <a:close/>
                    <a:moveTo>
                      <a:pt x="500465" y="66049"/>
                    </a:moveTo>
                    <a:cubicBezTo>
                      <a:pt x="548129" y="66049"/>
                      <a:pt x="562447" y="93516"/>
                      <a:pt x="565743" y="130673"/>
                    </a:cubicBezTo>
                    <a:cubicBezTo>
                      <a:pt x="565932" y="130673"/>
                      <a:pt x="566026" y="130673"/>
                      <a:pt x="566120" y="130673"/>
                    </a:cubicBezTo>
                    <a:cubicBezTo>
                      <a:pt x="577141" y="133118"/>
                      <a:pt x="583358" y="146664"/>
                      <a:pt x="580250" y="160962"/>
                    </a:cubicBezTo>
                    <a:cubicBezTo>
                      <a:pt x="577706" y="172532"/>
                      <a:pt x="569700" y="180904"/>
                      <a:pt x="560939" y="182503"/>
                    </a:cubicBezTo>
                    <a:cubicBezTo>
                      <a:pt x="554628" y="199529"/>
                      <a:pt x="543796" y="214016"/>
                      <a:pt x="531927" y="223799"/>
                    </a:cubicBezTo>
                    <a:cubicBezTo>
                      <a:pt x="528913" y="226338"/>
                      <a:pt x="527500" y="230383"/>
                      <a:pt x="528253" y="234240"/>
                    </a:cubicBezTo>
                    <a:lnTo>
                      <a:pt x="530797" y="246281"/>
                    </a:lnTo>
                    <a:cubicBezTo>
                      <a:pt x="532304" y="253806"/>
                      <a:pt x="538238" y="259732"/>
                      <a:pt x="545868" y="261143"/>
                    </a:cubicBezTo>
                    <a:lnTo>
                      <a:pt x="558961" y="263777"/>
                    </a:lnTo>
                    <a:cubicBezTo>
                      <a:pt x="578366" y="267634"/>
                      <a:pt x="593437" y="282684"/>
                      <a:pt x="597299" y="301968"/>
                    </a:cubicBezTo>
                    <a:lnTo>
                      <a:pt x="607002" y="350788"/>
                    </a:lnTo>
                    <a:cubicBezTo>
                      <a:pt x="608697" y="358972"/>
                      <a:pt x="606531" y="367438"/>
                      <a:pt x="601256" y="373835"/>
                    </a:cubicBezTo>
                    <a:cubicBezTo>
                      <a:pt x="595981" y="380325"/>
                      <a:pt x="588068" y="384088"/>
                      <a:pt x="579685" y="384088"/>
                    </a:cubicBezTo>
                    <a:lnTo>
                      <a:pt x="490386" y="384088"/>
                    </a:lnTo>
                    <a:lnTo>
                      <a:pt x="467685" y="310058"/>
                    </a:lnTo>
                    <a:cubicBezTo>
                      <a:pt x="461845" y="291150"/>
                      <a:pt x="448563" y="276194"/>
                      <a:pt x="431702" y="267445"/>
                    </a:cubicBezTo>
                    <a:cubicBezTo>
                      <a:pt x="434999" y="265940"/>
                      <a:pt x="438295" y="264529"/>
                      <a:pt x="441969" y="263777"/>
                    </a:cubicBezTo>
                    <a:lnTo>
                      <a:pt x="455157" y="261237"/>
                    </a:lnTo>
                    <a:cubicBezTo>
                      <a:pt x="462692" y="259732"/>
                      <a:pt x="468627" y="253806"/>
                      <a:pt x="470228" y="246281"/>
                    </a:cubicBezTo>
                    <a:lnTo>
                      <a:pt x="472677" y="234240"/>
                    </a:lnTo>
                    <a:cubicBezTo>
                      <a:pt x="473525" y="230383"/>
                      <a:pt x="472112" y="226338"/>
                      <a:pt x="469098" y="223893"/>
                    </a:cubicBezTo>
                    <a:cubicBezTo>
                      <a:pt x="457229" y="214016"/>
                      <a:pt x="446302" y="199529"/>
                      <a:pt x="439991" y="182503"/>
                    </a:cubicBezTo>
                    <a:cubicBezTo>
                      <a:pt x="434716" y="181563"/>
                      <a:pt x="429818" y="177894"/>
                      <a:pt x="426144" y="172720"/>
                    </a:cubicBezTo>
                    <a:cubicBezTo>
                      <a:pt x="433303" y="164725"/>
                      <a:pt x="438861" y="154754"/>
                      <a:pt x="441404" y="143278"/>
                    </a:cubicBezTo>
                    <a:cubicBezTo>
                      <a:pt x="444324" y="130485"/>
                      <a:pt x="443476" y="118068"/>
                      <a:pt x="439708" y="107438"/>
                    </a:cubicBezTo>
                    <a:cubicBezTo>
                      <a:pt x="447244" y="82699"/>
                      <a:pt x="464200" y="66049"/>
                      <a:pt x="500465" y="66049"/>
                    </a:cubicBezTo>
                    <a:close/>
                    <a:moveTo>
                      <a:pt x="107100" y="66049"/>
                    </a:moveTo>
                    <a:cubicBezTo>
                      <a:pt x="151561" y="66049"/>
                      <a:pt x="166820" y="90130"/>
                      <a:pt x="171341" y="123618"/>
                    </a:cubicBezTo>
                    <a:cubicBezTo>
                      <a:pt x="170965" y="129920"/>
                      <a:pt x="171436" y="136505"/>
                      <a:pt x="172849" y="143278"/>
                    </a:cubicBezTo>
                    <a:cubicBezTo>
                      <a:pt x="174921" y="152590"/>
                      <a:pt x="178971" y="161056"/>
                      <a:pt x="184246" y="168205"/>
                    </a:cubicBezTo>
                    <a:cubicBezTo>
                      <a:pt x="180573" y="175919"/>
                      <a:pt x="174356" y="181281"/>
                      <a:pt x="167574" y="182503"/>
                    </a:cubicBezTo>
                    <a:cubicBezTo>
                      <a:pt x="161263" y="199529"/>
                      <a:pt x="150336" y="214016"/>
                      <a:pt x="138468" y="223799"/>
                    </a:cubicBezTo>
                    <a:cubicBezTo>
                      <a:pt x="135453" y="226338"/>
                      <a:pt x="134040" y="230383"/>
                      <a:pt x="134794" y="234240"/>
                    </a:cubicBezTo>
                    <a:lnTo>
                      <a:pt x="137337" y="246281"/>
                    </a:lnTo>
                    <a:cubicBezTo>
                      <a:pt x="138939" y="253806"/>
                      <a:pt x="144873" y="259732"/>
                      <a:pt x="152408" y="261143"/>
                    </a:cubicBezTo>
                    <a:lnTo>
                      <a:pt x="165596" y="263777"/>
                    </a:lnTo>
                    <a:cubicBezTo>
                      <a:pt x="170494" y="264812"/>
                      <a:pt x="175203" y="266505"/>
                      <a:pt x="179442" y="268856"/>
                    </a:cubicBezTo>
                    <a:cubicBezTo>
                      <a:pt x="164088" y="277793"/>
                      <a:pt x="152126" y="292279"/>
                      <a:pt x="146662" y="310058"/>
                    </a:cubicBezTo>
                    <a:lnTo>
                      <a:pt x="123867" y="384088"/>
                    </a:lnTo>
                    <a:lnTo>
                      <a:pt x="27883" y="384088"/>
                    </a:lnTo>
                    <a:cubicBezTo>
                      <a:pt x="19499" y="384088"/>
                      <a:pt x="11587" y="380325"/>
                      <a:pt x="6312" y="373835"/>
                    </a:cubicBezTo>
                    <a:cubicBezTo>
                      <a:pt x="1037" y="367438"/>
                      <a:pt x="-1129" y="358972"/>
                      <a:pt x="566" y="350788"/>
                    </a:cubicBezTo>
                    <a:lnTo>
                      <a:pt x="10268" y="301968"/>
                    </a:lnTo>
                    <a:cubicBezTo>
                      <a:pt x="14130" y="282684"/>
                      <a:pt x="29202" y="267634"/>
                      <a:pt x="48606" y="263777"/>
                    </a:cubicBezTo>
                    <a:lnTo>
                      <a:pt x="61699" y="261237"/>
                    </a:lnTo>
                    <a:cubicBezTo>
                      <a:pt x="69328" y="259732"/>
                      <a:pt x="75263" y="253806"/>
                      <a:pt x="76770" y="246281"/>
                    </a:cubicBezTo>
                    <a:lnTo>
                      <a:pt x="79313" y="234240"/>
                    </a:lnTo>
                    <a:cubicBezTo>
                      <a:pt x="80067" y="230383"/>
                      <a:pt x="78654" y="226338"/>
                      <a:pt x="75639" y="223893"/>
                    </a:cubicBezTo>
                    <a:cubicBezTo>
                      <a:pt x="63771" y="214016"/>
                      <a:pt x="52939" y="199623"/>
                      <a:pt x="46628" y="182503"/>
                    </a:cubicBezTo>
                    <a:cubicBezTo>
                      <a:pt x="37867" y="180904"/>
                      <a:pt x="29861" y="172532"/>
                      <a:pt x="27318" y="160962"/>
                    </a:cubicBezTo>
                    <a:cubicBezTo>
                      <a:pt x="24115" y="146664"/>
                      <a:pt x="30426" y="133118"/>
                      <a:pt x="41447" y="130673"/>
                    </a:cubicBezTo>
                    <a:cubicBezTo>
                      <a:pt x="41541" y="130673"/>
                      <a:pt x="41729" y="130673"/>
                      <a:pt x="41824" y="130673"/>
                    </a:cubicBezTo>
                    <a:cubicBezTo>
                      <a:pt x="45403" y="93516"/>
                      <a:pt x="60192" y="66049"/>
                      <a:pt x="107100" y="66049"/>
                    </a:cubicBezTo>
                    <a:close/>
                    <a:moveTo>
                      <a:pt x="298626" y="0"/>
                    </a:moveTo>
                    <a:lnTo>
                      <a:pt x="315956" y="0"/>
                    </a:lnTo>
                    <a:cubicBezTo>
                      <a:pt x="363426" y="0"/>
                      <a:pt x="401854" y="38378"/>
                      <a:pt x="401854" y="85787"/>
                    </a:cubicBezTo>
                    <a:lnTo>
                      <a:pt x="401854" y="95476"/>
                    </a:lnTo>
                    <a:cubicBezTo>
                      <a:pt x="417301" y="99238"/>
                      <a:pt x="426154" y="118522"/>
                      <a:pt x="421633" y="138840"/>
                    </a:cubicBezTo>
                    <a:cubicBezTo>
                      <a:pt x="420880" y="142602"/>
                      <a:pt x="419467" y="146083"/>
                      <a:pt x="417960" y="149281"/>
                    </a:cubicBezTo>
                    <a:cubicBezTo>
                      <a:pt x="417677" y="149939"/>
                      <a:pt x="417395" y="150504"/>
                      <a:pt x="417112" y="151068"/>
                    </a:cubicBezTo>
                    <a:cubicBezTo>
                      <a:pt x="415417" y="154172"/>
                      <a:pt x="413533" y="157088"/>
                      <a:pt x="411273" y="159534"/>
                    </a:cubicBezTo>
                    <a:cubicBezTo>
                      <a:pt x="411179" y="159628"/>
                      <a:pt x="410990" y="159816"/>
                      <a:pt x="410896" y="159910"/>
                    </a:cubicBezTo>
                    <a:cubicBezTo>
                      <a:pt x="406092" y="165084"/>
                      <a:pt x="400159" y="168658"/>
                      <a:pt x="394037" y="169787"/>
                    </a:cubicBezTo>
                    <a:cubicBezTo>
                      <a:pt x="391494" y="176654"/>
                      <a:pt x="388385" y="183332"/>
                      <a:pt x="384900" y="189541"/>
                    </a:cubicBezTo>
                    <a:cubicBezTo>
                      <a:pt x="384806" y="189635"/>
                      <a:pt x="384806" y="189729"/>
                      <a:pt x="384712" y="189823"/>
                    </a:cubicBezTo>
                    <a:cubicBezTo>
                      <a:pt x="381227" y="196031"/>
                      <a:pt x="377460" y="201769"/>
                      <a:pt x="373316" y="207131"/>
                    </a:cubicBezTo>
                    <a:cubicBezTo>
                      <a:pt x="373127" y="207413"/>
                      <a:pt x="372939" y="207601"/>
                      <a:pt x="372750" y="207789"/>
                    </a:cubicBezTo>
                    <a:cubicBezTo>
                      <a:pt x="368700" y="213057"/>
                      <a:pt x="364368" y="217948"/>
                      <a:pt x="359847" y="222275"/>
                    </a:cubicBezTo>
                    <a:cubicBezTo>
                      <a:pt x="359658" y="222463"/>
                      <a:pt x="359376" y="222651"/>
                      <a:pt x="359188" y="222934"/>
                    </a:cubicBezTo>
                    <a:cubicBezTo>
                      <a:pt x="354667" y="227261"/>
                      <a:pt x="349957" y="231211"/>
                      <a:pt x="345154" y="234598"/>
                    </a:cubicBezTo>
                    <a:lnTo>
                      <a:pt x="345625" y="236855"/>
                    </a:lnTo>
                    <a:cubicBezTo>
                      <a:pt x="346567" y="236385"/>
                      <a:pt x="347603" y="235915"/>
                      <a:pt x="348639" y="235538"/>
                    </a:cubicBezTo>
                    <a:cubicBezTo>
                      <a:pt x="350899" y="234786"/>
                      <a:pt x="353065" y="234033"/>
                      <a:pt x="355514" y="234033"/>
                    </a:cubicBezTo>
                    <a:cubicBezTo>
                      <a:pt x="359470" y="234033"/>
                      <a:pt x="363238" y="235162"/>
                      <a:pt x="366628" y="237326"/>
                    </a:cubicBezTo>
                    <a:cubicBezTo>
                      <a:pt x="366628" y="237326"/>
                      <a:pt x="380756" y="246450"/>
                      <a:pt x="385371" y="249648"/>
                    </a:cubicBezTo>
                    <a:cubicBezTo>
                      <a:pt x="401854" y="261030"/>
                      <a:pt x="399876" y="279373"/>
                      <a:pt x="399876" y="279373"/>
                    </a:cubicBezTo>
                    <a:cubicBezTo>
                      <a:pt x="410990" y="279655"/>
                      <a:pt x="421822" y="283041"/>
                      <a:pt x="430016" y="289814"/>
                    </a:cubicBezTo>
                    <a:cubicBezTo>
                      <a:pt x="445180" y="302324"/>
                      <a:pt x="447535" y="313330"/>
                      <a:pt x="448382" y="316058"/>
                    </a:cubicBezTo>
                    <a:lnTo>
                      <a:pt x="481630" y="424515"/>
                    </a:lnTo>
                    <a:cubicBezTo>
                      <a:pt x="482855" y="428371"/>
                      <a:pt x="483608" y="432416"/>
                      <a:pt x="483891" y="436461"/>
                    </a:cubicBezTo>
                    <a:cubicBezTo>
                      <a:pt x="484644" y="448595"/>
                      <a:pt x="481159" y="460730"/>
                      <a:pt x="473718" y="470700"/>
                    </a:cubicBezTo>
                    <a:cubicBezTo>
                      <a:pt x="466372" y="480671"/>
                      <a:pt x="455823" y="487538"/>
                      <a:pt x="443956" y="490360"/>
                    </a:cubicBezTo>
                    <a:cubicBezTo>
                      <a:pt x="440000" y="491301"/>
                      <a:pt x="435950" y="491771"/>
                      <a:pt x="431805" y="491771"/>
                    </a:cubicBezTo>
                    <a:lnTo>
                      <a:pt x="325375" y="491771"/>
                    </a:lnTo>
                    <a:lnTo>
                      <a:pt x="337430" y="415296"/>
                    </a:lnTo>
                    <a:cubicBezTo>
                      <a:pt x="338749" y="406454"/>
                      <a:pt x="337807" y="397424"/>
                      <a:pt x="334605" y="389052"/>
                    </a:cubicBezTo>
                    <a:lnTo>
                      <a:pt x="323962" y="360927"/>
                    </a:lnTo>
                    <a:lnTo>
                      <a:pt x="337430" y="347476"/>
                    </a:lnTo>
                    <a:lnTo>
                      <a:pt x="307196" y="317281"/>
                    </a:lnTo>
                    <a:lnTo>
                      <a:pt x="276868" y="347476"/>
                    </a:lnTo>
                    <a:lnTo>
                      <a:pt x="290337" y="360927"/>
                    </a:lnTo>
                    <a:lnTo>
                      <a:pt x="279694" y="389052"/>
                    </a:lnTo>
                    <a:cubicBezTo>
                      <a:pt x="276586" y="397424"/>
                      <a:pt x="275644" y="406454"/>
                      <a:pt x="276963" y="415296"/>
                    </a:cubicBezTo>
                    <a:lnTo>
                      <a:pt x="288736" y="491771"/>
                    </a:lnTo>
                    <a:lnTo>
                      <a:pt x="182493" y="491771"/>
                    </a:lnTo>
                    <a:cubicBezTo>
                      <a:pt x="178443" y="491771"/>
                      <a:pt x="174299" y="491301"/>
                      <a:pt x="170437" y="490360"/>
                    </a:cubicBezTo>
                    <a:cubicBezTo>
                      <a:pt x="158570" y="487538"/>
                      <a:pt x="148021" y="480671"/>
                      <a:pt x="140675" y="470700"/>
                    </a:cubicBezTo>
                    <a:cubicBezTo>
                      <a:pt x="130785" y="457343"/>
                      <a:pt x="127865" y="440223"/>
                      <a:pt x="132669" y="424515"/>
                    </a:cubicBezTo>
                    <a:lnTo>
                      <a:pt x="166011" y="316058"/>
                    </a:lnTo>
                    <a:cubicBezTo>
                      <a:pt x="166858" y="313330"/>
                      <a:pt x="170908" y="300631"/>
                      <a:pt x="184377" y="289814"/>
                    </a:cubicBezTo>
                    <a:cubicBezTo>
                      <a:pt x="192666" y="283229"/>
                      <a:pt x="203403" y="279655"/>
                      <a:pt x="214517" y="279373"/>
                    </a:cubicBezTo>
                    <a:lnTo>
                      <a:pt x="214517" y="279279"/>
                    </a:lnTo>
                    <a:cubicBezTo>
                      <a:pt x="214140" y="273447"/>
                      <a:pt x="211880" y="260654"/>
                      <a:pt x="229022" y="249648"/>
                    </a:cubicBezTo>
                    <a:cubicBezTo>
                      <a:pt x="233731" y="246638"/>
                      <a:pt x="247765" y="237326"/>
                      <a:pt x="247765" y="237326"/>
                    </a:cubicBezTo>
                    <a:cubicBezTo>
                      <a:pt x="251061" y="235162"/>
                      <a:pt x="254923" y="234033"/>
                      <a:pt x="258879" y="234033"/>
                    </a:cubicBezTo>
                    <a:cubicBezTo>
                      <a:pt x="261328" y="234033"/>
                      <a:pt x="263494" y="234786"/>
                      <a:pt x="265754" y="235538"/>
                    </a:cubicBezTo>
                    <a:cubicBezTo>
                      <a:pt x="266790" y="236009"/>
                      <a:pt x="267826" y="236385"/>
                      <a:pt x="268768" y="236855"/>
                    </a:cubicBezTo>
                    <a:lnTo>
                      <a:pt x="269239" y="234598"/>
                    </a:lnTo>
                    <a:cubicBezTo>
                      <a:pt x="264436" y="231211"/>
                      <a:pt x="259726" y="227261"/>
                      <a:pt x="255205" y="222934"/>
                    </a:cubicBezTo>
                    <a:cubicBezTo>
                      <a:pt x="254923" y="222651"/>
                      <a:pt x="254735" y="222463"/>
                      <a:pt x="254546" y="222275"/>
                    </a:cubicBezTo>
                    <a:cubicBezTo>
                      <a:pt x="250025" y="217948"/>
                      <a:pt x="245693" y="213057"/>
                      <a:pt x="241548" y="207789"/>
                    </a:cubicBezTo>
                    <a:cubicBezTo>
                      <a:pt x="241454" y="207601"/>
                      <a:pt x="241266" y="207413"/>
                      <a:pt x="241077" y="207225"/>
                    </a:cubicBezTo>
                    <a:cubicBezTo>
                      <a:pt x="236933" y="201769"/>
                      <a:pt x="233072" y="196031"/>
                      <a:pt x="229681" y="189823"/>
                    </a:cubicBezTo>
                    <a:cubicBezTo>
                      <a:pt x="229587" y="189729"/>
                      <a:pt x="229587" y="189635"/>
                      <a:pt x="229493" y="189635"/>
                    </a:cubicBezTo>
                    <a:cubicBezTo>
                      <a:pt x="226008" y="183332"/>
                      <a:pt x="222899" y="176654"/>
                      <a:pt x="220356" y="169787"/>
                    </a:cubicBezTo>
                    <a:cubicBezTo>
                      <a:pt x="214140" y="168658"/>
                      <a:pt x="208301" y="165084"/>
                      <a:pt x="203497" y="159910"/>
                    </a:cubicBezTo>
                    <a:cubicBezTo>
                      <a:pt x="203309" y="159722"/>
                      <a:pt x="203214" y="159628"/>
                      <a:pt x="203120" y="159534"/>
                    </a:cubicBezTo>
                    <a:cubicBezTo>
                      <a:pt x="200860" y="157088"/>
                      <a:pt x="198976" y="154172"/>
                      <a:pt x="197281" y="151068"/>
                    </a:cubicBezTo>
                    <a:cubicBezTo>
                      <a:pt x="196998" y="150504"/>
                      <a:pt x="196716" y="149939"/>
                      <a:pt x="196433" y="149281"/>
                    </a:cubicBezTo>
                    <a:cubicBezTo>
                      <a:pt x="194832" y="146083"/>
                      <a:pt x="193513" y="142602"/>
                      <a:pt x="192666" y="138840"/>
                    </a:cubicBezTo>
                    <a:cubicBezTo>
                      <a:pt x="188145" y="118428"/>
                      <a:pt x="197092" y="99050"/>
                      <a:pt x="212727" y="95476"/>
                    </a:cubicBezTo>
                    <a:lnTo>
                      <a:pt x="212727" y="85787"/>
                    </a:lnTo>
                    <a:cubicBezTo>
                      <a:pt x="212727" y="38378"/>
                      <a:pt x="251155" y="0"/>
                      <a:pt x="29862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582BF3C1-DC19-4712-8AE0-78D0992A9F04}"/>
                  </a:ext>
                </a:extLst>
              </p:cNvPr>
              <p:cNvSpPr/>
              <p:nvPr/>
            </p:nvSpPr>
            <p:spPr bwMode="auto">
              <a:xfrm>
                <a:off x="5985744" y="2109580"/>
                <a:ext cx="349928" cy="336640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926F36EF-D69A-4171-A97C-786892917FBE}"/>
                  </a:ext>
                </a:extLst>
              </p:cNvPr>
              <p:cNvSpPr/>
              <p:nvPr/>
            </p:nvSpPr>
            <p:spPr bwMode="auto">
              <a:xfrm>
                <a:off x="6178917" y="3503906"/>
                <a:ext cx="377702" cy="363244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 lnSpcReduction="10000"/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C0CE83E-4027-40B0-95C8-800E6F5F2657}"/>
                </a:ext>
              </a:extLst>
            </p:cNvPr>
            <p:cNvGrpSpPr/>
            <p:nvPr/>
          </p:nvGrpSpPr>
          <p:grpSpPr>
            <a:xfrm>
              <a:off x="659606" y="1851064"/>
              <a:ext cx="3134220" cy="3596714"/>
              <a:chOff x="659606" y="1851064"/>
              <a:chExt cx="2940844" cy="3596714"/>
            </a:xfrm>
          </p:grpSpPr>
          <p:grpSp>
            <p:nvGrpSpPr>
              <p:cNvPr id="11" name="组合 10">
                <a:extLst>
                  <a:ext uri="{FF2B5EF4-FFF2-40B4-BE49-F238E27FC236}">
                    <a16:creationId xmlns:a16="http://schemas.microsoft.com/office/drawing/2014/main" id="{12143F11-FC9D-4E72-AAEB-44C91FDE2DBD}"/>
                  </a:ext>
                </a:extLst>
              </p:cNvPr>
              <p:cNvGrpSpPr/>
              <p:nvPr/>
            </p:nvGrpSpPr>
            <p:grpSpPr>
              <a:xfrm>
                <a:off x="661193" y="1851064"/>
                <a:ext cx="2939257" cy="920531"/>
                <a:chOff x="661193" y="2711671"/>
                <a:chExt cx="2939257" cy="920531"/>
              </a:xfrm>
            </p:grpSpPr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F892C470-31BB-4794-96B6-EBC3C11A6237}"/>
                    </a:ext>
                  </a:extLst>
                </p:cNvPr>
                <p:cNvSpPr/>
                <p:nvPr/>
              </p:nvSpPr>
              <p:spPr bwMode="auto">
                <a:xfrm>
                  <a:off x="661193" y="3099270"/>
                  <a:ext cx="2939257" cy="5329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</p:txBody>
            </p:sp>
            <p:sp>
              <p:nvSpPr>
                <p:cNvPr id="21" name="文本框 20">
                  <a:extLst>
                    <a:ext uri="{FF2B5EF4-FFF2-40B4-BE49-F238E27FC236}">
                      <a16:creationId xmlns:a16="http://schemas.microsoft.com/office/drawing/2014/main" id="{3865AF53-1905-453F-A1A4-D87655EB45C7}"/>
                    </a:ext>
                  </a:extLst>
                </p:cNvPr>
                <p:cNvSpPr txBox="1"/>
                <p:nvPr/>
              </p:nvSpPr>
              <p:spPr bwMode="auto">
                <a:xfrm>
                  <a:off x="661193" y="2711671"/>
                  <a:ext cx="2939257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20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2000" b="1" dirty="0">
                      <a:cs typeface="+mn-ea"/>
                      <a:sym typeface="+mn-lt"/>
                    </a:rPr>
                    <a:t>亮点</a:t>
                  </a:r>
                  <a:endParaRPr lang="en-US" altLang="zh-CN" sz="2000" b="1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86EA3DEC-10ED-41FA-8455-7CD981EF22BA}"/>
                  </a:ext>
                </a:extLst>
              </p:cNvPr>
              <p:cNvGrpSpPr/>
              <p:nvPr/>
            </p:nvGrpSpPr>
            <p:grpSpPr>
              <a:xfrm>
                <a:off x="661193" y="3189155"/>
                <a:ext cx="2939257" cy="920531"/>
                <a:chOff x="661193" y="3777534"/>
                <a:chExt cx="2939257" cy="920531"/>
              </a:xfrm>
            </p:grpSpPr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4C76B601-FCE5-4992-8820-0245CF0F02B7}"/>
                    </a:ext>
                  </a:extLst>
                </p:cNvPr>
                <p:cNvSpPr/>
                <p:nvPr/>
              </p:nvSpPr>
              <p:spPr bwMode="auto">
                <a:xfrm>
                  <a:off x="661193" y="4165133"/>
                  <a:ext cx="2939257" cy="5329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1CA393E1-4DF6-4F67-B90C-03FC91844410}"/>
                    </a:ext>
                  </a:extLst>
                </p:cNvPr>
                <p:cNvSpPr txBox="1"/>
                <p:nvPr/>
              </p:nvSpPr>
              <p:spPr bwMode="auto">
                <a:xfrm>
                  <a:off x="661193" y="3777534"/>
                  <a:ext cx="2939257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20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2000" b="1" dirty="0">
                      <a:cs typeface="+mn-ea"/>
                      <a:sym typeface="+mn-lt"/>
                    </a:rPr>
                    <a:t>亮点</a:t>
                  </a:r>
                  <a:endParaRPr lang="en-US" altLang="zh-CN" sz="2000" b="1"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E2311764-A508-4D44-AF36-55D068B6558B}"/>
                  </a:ext>
                </a:extLst>
              </p:cNvPr>
              <p:cNvGrpSpPr/>
              <p:nvPr/>
            </p:nvGrpSpPr>
            <p:grpSpPr>
              <a:xfrm>
                <a:off x="659606" y="4527247"/>
                <a:ext cx="2939257" cy="920531"/>
                <a:chOff x="659606" y="4843396"/>
                <a:chExt cx="2939257" cy="920531"/>
              </a:xfrm>
            </p:grpSpPr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C3DE38F1-0BCA-4C54-AE6A-BBEBAE9594FE}"/>
                    </a:ext>
                  </a:extLst>
                </p:cNvPr>
                <p:cNvSpPr/>
                <p:nvPr/>
              </p:nvSpPr>
              <p:spPr bwMode="auto">
                <a:xfrm>
                  <a:off x="659606" y="5230995"/>
                  <a:ext cx="2939257" cy="5329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20000"/>
                    </a:lnSpc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</p:txBody>
            </p:sp>
            <p:sp>
              <p:nvSpPr>
                <p:cNvPr id="17" name="文本框 16">
                  <a:extLst>
                    <a:ext uri="{FF2B5EF4-FFF2-40B4-BE49-F238E27FC236}">
                      <a16:creationId xmlns:a16="http://schemas.microsoft.com/office/drawing/2014/main" id="{A7D7529A-F87D-4FF4-B8F6-A0CD832F4AA2}"/>
                    </a:ext>
                  </a:extLst>
                </p:cNvPr>
                <p:cNvSpPr txBox="1"/>
                <p:nvPr/>
              </p:nvSpPr>
              <p:spPr bwMode="auto">
                <a:xfrm>
                  <a:off x="659606" y="4843396"/>
                  <a:ext cx="2939257" cy="387597"/>
                </a:xfrm>
                <a:prstGeom prst="rect">
                  <a:avLst/>
                </a:prstGeom>
                <a:solidFill>
                  <a:schemeClr val="accent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b" anchorCtr="0">
                  <a:normAutofit fontScale="92500"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10000"/>
                    </a:lnSpc>
                    <a:spcBef>
                      <a:spcPct val="0"/>
                    </a:spcBef>
                  </a:pPr>
                  <a:r>
                    <a:rPr lang="en-US" altLang="zh-CN" sz="20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…</a:t>
                  </a:r>
                  <a:r>
                    <a:rPr lang="zh-CN" altLang="en-US" sz="2000" b="1" dirty="0">
                      <a:solidFill>
                        <a:schemeClr val="bg1"/>
                      </a:solidFill>
                      <a:cs typeface="+mn-ea"/>
                      <a:sym typeface="+mn-lt"/>
                    </a:rPr>
                    <a:t>亮点</a:t>
                  </a:r>
                  <a:endParaRPr lang="en-US" altLang="zh-CN" sz="2000" b="1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</p:grpSp>
          <p:cxnSp>
            <p:nvCxnSpPr>
              <p:cNvPr id="14" name="直接连接符 13">
                <a:extLst>
                  <a:ext uri="{FF2B5EF4-FFF2-40B4-BE49-F238E27FC236}">
                    <a16:creationId xmlns:a16="http://schemas.microsoft.com/office/drawing/2014/main" id="{A24D608D-69CF-4A0B-B4E7-46460EAD5F1E}"/>
                  </a:ext>
                </a:extLst>
              </p:cNvPr>
              <p:cNvCxnSpPr/>
              <p:nvPr/>
            </p:nvCxnSpPr>
            <p:spPr>
              <a:xfrm>
                <a:off x="660400" y="2980375"/>
                <a:ext cx="282918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D7878543-DAE8-4B38-8CD5-7C2C0DBAA3F6}"/>
                  </a:ext>
                </a:extLst>
              </p:cNvPr>
              <p:cNvCxnSpPr/>
              <p:nvPr/>
            </p:nvCxnSpPr>
            <p:spPr>
              <a:xfrm>
                <a:off x="660400" y="4318466"/>
                <a:ext cx="2829181" cy="0"/>
              </a:xfrm>
              <a:prstGeom prst="line">
                <a:avLst/>
              </a:prstGeom>
              <a:ln w="3175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B8A2B562-18E8-4E32-A292-C5A2A6A39E96}"/>
                </a:ext>
              </a:extLst>
            </p:cNvPr>
            <p:cNvGrpSpPr/>
            <p:nvPr/>
          </p:nvGrpSpPr>
          <p:grpSpPr>
            <a:xfrm>
              <a:off x="8579643" y="3189156"/>
              <a:ext cx="2939257" cy="920531"/>
              <a:chOff x="661193" y="3777534"/>
              <a:chExt cx="2939257" cy="920531"/>
            </a:xfrm>
          </p:grpSpPr>
          <p:sp>
            <p:nvSpPr>
              <p:cNvPr id="9" name="矩形 8">
                <a:extLst>
                  <a:ext uri="{FF2B5EF4-FFF2-40B4-BE49-F238E27FC236}">
                    <a16:creationId xmlns:a16="http://schemas.microsoft.com/office/drawing/2014/main" id="{B288BD80-4047-490E-BF4A-5048A1F64D6A}"/>
                  </a:ext>
                </a:extLst>
              </p:cNvPr>
              <p:cNvSpPr/>
              <p:nvPr/>
            </p:nvSpPr>
            <p:spPr bwMode="auto">
              <a:xfrm>
                <a:off x="661193" y="4165133"/>
                <a:ext cx="2939257" cy="5329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</p:txBody>
          </p:sp>
          <p:sp>
            <p:nvSpPr>
              <p:cNvPr id="10" name="文本框 9">
                <a:extLst>
                  <a:ext uri="{FF2B5EF4-FFF2-40B4-BE49-F238E27FC236}">
                    <a16:creationId xmlns:a16="http://schemas.microsoft.com/office/drawing/2014/main" id="{9179528A-0E5D-4D5C-9919-F24E55593CFE}"/>
                  </a:ext>
                </a:extLst>
              </p:cNvPr>
              <p:cNvSpPr txBox="1"/>
              <p:nvPr/>
            </p:nvSpPr>
            <p:spPr bwMode="auto">
              <a:xfrm>
                <a:off x="661193" y="3777534"/>
                <a:ext cx="2939257" cy="3875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fontScale="92500"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2000" b="1" dirty="0">
                    <a:cs typeface="+mn-ea"/>
                    <a:sym typeface="+mn-lt"/>
                  </a:rPr>
                  <a:t>…</a:t>
                </a:r>
                <a:r>
                  <a:rPr lang="zh-CN" altLang="en-US" sz="2000" b="1" dirty="0">
                    <a:cs typeface="+mn-ea"/>
                    <a:sym typeface="+mn-lt"/>
                  </a:rPr>
                  <a:t>亮点</a:t>
                </a:r>
                <a:endParaRPr lang="en-US" altLang="zh-CN" sz="2000" b="1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143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总结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7816C2E-E271-45F3-952E-7FC724E6740D}"/>
              </a:ext>
            </a:extLst>
          </p:cNvPr>
          <p:cNvSpPr txBox="1"/>
          <p:nvPr/>
        </p:nvSpPr>
        <p:spPr>
          <a:xfrm>
            <a:off x="5072484" y="39456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887669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30D1B4-01A2-40B7-936E-CBC4ED224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总结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B64C631-51D5-4DA8-A43F-AD203CD2E3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46AD143-11BC-4BD3-9280-4EBDD8C705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DBB2665-6D7E-44DB-A723-890C25B0BBD2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251671"/>
            <a:ext cx="10845800" cy="4895125"/>
            <a:chOff x="673100" y="1251666"/>
            <a:chExt cx="10845800" cy="489512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B6CA3C71-0DE6-4F32-9F36-C4974CFC34F4}"/>
                </a:ext>
              </a:extLst>
            </p:cNvPr>
            <p:cNvGrpSpPr/>
            <p:nvPr/>
          </p:nvGrpSpPr>
          <p:grpSpPr>
            <a:xfrm>
              <a:off x="2352675" y="4008804"/>
              <a:ext cx="7486650" cy="2137987"/>
              <a:chOff x="2402306" y="4037156"/>
              <a:chExt cx="7387387" cy="2109644"/>
            </a:xfrm>
          </p:grpSpPr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FF775E5F-EF31-41DF-8CC4-52902DE4C8E1}"/>
                  </a:ext>
                </a:extLst>
              </p:cNvPr>
              <p:cNvSpPr/>
              <p:nvPr/>
            </p:nvSpPr>
            <p:spPr>
              <a:xfrm>
                <a:off x="2402306" y="5011108"/>
                <a:ext cx="3693521" cy="10875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5822" y="0"/>
                    </a:lnTo>
                    <a:lnTo>
                      <a:pt x="21600" y="2466"/>
                    </a:lnTo>
                    <a:lnTo>
                      <a:pt x="21600" y="21529"/>
                    </a:lnTo>
                    <a:cubicBezTo>
                      <a:pt x="21600" y="21529"/>
                      <a:pt x="0" y="21600"/>
                      <a:pt x="0" y="2160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6A08B46E-1747-4221-9F28-622D42D08C03}"/>
                  </a:ext>
                </a:extLst>
              </p:cNvPr>
              <p:cNvSpPr/>
              <p:nvPr/>
            </p:nvSpPr>
            <p:spPr>
              <a:xfrm>
                <a:off x="2984301" y="4678539"/>
                <a:ext cx="3076935" cy="14404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677" extrusionOk="0">
                    <a:moveTo>
                      <a:pt x="21600" y="20677"/>
                    </a:moveTo>
                    <a:lnTo>
                      <a:pt x="21600" y="5950"/>
                    </a:lnTo>
                    <a:cubicBezTo>
                      <a:pt x="21600" y="5950"/>
                      <a:pt x="11849" y="-923"/>
                      <a:pt x="4005" y="105"/>
                    </a:cubicBezTo>
                    <a:cubicBezTo>
                      <a:pt x="2061" y="4012"/>
                      <a:pt x="0" y="8709"/>
                      <a:pt x="0" y="8709"/>
                    </a:cubicBezTo>
                    <a:cubicBezTo>
                      <a:pt x="0" y="8709"/>
                      <a:pt x="15368" y="4216"/>
                      <a:pt x="21600" y="2067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64E396AE-FD09-454E-9D10-171207DF79F5}"/>
                  </a:ext>
                </a:extLst>
              </p:cNvPr>
              <p:cNvSpPr/>
              <p:nvPr/>
            </p:nvSpPr>
            <p:spPr>
              <a:xfrm>
                <a:off x="3186218" y="4547887"/>
                <a:ext cx="2895271" cy="15555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725" extrusionOk="0">
                    <a:moveTo>
                      <a:pt x="21600" y="20725"/>
                    </a:moveTo>
                    <a:lnTo>
                      <a:pt x="21600" y="7055"/>
                    </a:lnTo>
                    <a:cubicBezTo>
                      <a:pt x="21600" y="7055"/>
                      <a:pt x="12593" y="-875"/>
                      <a:pt x="4256" y="79"/>
                    </a:cubicBezTo>
                    <a:cubicBezTo>
                      <a:pt x="2190" y="3706"/>
                      <a:pt x="0" y="8065"/>
                      <a:pt x="0" y="8065"/>
                    </a:cubicBezTo>
                    <a:cubicBezTo>
                      <a:pt x="0" y="8065"/>
                      <a:pt x="15173" y="4069"/>
                      <a:pt x="21600" y="2072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9A23EAA5-9EF4-43AF-839B-1781AD823019}"/>
                  </a:ext>
                </a:extLst>
              </p:cNvPr>
              <p:cNvSpPr/>
              <p:nvPr/>
            </p:nvSpPr>
            <p:spPr>
              <a:xfrm>
                <a:off x="3150586" y="4476622"/>
                <a:ext cx="2932121" cy="15555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725" extrusionOk="0">
                    <a:moveTo>
                      <a:pt x="21600" y="20725"/>
                    </a:moveTo>
                    <a:lnTo>
                      <a:pt x="21600" y="7055"/>
                    </a:lnTo>
                    <a:cubicBezTo>
                      <a:pt x="21600" y="7055"/>
                      <a:pt x="12706" y="-875"/>
                      <a:pt x="4474" y="79"/>
                    </a:cubicBezTo>
                    <a:lnTo>
                      <a:pt x="0" y="6509"/>
                    </a:lnTo>
                    <a:cubicBezTo>
                      <a:pt x="0" y="6509"/>
                      <a:pt x="16863" y="4014"/>
                      <a:pt x="21600" y="2072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BEAB5E8C-7587-46D3-9E82-75CCCA18EB67}"/>
                  </a:ext>
                </a:extLst>
              </p:cNvPr>
              <p:cNvSpPr/>
              <p:nvPr/>
            </p:nvSpPr>
            <p:spPr>
              <a:xfrm>
                <a:off x="6096196" y="5011108"/>
                <a:ext cx="3693497" cy="108751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1600" y="21600"/>
                    </a:moveTo>
                    <a:lnTo>
                      <a:pt x="15778" y="0"/>
                    </a:lnTo>
                    <a:lnTo>
                      <a:pt x="0" y="2466"/>
                    </a:lnTo>
                    <a:lnTo>
                      <a:pt x="0" y="21529"/>
                    </a:lnTo>
                    <a:cubicBezTo>
                      <a:pt x="0" y="21529"/>
                      <a:pt x="21600" y="21600"/>
                      <a:pt x="21600" y="21600"/>
                    </a:cubicBezTo>
                    <a:close/>
                  </a:path>
                </a:pathLst>
              </a:custGeom>
              <a:solidFill>
                <a:schemeClr val="accent1">
                  <a:lumMod val="7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D315E687-EB3B-41F4-8005-EF2F369B8187}"/>
                  </a:ext>
                </a:extLst>
              </p:cNvPr>
              <p:cNvSpPr/>
              <p:nvPr/>
            </p:nvSpPr>
            <p:spPr>
              <a:xfrm>
                <a:off x="2651732" y="5236780"/>
                <a:ext cx="3448385" cy="74537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614" extrusionOk="0">
                    <a:moveTo>
                      <a:pt x="2218" y="1204"/>
                    </a:moveTo>
                    <a:lnTo>
                      <a:pt x="0" y="14879"/>
                    </a:lnTo>
                    <a:cubicBezTo>
                      <a:pt x="0" y="14879"/>
                      <a:pt x="4585" y="8353"/>
                      <a:pt x="9580" y="9307"/>
                    </a:cubicBezTo>
                    <a:cubicBezTo>
                      <a:pt x="14575" y="10261"/>
                      <a:pt x="18428" y="15284"/>
                      <a:pt x="19236" y="18266"/>
                    </a:cubicBezTo>
                    <a:cubicBezTo>
                      <a:pt x="19625" y="16835"/>
                      <a:pt x="20703" y="16825"/>
                      <a:pt x="21600" y="18614"/>
                    </a:cubicBezTo>
                    <a:cubicBezTo>
                      <a:pt x="17439" y="3985"/>
                      <a:pt x="9150" y="-2986"/>
                      <a:pt x="2218" y="1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C22D9DEE-301A-499C-B2CF-6A87CE1FE3D7}"/>
                  </a:ext>
                </a:extLst>
              </p:cNvPr>
              <p:cNvSpPr/>
              <p:nvPr/>
            </p:nvSpPr>
            <p:spPr>
              <a:xfrm>
                <a:off x="6096196" y="5236780"/>
                <a:ext cx="3448385" cy="74886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18626" extrusionOk="0">
                    <a:moveTo>
                      <a:pt x="19382" y="1199"/>
                    </a:moveTo>
                    <a:lnTo>
                      <a:pt x="21600" y="14819"/>
                    </a:lnTo>
                    <a:cubicBezTo>
                      <a:pt x="21600" y="14819"/>
                      <a:pt x="17136" y="8406"/>
                      <a:pt x="12141" y="9357"/>
                    </a:cubicBezTo>
                    <a:cubicBezTo>
                      <a:pt x="7146" y="10307"/>
                      <a:pt x="3863" y="13825"/>
                      <a:pt x="2380" y="18626"/>
                    </a:cubicBezTo>
                    <a:cubicBezTo>
                      <a:pt x="1991" y="17201"/>
                      <a:pt x="897" y="16757"/>
                      <a:pt x="0" y="18539"/>
                    </a:cubicBezTo>
                    <a:cubicBezTo>
                      <a:pt x="4161" y="3969"/>
                      <a:pt x="12450" y="-2974"/>
                      <a:pt x="19382" y="119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E9C35B7C-90AB-455F-8CAF-4E63EED86560}"/>
                  </a:ext>
                </a:extLst>
              </p:cNvPr>
              <p:cNvSpPr/>
              <p:nvPr/>
            </p:nvSpPr>
            <p:spPr>
              <a:xfrm>
                <a:off x="3275711" y="4037156"/>
                <a:ext cx="2823635" cy="19871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888" extrusionOk="0">
                    <a:moveTo>
                      <a:pt x="21600" y="20888"/>
                    </a:moveTo>
                    <a:lnTo>
                      <a:pt x="21600" y="9216"/>
                    </a:lnTo>
                    <a:cubicBezTo>
                      <a:pt x="21600" y="9216"/>
                      <a:pt x="13625" y="-712"/>
                      <a:pt x="5077" y="41"/>
                    </a:cubicBezTo>
                    <a:cubicBezTo>
                      <a:pt x="2959" y="2902"/>
                      <a:pt x="0" y="7419"/>
                      <a:pt x="0" y="7419"/>
                    </a:cubicBezTo>
                    <a:cubicBezTo>
                      <a:pt x="0" y="7419"/>
                      <a:pt x="16681" y="7704"/>
                      <a:pt x="21600" y="2088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6049A862-481B-4375-A603-5BC4EDCE23D6}"/>
                  </a:ext>
                </a:extLst>
              </p:cNvPr>
              <p:cNvSpPr/>
              <p:nvPr/>
            </p:nvSpPr>
            <p:spPr>
              <a:xfrm>
                <a:off x="6119951" y="4678539"/>
                <a:ext cx="3076935" cy="144046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677" extrusionOk="0">
                    <a:moveTo>
                      <a:pt x="0" y="20677"/>
                    </a:moveTo>
                    <a:lnTo>
                      <a:pt x="0" y="5950"/>
                    </a:lnTo>
                    <a:cubicBezTo>
                      <a:pt x="0" y="5950"/>
                      <a:pt x="9751" y="-923"/>
                      <a:pt x="17595" y="105"/>
                    </a:cubicBezTo>
                    <a:cubicBezTo>
                      <a:pt x="19539" y="4012"/>
                      <a:pt x="21600" y="8709"/>
                      <a:pt x="21600" y="8709"/>
                    </a:cubicBezTo>
                    <a:cubicBezTo>
                      <a:pt x="21600" y="8709"/>
                      <a:pt x="6232" y="4216"/>
                      <a:pt x="0" y="20677"/>
                    </a:cubicBez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4E8CE282-7B67-46AB-AE0D-EAEC435216A5}"/>
                  </a:ext>
                </a:extLst>
              </p:cNvPr>
              <p:cNvSpPr/>
              <p:nvPr/>
            </p:nvSpPr>
            <p:spPr>
              <a:xfrm>
                <a:off x="6096196" y="4547887"/>
                <a:ext cx="2895260" cy="1555587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725" extrusionOk="0">
                    <a:moveTo>
                      <a:pt x="0" y="20725"/>
                    </a:moveTo>
                    <a:lnTo>
                      <a:pt x="0" y="7055"/>
                    </a:lnTo>
                    <a:cubicBezTo>
                      <a:pt x="0" y="7055"/>
                      <a:pt x="9007" y="-875"/>
                      <a:pt x="17344" y="79"/>
                    </a:cubicBezTo>
                    <a:cubicBezTo>
                      <a:pt x="19410" y="3706"/>
                      <a:pt x="21600" y="8065"/>
                      <a:pt x="21600" y="8065"/>
                    </a:cubicBezTo>
                    <a:cubicBezTo>
                      <a:pt x="21600" y="8065"/>
                      <a:pt x="6427" y="4069"/>
                      <a:pt x="0" y="20725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01318F1A-65B5-4778-A6BD-950877AA7F7D}"/>
                  </a:ext>
                </a:extLst>
              </p:cNvPr>
              <p:cNvSpPr/>
              <p:nvPr/>
            </p:nvSpPr>
            <p:spPr>
              <a:xfrm>
                <a:off x="6096196" y="4476622"/>
                <a:ext cx="2932098" cy="15555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725" extrusionOk="0">
                    <a:moveTo>
                      <a:pt x="0" y="20725"/>
                    </a:moveTo>
                    <a:lnTo>
                      <a:pt x="0" y="7055"/>
                    </a:lnTo>
                    <a:cubicBezTo>
                      <a:pt x="0" y="7055"/>
                      <a:pt x="8894" y="-875"/>
                      <a:pt x="17126" y="79"/>
                    </a:cubicBezTo>
                    <a:lnTo>
                      <a:pt x="21600" y="6509"/>
                    </a:lnTo>
                    <a:cubicBezTo>
                      <a:pt x="21600" y="6509"/>
                      <a:pt x="4737" y="4014"/>
                      <a:pt x="0" y="20725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04350A0C-6B5B-4B49-BD18-7A2E2B2D6B4E}"/>
                  </a:ext>
                </a:extLst>
              </p:cNvPr>
              <p:cNvSpPr/>
              <p:nvPr/>
            </p:nvSpPr>
            <p:spPr>
              <a:xfrm>
                <a:off x="6089846" y="4037156"/>
                <a:ext cx="2823635" cy="198711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0888" extrusionOk="0">
                    <a:moveTo>
                      <a:pt x="0" y="20888"/>
                    </a:moveTo>
                    <a:lnTo>
                      <a:pt x="0" y="9216"/>
                    </a:lnTo>
                    <a:cubicBezTo>
                      <a:pt x="0" y="9216"/>
                      <a:pt x="7975" y="-712"/>
                      <a:pt x="16523" y="41"/>
                    </a:cubicBezTo>
                    <a:cubicBezTo>
                      <a:pt x="18641" y="2902"/>
                      <a:pt x="21600" y="7419"/>
                      <a:pt x="21600" y="7419"/>
                    </a:cubicBezTo>
                    <a:cubicBezTo>
                      <a:pt x="21600" y="7419"/>
                      <a:pt x="4919" y="7704"/>
                      <a:pt x="0" y="2088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6350"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  <p:sp>
            <p:nvSpPr>
              <p:cNvPr id="43" name="矩形: 圆角 42">
                <a:extLst>
                  <a:ext uri="{FF2B5EF4-FFF2-40B4-BE49-F238E27FC236}">
                    <a16:creationId xmlns:a16="http://schemas.microsoft.com/office/drawing/2014/main" id="{14345B0E-1225-4942-B5D5-4AF54C28C409}"/>
                  </a:ext>
                </a:extLst>
              </p:cNvPr>
              <p:cNvSpPr/>
              <p:nvPr/>
            </p:nvSpPr>
            <p:spPr>
              <a:xfrm>
                <a:off x="5682787" y="5924549"/>
                <a:ext cx="813725" cy="222251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95000"/>
                </a:schemeClr>
              </a:solidFill>
              <a:ln w="12700">
                <a:miter lim="400000"/>
              </a:ln>
            </p:spPr>
            <p:txBody>
              <a:bodyPr wrap="square" lIns="91440" tIns="45720" rIns="91440" bIns="45720" anchor="ctr">
                <a:normAutofit fontScale="25000" lnSpcReduction="20000"/>
              </a:bodyPr>
              <a:lstStyle>
                <a:defPPr>
                  <a:defRPr lang="id-ID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sz="200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4501A598-7C57-4E86-81A2-FC18A5324071}"/>
                </a:ext>
              </a:extLst>
            </p:cNvPr>
            <p:cNvGrpSpPr/>
            <p:nvPr/>
          </p:nvGrpSpPr>
          <p:grpSpPr>
            <a:xfrm>
              <a:off x="673100" y="1251666"/>
              <a:ext cx="3860798" cy="741174"/>
              <a:chOff x="673100" y="1251666"/>
              <a:chExt cx="3860798" cy="741174"/>
            </a:xfrm>
          </p:grpSpPr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70790FB6-FDA8-4E31-B131-6DB4BFC8CB4C}"/>
                  </a:ext>
                </a:extLst>
              </p:cNvPr>
              <p:cNvSpPr/>
              <p:nvPr/>
            </p:nvSpPr>
            <p:spPr bwMode="auto">
              <a:xfrm>
                <a:off x="673100" y="1652759"/>
                <a:ext cx="3860798" cy="340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CCF1B446-1D72-4B0C-9D8B-B70F2A396FF0}"/>
                  </a:ext>
                </a:extLst>
              </p:cNvPr>
              <p:cNvSpPr txBox="1"/>
              <p:nvPr/>
            </p:nvSpPr>
            <p:spPr bwMode="auto">
              <a:xfrm>
                <a:off x="673100" y="1251666"/>
                <a:ext cx="3860798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1800" b="1" dirty="0">
                    <a:cs typeface="+mn-ea"/>
                    <a:sym typeface="+mn-lt"/>
                  </a:rPr>
                  <a:t>01. …</a:t>
                </a:r>
                <a:r>
                  <a:rPr lang="zh-CN" altLang="en-US" sz="1800" b="1" dirty="0">
                    <a:cs typeface="+mn-ea"/>
                    <a:sym typeface="+mn-lt"/>
                  </a:rPr>
                  <a:t>总结</a:t>
                </a:r>
                <a:endParaRPr lang="en-US" altLang="zh-CN" sz="1800" b="1" dirty="0">
                  <a:cs typeface="+mn-ea"/>
                  <a:sym typeface="+mn-lt"/>
                </a:endParaRPr>
              </a:p>
            </p:txBody>
          </p:sp>
          <p:cxnSp>
            <p:nvCxnSpPr>
              <p:cNvPr id="30" name="直接连接符 29">
                <a:extLst>
                  <a:ext uri="{FF2B5EF4-FFF2-40B4-BE49-F238E27FC236}">
                    <a16:creationId xmlns:a16="http://schemas.microsoft.com/office/drawing/2014/main" id="{F9E24672-F94C-4AFE-9986-1F9D692E4B7A}"/>
                  </a:ext>
                </a:extLst>
              </p:cNvPr>
              <p:cNvCxnSpPr/>
              <p:nvPr/>
            </p:nvCxnSpPr>
            <p:spPr>
              <a:xfrm>
                <a:off x="762162" y="1652758"/>
                <a:ext cx="366655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6B8754FC-35C9-4E01-8982-FE561E80C500}"/>
                </a:ext>
              </a:extLst>
            </p:cNvPr>
            <p:cNvGrpSpPr/>
            <p:nvPr/>
          </p:nvGrpSpPr>
          <p:grpSpPr>
            <a:xfrm>
              <a:off x="673100" y="2244669"/>
              <a:ext cx="3279774" cy="977408"/>
              <a:chOff x="673100" y="2199496"/>
              <a:chExt cx="3279774" cy="977408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4B341A6A-EBB1-4F2D-9549-D199EED5E272}"/>
                  </a:ext>
                </a:extLst>
              </p:cNvPr>
              <p:cNvSpPr/>
              <p:nvPr/>
            </p:nvSpPr>
            <p:spPr bwMode="auto">
              <a:xfrm>
                <a:off x="673100" y="2600590"/>
                <a:ext cx="3279774" cy="5763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D0FDC823-9159-440F-AE1E-F84BA6918D65}"/>
                  </a:ext>
                </a:extLst>
              </p:cNvPr>
              <p:cNvSpPr txBox="1"/>
              <p:nvPr/>
            </p:nvSpPr>
            <p:spPr bwMode="auto">
              <a:xfrm>
                <a:off x="673100" y="2199496"/>
                <a:ext cx="3279774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800" b="1" dirty="0">
                    <a:cs typeface="+mn-ea"/>
                    <a:sym typeface="+mn-lt"/>
                  </a:rPr>
                  <a:t>02</a:t>
                </a:r>
                <a:r>
                  <a:rPr lang="en-US" altLang="zh-CN" b="1" dirty="0">
                    <a:cs typeface="+mn-ea"/>
                    <a:sym typeface="+mn-lt"/>
                  </a:rPr>
                  <a:t>. …</a:t>
                </a:r>
                <a:r>
                  <a:rPr lang="zh-CN" altLang="en-US" b="1" dirty="0">
                    <a:cs typeface="+mn-ea"/>
                    <a:sym typeface="+mn-lt"/>
                  </a:rPr>
                  <a:t>总结</a:t>
                </a:r>
                <a:endParaRPr lang="en-US" altLang="zh-CN" sz="1800" b="1" dirty="0">
                  <a:cs typeface="+mn-ea"/>
                  <a:sym typeface="+mn-lt"/>
                </a:endParaRPr>
              </a:p>
            </p:txBody>
          </p:sp>
          <p:cxnSp>
            <p:nvCxnSpPr>
              <p:cNvPr id="27" name="直接连接符 26">
                <a:extLst>
                  <a:ext uri="{FF2B5EF4-FFF2-40B4-BE49-F238E27FC236}">
                    <a16:creationId xmlns:a16="http://schemas.microsoft.com/office/drawing/2014/main" id="{8285CC33-829E-4D52-A75F-60A95111085D}"/>
                  </a:ext>
                </a:extLst>
              </p:cNvPr>
              <p:cNvCxnSpPr/>
              <p:nvPr/>
            </p:nvCxnSpPr>
            <p:spPr>
              <a:xfrm>
                <a:off x="743651" y="2600588"/>
                <a:ext cx="3114761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C840B9C5-CE38-4D8A-888D-6276BE14B096}"/>
                </a:ext>
              </a:extLst>
            </p:cNvPr>
            <p:cNvGrpSpPr/>
            <p:nvPr/>
          </p:nvGrpSpPr>
          <p:grpSpPr>
            <a:xfrm>
              <a:off x="673100" y="3473907"/>
              <a:ext cx="2388743" cy="1067754"/>
              <a:chOff x="673100" y="2864043"/>
              <a:chExt cx="5518695" cy="1067754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B6722BC0-1C26-477E-8ECC-485FB25DB769}"/>
                  </a:ext>
                </a:extLst>
              </p:cNvPr>
              <p:cNvSpPr/>
              <p:nvPr/>
            </p:nvSpPr>
            <p:spPr bwMode="auto">
              <a:xfrm>
                <a:off x="673100" y="3265136"/>
                <a:ext cx="5518695" cy="6666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8B91F7DE-8D16-4413-A92C-115DDD43721E}"/>
                  </a:ext>
                </a:extLst>
              </p:cNvPr>
              <p:cNvSpPr txBox="1"/>
              <p:nvPr/>
            </p:nvSpPr>
            <p:spPr bwMode="auto">
              <a:xfrm>
                <a:off x="673100" y="2864043"/>
                <a:ext cx="5518695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800" b="1" dirty="0">
                    <a:cs typeface="+mn-ea"/>
                    <a:sym typeface="+mn-lt"/>
                  </a:rPr>
                  <a:t>03</a:t>
                </a:r>
                <a:r>
                  <a:rPr lang="en-US" altLang="zh-CN" b="1" dirty="0">
                    <a:cs typeface="+mn-ea"/>
                    <a:sym typeface="+mn-lt"/>
                  </a:rPr>
                  <a:t>. …</a:t>
                </a:r>
                <a:r>
                  <a:rPr lang="zh-CN" altLang="en-US" b="1" dirty="0">
                    <a:cs typeface="+mn-ea"/>
                    <a:sym typeface="+mn-lt"/>
                  </a:rPr>
                  <a:t>总结</a:t>
                </a:r>
                <a:endParaRPr lang="en-US" altLang="zh-CN" sz="1800" b="1" dirty="0">
                  <a:cs typeface="+mn-ea"/>
                  <a:sym typeface="+mn-lt"/>
                </a:endParaRPr>
              </a:p>
            </p:txBody>
          </p:sp>
          <p:cxnSp>
            <p:nvCxnSpPr>
              <p:cNvPr id="24" name="直接连接符 23">
                <a:extLst>
                  <a:ext uri="{FF2B5EF4-FFF2-40B4-BE49-F238E27FC236}">
                    <a16:creationId xmlns:a16="http://schemas.microsoft.com/office/drawing/2014/main" id="{BC2D9763-D00B-46F6-B3F9-C6B9C10E818A}"/>
                  </a:ext>
                </a:extLst>
              </p:cNvPr>
              <p:cNvCxnSpPr/>
              <p:nvPr/>
            </p:nvCxnSpPr>
            <p:spPr>
              <a:xfrm>
                <a:off x="791812" y="3265135"/>
                <a:ext cx="5241037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9AC753B-67C0-4361-A0F5-0646145A0FB8}"/>
                </a:ext>
              </a:extLst>
            </p:cNvPr>
            <p:cNvGrpSpPr/>
            <p:nvPr/>
          </p:nvGrpSpPr>
          <p:grpSpPr>
            <a:xfrm>
              <a:off x="7658102" y="1251666"/>
              <a:ext cx="3860798" cy="741174"/>
              <a:chOff x="7658102" y="1251666"/>
              <a:chExt cx="3860798" cy="741174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BC686285-5B6B-4D90-8B1A-0F31FA5E2A25}"/>
                  </a:ext>
                </a:extLst>
              </p:cNvPr>
              <p:cNvSpPr/>
              <p:nvPr/>
            </p:nvSpPr>
            <p:spPr bwMode="auto">
              <a:xfrm flipH="1">
                <a:off x="7658102" y="1652759"/>
                <a:ext cx="3860798" cy="3400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A51FBE9B-CFBF-43D9-9AED-FAB7DC54FB6C}"/>
                  </a:ext>
                </a:extLst>
              </p:cNvPr>
              <p:cNvSpPr txBox="1"/>
              <p:nvPr/>
            </p:nvSpPr>
            <p:spPr bwMode="auto">
              <a:xfrm flipH="1">
                <a:off x="7658102" y="1251666"/>
                <a:ext cx="3860798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04. …</a:t>
                </a:r>
                <a:r>
                  <a:rPr lang="zh-CN" altLang="en-US" b="1" dirty="0">
                    <a:cs typeface="+mn-ea"/>
                    <a:sym typeface="+mn-lt"/>
                  </a:rPr>
                  <a:t>总结</a:t>
                </a:r>
                <a:endParaRPr lang="en-US" altLang="zh-CN" sz="1800" dirty="0">
                  <a:cs typeface="+mn-ea"/>
                  <a:sym typeface="+mn-lt"/>
                </a:endParaRPr>
              </a:p>
            </p:txBody>
          </p:sp>
          <p:cxnSp>
            <p:nvCxnSpPr>
              <p:cNvPr id="21" name="直接连接符 20">
                <a:extLst>
                  <a:ext uri="{FF2B5EF4-FFF2-40B4-BE49-F238E27FC236}">
                    <a16:creationId xmlns:a16="http://schemas.microsoft.com/office/drawing/2014/main" id="{B30B7754-56BA-4D5A-985F-DCC0BFFF8A82}"/>
                  </a:ext>
                </a:extLst>
              </p:cNvPr>
              <p:cNvCxnSpPr/>
              <p:nvPr/>
            </p:nvCxnSpPr>
            <p:spPr>
              <a:xfrm flipH="1">
                <a:off x="7763285" y="1652758"/>
                <a:ext cx="3666553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8F38265-31C1-4C7C-A195-0B01E2828F8E}"/>
                </a:ext>
              </a:extLst>
            </p:cNvPr>
            <p:cNvGrpSpPr/>
            <p:nvPr/>
          </p:nvGrpSpPr>
          <p:grpSpPr>
            <a:xfrm>
              <a:off x="8239126" y="2244670"/>
              <a:ext cx="3279774" cy="977408"/>
              <a:chOff x="8239126" y="2199496"/>
              <a:chExt cx="3279774" cy="977408"/>
            </a:xfrm>
          </p:grpSpPr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8D41E979-4293-4CCE-8945-BA1D58271A95}"/>
                  </a:ext>
                </a:extLst>
              </p:cNvPr>
              <p:cNvSpPr/>
              <p:nvPr/>
            </p:nvSpPr>
            <p:spPr bwMode="auto">
              <a:xfrm flipH="1">
                <a:off x="8239126" y="2600590"/>
                <a:ext cx="3279774" cy="57631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17" name="文本框 16">
                <a:extLst>
                  <a:ext uri="{FF2B5EF4-FFF2-40B4-BE49-F238E27FC236}">
                    <a16:creationId xmlns:a16="http://schemas.microsoft.com/office/drawing/2014/main" id="{97906B9E-3CE9-465C-A3A5-B041FAAE1CAB}"/>
                  </a:ext>
                </a:extLst>
              </p:cNvPr>
              <p:cNvSpPr txBox="1"/>
              <p:nvPr/>
            </p:nvSpPr>
            <p:spPr bwMode="auto">
              <a:xfrm flipH="1">
                <a:off x="8239126" y="2199496"/>
                <a:ext cx="3279774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05. …</a:t>
                </a:r>
                <a:r>
                  <a:rPr lang="zh-CN" altLang="en-US" b="1" dirty="0">
                    <a:cs typeface="+mn-ea"/>
                    <a:sym typeface="+mn-lt"/>
                  </a:rPr>
                  <a:t>总结</a:t>
                </a:r>
                <a:endParaRPr lang="en-US" altLang="zh-CN" sz="1800" b="1" dirty="0">
                  <a:cs typeface="+mn-ea"/>
                  <a:sym typeface="+mn-lt"/>
                </a:endParaRPr>
              </a:p>
            </p:txBody>
          </p:sp>
          <p:cxnSp>
            <p:nvCxnSpPr>
              <p:cNvPr id="18" name="直接连接符 17">
                <a:extLst>
                  <a:ext uri="{FF2B5EF4-FFF2-40B4-BE49-F238E27FC236}">
                    <a16:creationId xmlns:a16="http://schemas.microsoft.com/office/drawing/2014/main" id="{AF2FE099-78C8-4CBA-9B15-4927F8EEB3A2}"/>
                  </a:ext>
                </a:extLst>
              </p:cNvPr>
              <p:cNvCxnSpPr/>
              <p:nvPr/>
            </p:nvCxnSpPr>
            <p:spPr>
              <a:xfrm flipH="1">
                <a:off x="8333588" y="2600588"/>
                <a:ext cx="3114761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C8C03696-BAE7-46DA-B885-12842CAB9E06}"/>
                </a:ext>
              </a:extLst>
            </p:cNvPr>
            <p:cNvGrpSpPr/>
            <p:nvPr/>
          </p:nvGrpSpPr>
          <p:grpSpPr>
            <a:xfrm flipH="1">
              <a:off x="9130157" y="3473907"/>
              <a:ext cx="2388743" cy="1067754"/>
              <a:chOff x="673100" y="2864043"/>
              <a:chExt cx="5518695" cy="1067754"/>
            </a:xfrm>
          </p:grpSpPr>
          <p:sp>
            <p:nvSpPr>
              <p:cNvPr id="13" name="矩形 12">
                <a:extLst>
                  <a:ext uri="{FF2B5EF4-FFF2-40B4-BE49-F238E27FC236}">
                    <a16:creationId xmlns:a16="http://schemas.microsoft.com/office/drawing/2014/main" id="{BD376426-6973-4790-8ECB-1193F79D6E01}"/>
                  </a:ext>
                </a:extLst>
              </p:cNvPr>
              <p:cNvSpPr/>
              <p:nvPr/>
            </p:nvSpPr>
            <p:spPr bwMode="auto">
              <a:xfrm>
                <a:off x="673100" y="3265136"/>
                <a:ext cx="5518695" cy="6666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sp>
            <p:nvSpPr>
              <p:cNvPr id="14" name="文本框 13">
                <a:extLst>
                  <a:ext uri="{FF2B5EF4-FFF2-40B4-BE49-F238E27FC236}">
                    <a16:creationId xmlns:a16="http://schemas.microsoft.com/office/drawing/2014/main" id="{A755BFDC-F8E0-4D66-81B9-4DDAB11FE4BD}"/>
                  </a:ext>
                </a:extLst>
              </p:cNvPr>
              <p:cNvSpPr txBox="1"/>
              <p:nvPr/>
            </p:nvSpPr>
            <p:spPr bwMode="auto">
              <a:xfrm>
                <a:off x="673100" y="2864043"/>
                <a:ext cx="5518695" cy="4010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06. …</a:t>
                </a:r>
                <a:r>
                  <a:rPr lang="zh-CN" altLang="en-US" b="1" dirty="0">
                    <a:cs typeface="+mn-ea"/>
                    <a:sym typeface="+mn-lt"/>
                  </a:rPr>
                  <a:t>总结</a:t>
                </a:r>
                <a:endParaRPr lang="en-US" altLang="zh-CN" sz="1800" b="1" dirty="0">
                  <a:cs typeface="+mn-ea"/>
                  <a:sym typeface="+mn-lt"/>
                </a:endParaRPr>
              </a:p>
            </p:txBody>
          </p:sp>
          <p:cxnSp>
            <p:nvCxnSpPr>
              <p:cNvPr id="15" name="直接连接符 14">
                <a:extLst>
                  <a:ext uri="{FF2B5EF4-FFF2-40B4-BE49-F238E27FC236}">
                    <a16:creationId xmlns:a16="http://schemas.microsoft.com/office/drawing/2014/main" id="{A88D7279-BA15-42B3-9828-1C4867CE5389}"/>
                  </a:ext>
                </a:extLst>
              </p:cNvPr>
              <p:cNvCxnSpPr/>
              <p:nvPr/>
            </p:nvCxnSpPr>
            <p:spPr>
              <a:xfrm>
                <a:off x="791812" y="3265135"/>
                <a:ext cx="5241037" cy="0"/>
              </a:xfrm>
              <a:prstGeom prst="line">
                <a:avLst/>
              </a:prstGeom>
              <a:ln w="3175" cap="rnd">
                <a:solidFill>
                  <a:schemeClr val="bg1">
                    <a:lumMod val="75000"/>
                  </a:schemeClr>
                </a:solidFill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3924282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B1C08F-DAC4-4A92-8CA4-FADF97A16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总结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436BD1E-82A5-4699-BA76-C1D6EE7D5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70E009C-7DA0-4A77-AE35-B2C26E5C2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空心弧 5">
            <a:extLst>
              <a:ext uri="{FF2B5EF4-FFF2-40B4-BE49-F238E27FC236}">
                <a16:creationId xmlns:a16="http://schemas.microsoft.com/office/drawing/2014/main" id="{8F2AEA44-08CF-4086-B96B-428234F935A5}"/>
              </a:ext>
            </a:extLst>
          </p:cNvPr>
          <p:cNvSpPr/>
          <p:nvPr/>
        </p:nvSpPr>
        <p:spPr>
          <a:xfrm rot="5400000">
            <a:off x="980408" y="1391756"/>
            <a:ext cx="4464496" cy="4464496"/>
          </a:xfrm>
          <a:prstGeom prst="blockArc">
            <a:avLst>
              <a:gd name="adj1" fmla="val 10800000"/>
              <a:gd name="adj2" fmla="val 523590"/>
              <a:gd name="adj3" fmla="val 23000"/>
            </a:avLst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0"/>
                </a:schemeClr>
              </a:gs>
              <a:gs pos="77000">
                <a:schemeClr val="bg1">
                  <a:lumMod val="65000"/>
                  <a:alpha val="27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7882F88B-E0F2-45C0-BD89-836868207682}"/>
              </a:ext>
            </a:extLst>
          </p:cNvPr>
          <p:cNvCxnSpPr/>
          <p:nvPr/>
        </p:nvCxnSpPr>
        <p:spPr>
          <a:xfrm>
            <a:off x="5531267" y="2924949"/>
            <a:ext cx="5989221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A907A890-2B5C-403E-BC0C-115290586F02}"/>
              </a:ext>
            </a:extLst>
          </p:cNvPr>
          <p:cNvCxnSpPr/>
          <p:nvPr/>
        </p:nvCxnSpPr>
        <p:spPr>
          <a:xfrm>
            <a:off x="5531267" y="4248140"/>
            <a:ext cx="5989221" cy="0"/>
          </a:xfrm>
          <a:prstGeom prst="line">
            <a:avLst/>
          </a:prstGeom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1" name="组合 12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F32E44B-B710-448E-A990-38C0C9E319D2}"/>
              </a:ext>
            </a:extLst>
          </p:cNvPr>
          <p:cNvGrpSpPr/>
          <p:nvPr/>
        </p:nvGrpSpPr>
        <p:grpSpPr>
          <a:xfrm>
            <a:off x="864377" y="2184614"/>
            <a:ext cx="3650469" cy="2806097"/>
            <a:chOff x="3808413" y="1707646"/>
            <a:chExt cx="5010150" cy="3851276"/>
          </a:xfrm>
        </p:grpSpPr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10B166FE-69FA-4415-9143-FA2C80BCFB2F}"/>
                </a:ext>
              </a:extLst>
            </p:cNvPr>
            <p:cNvSpPr/>
            <p:nvPr/>
          </p:nvSpPr>
          <p:spPr bwMode="auto">
            <a:xfrm>
              <a:off x="5192713" y="1707646"/>
              <a:ext cx="1268413" cy="768350"/>
            </a:xfrm>
            <a:custGeom>
              <a:avLst/>
              <a:gdLst>
                <a:gd name="T0" fmla="*/ 12 w 111"/>
                <a:gd name="T1" fmla="*/ 0 h 67"/>
                <a:gd name="T2" fmla="*/ 0 w 111"/>
                <a:gd name="T3" fmla="*/ 5 h 67"/>
                <a:gd name="T4" fmla="*/ 99 w 111"/>
                <a:gd name="T5" fmla="*/ 67 h 67"/>
                <a:gd name="T6" fmla="*/ 12 w 111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1" h="67">
                  <a:moveTo>
                    <a:pt x="12" y="0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5"/>
                    <a:pt x="83" y="35"/>
                    <a:pt x="99" y="67"/>
                  </a:cubicBezTo>
                  <a:cubicBezTo>
                    <a:pt x="111" y="46"/>
                    <a:pt x="12" y="0"/>
                    <a:pt x="12" y="0"/>
                  </a:cubicBez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62377F12-4400-416B-8083-9F02152875E0}"/>
                </a:ext>
              </a:extLst>
            </p:cNvPr>
            <p:cNvSpPr/>
            <p:nvPr/>
          </p:nvSpPr>
          <p:spPr bwMode="auto">
            <a:xfrm>
              <a:off x="3808413" y="1994984"/>
              <a:ext cx="5010150" cy="3563938"/>
            </a:xfrm>
            <a:custGeom>
              <a:avLst/>
              <a:gdLst>
                <a:gd name="T0" fmla="*/ 0 w 3156"/>
                <a:gd name="T1" fmla="*/ 0 h 2245"/>
                <a:gd name="T2" fmla="*/ 0 w 3156"/>
                <a:gd name="T3" fmla="*/ 2079 h 2245"/>
                <a:gd name="T4" fmla="*/ 1578 w 3156"/>
                <a:gd name="T5" fmla="*/ 2245 h 2245"/>
                <a:gd name="T6" fmla="*/ 3156 w 3156"/>
                <a:gd name="T7" fmla="*/ 2079 h 2245"/>
                <a:gd name="T8" fmla="*/ 3156 w 3156"/>
                <a:gd name="T9" fmla="*/ 50 h 2245"/>
                <a:gd name="T10" fmla="*/ 1578 w 3156"/>
                <a:gd name="T11" fmla="*/ 260 h 2245"/>
                <a:gd name="T12" fmla="*/ 0 w 3156"/>
                <a:gd name="T13" fmla="*/ 0 h 2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56" h="2245">
                  <a:moveTo>
                    <a:pt x="0" y="0"/>
                  </a:moveTo>
                  <a:lnTo>
                    <a:pt x="0" y="2079"/>
                  </a:lnTo>
                  <a:lnTo>
                    <a:pt x="1578" y="2245"/>
                  </a:lnTo>
                  <a:lnTo>
                    <a:pt x="3156" y="2079"/>
                  </a:lnTo>
                  <a:lnTo>
                    <a:pt x="3156" y="50"/>
                  </a:lnTo>
                  <a:lnTo>
                    <a:pt x="1578" y="26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75F3686E-7A2F-4D54-9DFD-062FBC8C562A}"/>
                </a:ext>
              </a:extLst>
            </p:cNvPr>
            <p:cNvSpPr/>
            <p:nvPr/>
          </p:nvSpPr>
          <p:spPr bwMode="auto">
            <a:xfrm>
              <a:off x="6392863" y="2166434"/>
              <a:ext cx="2333625" cy="3300413"/>
            </a:xfrm>
            <a:custGeom>
              <a:avLst/>
              <a:gdLst>
                <a:gd name="T0" fmla="*/ 0 w 1470"/>
                <a:gd name="T1" fmla="*/ 2079 h 2079"/>
                <a:gd name="T2" fmla="*/ 1470 w 1470"/>
                <a:gd name="T3" fmla="*/ 1921 h 2079"/>
                <a:gd name="T4" fmla="*/ 1470 w 1470"/>
                <a:gd name="T5" fmla="*/ 0 h 2079"/>
                <a:gd name="T6" fmla="*/ 0 w 1470"/>
                <a:gd name="T7" fmla="*/ 195 h 2079"/>
                <a:gd name="T8" fmla="*/ 0 w 1470"/>
                <a:gd name="T9" fmla="*/ 2079 h 2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079">
                  <a:moveTo>
                    <a:pt x="0" y="2079"/>
                  </a:moveTo>
                  <a:lnTo>
                    <a:pt x="1470" y="1921"/>
                  </a:lnTo>
                  <a:lnTo>
                    <a:pt x="1470" y="0"/>
                  </a:lnTo>
                  <a:lnTo>
                    <a:pt x="0" y="195"/>
                  </a:lnTo>
                  <a:lnTo>
                    <a:pt x="0" y="20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772B8B73-F7CB-4975-8111-5ED60CB2D716}"/>
                </a:ext>
              </a:extLst>
            </p:cNvPr>
            <p:cNvSpPr/>
            <p:nvPr/>
          </p:nvSpPr>
          <p:spPr bwMode="auto">
            <a:xfrm>
              <a:off x="3887788" y="2098171"/>
              <a:ext cx="2333625" cy="3368675"/>
            </a:xfrm>
            <a:custGeom>
              <a:avLst/>
              <a:gdLst>
                <a:gd name="T0" fmla="*/ 0 w 1470"/>
                <a:gd name="T1" fmla="*/ 1964 h 2122"/>
                <a:gd name="T2" fmla="*/ 1470 w 1470"/>
                <a:gd name="T3" fmla="*/ 2122 h 2122"/>
                <a:gd name="T4" fmla="*/ 1470 w 1470"/>
                <a:gd name="T5" fmla="*/ 238 h 2122"/>
                <a:gd name="T6" fmla="*/ 0 w 1470"/>
                <a:gd name="T7" fmla="*/ 0 h 2122"/>
                <a:gd name="T8" fmla="*/ 0 w 1470"/>
                <a:gd name="T9" fmla="*/ 1964 h 2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70" h="2122">
                  <a:moveTo>
                    <a:pt x="0" y="1964"/>
                  </a:moveTo>
                  <a:lnTo>
                    <a:pt x="1470" y="2122"/>
                  </a:lnTo>
                  <a:lnTo>
                    <a:pt x="1470" y="238"/>
                  </a:lnTo>
                  <a:lnTo>
                    <a:pt x="0" y="0"/>
                  </a:lnTo>
                  <a:lnTo>
                    <a:pt x="0" y="1964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9FF8F5BE-79E5-47A4-B1D9-91F3ED92596B}"/>
                </a:ext>
              </a:extLst>
            </p:cNvPr>
            <p:cNvSpPr/>
            <p:nvPr/>
          </p:nvSpPr>
          <p:spPr bwMode="auto">
            <a:xfrm>
              <a:off x="6313488" y="2063246"/>
              <a:ext cx="2413000" cy="3427413"/>
            </a:xfrm>
            <a:custGeom>
              <a:avLst/>
              <a:gdLst>
                <a:gd name="T0" fmla="*/ 0 w 211"/>
                <a:gd name="T1" fmla="*/ 29 h 299"/>
                <a:gd name="T2" fmla="*/ 0 w 211"/>
                <a:gd name="T3" fmla="*/ 299 h 299"/>
                <a:gd name="T4" fmla="*/ 211 w 211"/>
                <a:gd name="T5" fmla="*/ 276 h 299"/>
                <a:gd name="T6" fmla="*/ 211 w 211"/>
                <a:gd name="T7" fmla="*/ 7 h 299"/>
                <a:gd name="T8" fmla="*/ 0 w 211"/>
                <a:gd name="T9" fmla="*/ 2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1" h="299">
                  <a:moveTo>
                    <a:pt x="0" y="29"/>
                  </a:moveTo>
                  <a:cubicBezTo>
                    <a:pt x="0" y="119"/>
                    <a:pt x="0" y="209"/>
                    <a:pt x="0" y="299"/>
                  </a:cubicBezTo>
                  <a:cubicBezTo>
                    <a:pt x="69" y="277"/>
                    <a:pt x="142" y="269"/>
                    <a:pt x="211" y="276"/>
                  </a:cubicBezTo>
                  <a:cubicBezTo>
                    <a:pt x="211" y="186"/>
                    <a:pt x="211" y="96"/>
                    <a:pt x="211" y="7"/>
                  </a:cubicBezTo>
                  <a:cubicBezTo>
                    <a:pt x="142" y="0"/>
                    <a:pt x="69" y="7"/>
                    <a:pt x="0" y="29"/>
                  </a:cubicBezTo>
                  <a:close/>
                </a:path>
              </a:pathLst>
            </a:custGeom>
            <a:solidFill>
              <a:srgbClr val="DDDDD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2C4DE0F5-3F03-4B54-A9D8-705C2A1382CE}"/>
                </a:ext>
              </a:extLst>
            </p:cNvPr>
            <p:cNvSpPr/>
            <p:nvPr/>
          </p:nvSpPr>
          <p:spPr bwMode="auto">
            <a:xfrm>
              <a:off x="6313488" y="1971171"/>
              <a:ext cx="2333625" cy="3519488"/>
            </a:xfrm>
            <a:custGeom>
              <a:avLst/>
              <a:gdLst>
                <a:gd name="T0" fmla="*/ 0 w 204"/>
                <a:gd name="T1" fmla="*/ 37 h 307"/>
                <a:gd name="T2" fmla="*/ 0 w 204"/>
                <a:gd name="T3" fmla="*/ 307 h 307"/>
                <a:gd name="T4" fmla="*/ 204 w 204"/>
                <a:gd name="T5" fmla="*/ 272 h 307"/>
                <a:gd name="T6" fmla="*/ 204 w 204"/>
                <a:gd name="T7" fmla="*/ 3 h 307"/>
                <a:gd name="T8" fmla="*/ 0 w 204"/>
                <a:gd name="T9" fmla="*/ 37 h 3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4" h="307">
                  <a:moveTo>
                    <a:pt x="0" y="37"/>
                  </a:moveTo>
                  <a:cubicBezTo>
                    <a:pt x="0" y="127"/>
                    <a:pt x="0" y="217"/>
                    <a:pt x="0" y="307"/>
                  </a:cubicBezTo>
                  <a:cubicBezTo>
                    <a:pt x="67" y="281"/>
                    <a:pt x="137" y="269"/>
                    <a:pt x="204" y="272"/>
                  </a:cubicBezTo>
                  <a:cubicBezTo>
                    <a:pt x="204" y="182"/>
                    <a:pt x="204" y="92"/>
                    <a:pt x="204" y="3"/>
                  </a:cubicBezTo>
                  <a:cubicBezTo>
                    <a:pt x="137" y="0"/>
                    <a:pt x="67" y="12"/>
                    <a:pt x="0" y="37"/>
                  </a:cubicBezTo>
                  <a:close/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2D192F55-376C-4E59-9450-DAA605A1B3B3}"/>
                </a:ext>
              </a:extLst>
            </p:cNvPr>
            <p:cNvSpPr/>
            <p:nvPr/>
          </p:nvSpPr>
          <p:spPr bwMode="auto">
            <a:xfrm>
              <a:off x="6313488" y="1856871"/>
              <a:ext cx="2252663" cy="3633788"/>
            </a:xfrm>
            <a:custGeom>
              <a:avLst/>
              <a:gdLst>
                <a:gd name="T0" fmla="*/ 0 w 197"/>
                <a:gd name="T1" fmla="*/ 317 h 317"/>
                <a:gd name="T2" fmla="*/ 197 w 197"/>
                <a:gd name="T3" fmla="*/ 269 h 317"/>
                <a:gd name="T4" fmla="*/ 197 w 197"/>
                <a:gd name="T5" fmla="*/ 0 h 317"/>
                <a:gd name="T6" fmla="*/ 0 w 197"/>
                <a:gd name="T7" fmla="*/ 47 h 317"/>
                <a:gd name="T8" fmla="*/ 0 w 197"/>
                <a:gd name="T9" fmla="*/ 317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317">
                  <a:moveTo>
                    <a:pt x="0" y="317"/>
                  </a:moveTo>
                  <a:cubicBezTo>
                    <a:pt x="65" y="287"/>
                    <a:pt x="132" y="270"/>
                    <a:pt x="197" y="269"/>
                  </a:cubicBezTo>
                  <a:cubicBezTo>
                    <a:pt x="197" y="180"/>
                    <a:pt x="197" y="90"/>
                    <a:pt x="197" y="0"/>
                  </a:cubicBezTo>
                  <a:cubicBezTo>
                    <a:pt x="132" y="1"/>
                    <a:pt x="65" y="17"/>
                    <a:pt x="0" y="47"/>
                  </a:cubicBezTo>
                  <a:cubicBezTo>
                    <a:pt x="0" y="137"/>
                    <a:pt x="0" y="227"/>
                    <a:pt x="0" y="31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38DBFC0B-837B-4B1F-B08A-98B33D83FB96}"/>
                </a:ext>
              </a:extLst>
            </p:cNvPr>
            <p:cNvSpPr/>
            <p:nvPr/>
          </p:nvSpPr>
          <p:spPr bwMode="auto">
            <a:xfrm>
              <a:off x="4059238" y="1856871"/>
              <a:ext cx="2254250" cy="3633788"/>
            </a:xfrm>
            <a:custGeom>
              <a:avLst/>
              <a:gdLst>
                <a:gd name="T0" fmla="*/ 0 w 197"/>
                <a:gd name="T1" fmla="*/ 269 h 317"/>
                <a:gd name="T2" fmla="*/ 197 w 197"/>
                <a:gd name="T3" fmla="*/ 317 h 317"/>
                <a:gd name="T4" fmla="*/ 197 w 197"/>
                <a:gd name="T5" fmla="*/ 47 h 317"/>
                <a:gd name="T6" fmla="*/ 0 w 197"/>
                <a:gd name="T7" fmla="*/ 0 h 317"/>
                <a:gd name="T8" fmla="*/ 0 w 197"/>
                <a:gd name="T9" fmla="*/ 26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317">
                  <a:moveTo>
                    <a:pt x="0" y="269"/>
                  </a:moveTo>
                  <a:cubicBezTo>
                    <a:pt x="64" y="270"/>
                    <a:pt x="132" y="287"/>
                    <a:pt x="197" y="317"/>
                  </a:cubicBezTo>
                  <a:cubicBezTo>
                    <a:pt x="197" y="227"/>
                    <a:pt x="197" y="137"/>
                    <a:pt x="197" y="47"/>
                  </a:cubicBezTo>
                  <a:cubicBezTo>
                    <a:pt x="132" y="17"/>
                    <a:pt x="64" y="1"/>
                    <a:pt x="0" y="0"/>
                  </a:cubicBezTo>
                  <a:cubicBezTo>
                    <a:pt x="0" y="90"/>
                    <a:pt x="0" y="180"/>
                    <a:pt x="0" y="269"/>
                  </a:cubicBezTo>
                  <a:close/>
                </a:path>
              </a:pathLst>
            </a:cu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6869DF07-3461-421F-A279-D0A67E51F07B}"/>
                </a:ext>
              </a:extLst>
            </p:cNvPr>
            <p:cNvSpPr/>
            <p:nvPr/>
          </p:nvSpPr>
          <p:spPr bwMode="auto">
            <a:xfrm>
              <a:off x="6634163" y="2372809"/>
              <a:ext cx="1428750" cy="619125"/>
            </a:xfrm>
            <a:custGeom>
              <a:avLst/>
              <a:gdLst>
                <a:gd name="T0" fmla="*/ 0 w 125"/>
                <a:gd name="T1" fmla="*/ 54 h 54"/>
                <a:gd name="T2" fmla="*/ 125 w 125"/>
                <a:gd name="T3" fmla="*/ 23 h 54"/>
                <a:gd name="T4" fmla="*/ 125 w 125"/>
                <a:gd name="T5" fmla="*/ 0 h 54"/>
                <a:gd name="T6" fmla="*/ 0 w 125"/>
                <a:gd name="T7" fmla="*/ 31 h 54"/>
                <a:gd name="T8" fmla="*/ 0 w 125"/>
                <a:gd name="T9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5" h="54">
                  <a:moveTo>
                    <a:pt x="0" y="54"/>
                  </a:moveTo>
                  <a:cubicBezTo>
                    <a:pt x="41" y="35"/>
                    <a:pt x="84" y="24"/>
                    <a:pt x="125" y="23"/>
                  </a:cubicBezTo>
                  <a:cubicBezTo>
                    <a:pt x="125" y="15"/>
                    <a:pt x="125" y="7"/>
                    <a:pt x="125" y="0"/>
                  </a:cubicBezTo>
                  <a:cubicBezTo>
                    <a:pt x="84" y="1"/>
                    <a:pt x="41" y="12"/>
                    <a:pt x="0" y="31"/>
                  </a:cubicBezTo>
                  <a:cubicBezTo>
                    <a:pt x="0" y="39"/>
                    <a:pt x="0" y="47"/>
                    <a:pt x="0" y="54"/>
                  </a:cubicBezTo>
                  <a:close/>
                </a:path>
              </a:pathLst>
            </a:custGeom>
            <a:solidFill>
              <a:srgbClr val="FFD3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C8D3C29C-95BC-48AB-ACC3-ED1976A72E69}"/>
                </a:ext>
              </a:extLst>
            </p:cNvPr>
            <p:cNvSpPr/>
            <p:nvPr/>
          </p:nvSpPr>
          <p:spPr bwMode="auto">
            <a:xfrm>
              <a:off x="6965951" y="2269621"/>
              <a:ext cx="765175" cy="665163"/>
            </a:xfrm>
            <a:custGeom>
              <a:avLst/>
              <a:gdLst>
                <a:gd name="T0" fmla="*/ 33 w 67"/>
                <a:gd name="T1" fmla="*/ 5 h 58"/>
                <a:gd name="T2" fmla="*/ 0 w 67"/>
                <a:gd name="T3" fmla="*/ 39 h 58"/>
                <a:gd name="T4" fmla="*/ 33 w 67"/>
                <a:gd name="T5" fmla="*/ 53 h 58"/>
                <a:gd name="T6" fmla="*/ 67 w 67"/>
                <a:gd name="T7" fmla="*/ 23 h 58"/>
                <a:gd name="T8" fmla="*/ 33 w 67"/>
                <a:gd name="T9" fmla="*/ 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58">
                  <a:moveTo>
                    <a:pt x="33" y="5"/>
                  </a:moveTo>
                  <a:cubicBezTo>
                    <a:pt x="15" y="10"/>
                    <a:pt x="0" y="26"/>
                    <a:pt x="0" y="39"/>
                  </a:cubicBezTo>
                  <a:cubicBezTo>
                    <a:pt x="0" y="53"/>
                    <a:pt x="15" y="58"/>
                    <a:pt x="33" y="53"/>
                  </a:cubicBezTo>
                  <a:cubicBezTo>
                    <a:pt x="52" y="48"/>
                    <a:pt x="67" y="36"/>
                    <a:pt x="67" y="23"/>
                  </a:cubicBezTo>
                  <a:cubicBezTo>
                    <a:pt x="67" y="9"/>
                    <a:pt x="52" y="0"/>
                    <a:pt x="33" y="5"/>
                  </a:cubicBezTo>
                  <a:close/>
                </a:path>
              </a:pathLst>
            </a:custGeom>
            <a:solidFill>
              <a:srgbClr val="FFD38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9CFA7212-9FF4-423D-87EA-DC44BDC1DF93}"/>
                </a:ext>
              </a:extLst>
            </p:cNvPr>
            <p:cNvSpPr/>
            <p:nvPr/>
          </p:nvSpPr>
          <p:spPr bwMode="auto">
            <a:xfrm>
              <a:off x="6542088" y="3277684"/>
              <a:ext cx="1852613" cy="436563"/>
            </a:xfrm>
            <a:custGeom>
              <a:avLst/>
              <a:gdLst>
                <a:gd name="T0" fmla="*/ 0 w 162"/>
                <a:gd name="T1" fmla="*/ 38 h 38"/>
                <a:gd name="T2" fmla="*/ 162 w 162"/>
                <a:gd name="T3" fmla="*/ 2 h 38"/>
                <a:gd name="T4" fmla="*/ 162 w 162"/>
                <a:gd name="T5" fmla="*/ 0 h 38"/>
                <a:gd name="T6" fmla="*/ 0 w 162"/>
                <a:gd name="T7" fmla="*/ 36 h 38"/>
                <a:gd name="T8" fmla="*/ 0 w 16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8">
                  <a:moveTo>
                    <a:pt x="0" y="38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6"/>
                    <a:pt x="0" y="37"/>
                    <a:pt x="0" y="38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6B82B19A-BD88-4C39-ADDE-D72D9EA84AC6}"/>
                </a:ext>
              </a:extLst>
            </p:cNvPr>
            <p:cNvSpPr/>
            <p:nvPr/>
          </p:nvSpPr>
          <p:spPr bwMode="auto">
            <a:xfrm>
              <a:off x="6542088" y="3323721"/>
              <a:ext cx="1852613" cy="436563"/>
            </a:xfrm>
            <a:custGeom>
              <a:avLst/>
              <a:gdLst>
                <a:gd name="T0" fmla="*/ 0 w 162"/>
                <a:gd name="T1" fmla="*/ 38 h 38"/>
                <a:gd name="T2" fmla="*/ 162 w 162"/>
                <a:gd name="T3" fmla="*/ 2 h 38"/>
                <a:gd name="T4" fmla="*/ 162 w 162"/>
                <a:gd name="T5" fmla="*/ 0 h 38"/>
                <a:gd name="T6" fmla="*/ 0 w 162"/>
                <a:gd name="T7" fmla="*/ 36 h 38"/>
                <a:gd name="T8" fmla="*/ 0 w 16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8">
                  <a:moveTo>
                    <a:pt x="0" y="38"/>
                  </a:moveTo>
                  <a:cubicBezTo>
                    <a:pt x="54" y="17"/>
                    <a:pt x="108" y="5"/>
                    <a:pt x="162" y="2"/>
                  </a:cubicBezTo>
                  <a:cubicBezTo>
                    <a:pt x="162" y="2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45759D5C-A10B-4B08-9CAC-E58962A5F550}"/>
                </a:ext>
              </a:extLst>
            </p:cNvPr>
            <p:cNvSpPr/>
            <p:nvPr/>
          </p:nvSpPr>
          <p:spPr bwMode="auto">
            <a:xfrm>
              <a:off x="6542088" y="3380871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DAB793CC-6657-4513-BC31-803ACCFB732B}"/>
                </a:ext>
              </a:extLst>
            </p:cNvPr>
            <p:cNvSpPr/>
            <p:nvPr/>
          </p:nvSpPr>
          <p:spPr bwMode="auto">
            <a:xfrm>
              <a:off x="6542088" y="3426909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CD9FE645-D1D7-4EA1-BBAD-B10FCF2EED6C}"/>
                </a:ext>
              </a:extLst>
            </p:cNvPr>
            <p:cNvSpPr/>
            <p:nvPr/>
          </p:nvSpPr>
          <p:spPr bwMode="auto">
            <a:xfrm>
              <a:off x="6542088" y="3472946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387E8429-B384-4158-8659-3325A815031C}"/>
                </a:ext>
              </a:extLst>
            </p:cNvPr>
            <p:cNvSpPr/>
            <p:nvPr/>
          </p:nvSpPr>
          <p:spPr bwMode="auto">
            <a:xfrm>
              <a:off x="6542088" y="3518984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6A9A3F39-8307-4134-A782-AA0514F43516}"/>
                </a:ext>
              </a:extLst>
            </p:cNvPr>
            <p:cNvSpPr/>
            <p:nvPr/>
          </p:nvSpPr>
          <p:spPr bwMode="auto">
            <a:xfrm>
              <a:off x="6542088" y="3565021"/>
              <a:ext cx="1852613" cy="434975"/>
            </a:xfrm>
            <a:custGeom>
              <a:avLst/>
              <a:gdLst>
                <a:gd name="T0" fmla="*/ 0 w 162"/>
                <a:gd name="T1" fmla="*/ 38 h 38"/>
                <a:gd name="T2" fmla="*/ 162 w 162"/>
                <a:gd name="T3" fmla="*/ 2 h 38"/>
                <a:gd name="T4" fmla="*/ 162 w 162"/>
                <a:gd name="T5" fmla="*/ 0 h 38"/>
                <a:gd name="T6" fmla="*/ 0 w 162"/>
                <a:gd name="T7" fmla="*/ 36 h 38"/>
                <a:gd name="T8" fmla="*/ 0 w 16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8">
                  <a:moveTo>
                    <a:pt x="0" y="38"/>
                  </a:moveTo>
                  <a:cubicBezTo>
                    <a:pt x="54" y="16"/>
                    <a:pt x="108" y="5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6B3F00D8-3215-4C0C-A345-DC41E1F9F6D0}"/>
                </a:ext>
              </a:extLst>
            </p:cNvPr>
            <p:cNvSpPr/>
            <p:nvPr/>
          </p:nvSpPr>
          <p:spPr bwMode="auto">
            <a:xfrm>
              <a:off x="6542088" y="3622171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578B6E3C-EADF-431D-A9F6-CEE162E28FBC}"/>
                </a:ext>
              </a:extLst>
            </p:cNvPr>
            <p:cNvSpPr/>
            <p:nvPr/>
          </p:nvSpPr>
          <p:spPr bwMode="auto">
            <a:xfrm>
              <a:off x="6542088" y="3806321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7273F9F3-A43D-46E3-8B78-E0708068CE74}"/>
                </a:ext>
              </a:extLst>
            </p:cNvPr>
            <p:cNvSpPr/>
            <p:nvPr/>
          </p:nvSpPr>
          <p:spPr bwMode="auto">
            <a:xfrm>
              <a:off x="6542088" y="3850771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FBE96081-ECF0-47FF-A60E-05DBBFD4CEB4}"/>
                </a:ext>
              </a:extLst>
            </p:cNvPr>
            <p:cNvSpPr/>
            <p:nvPr/>
          </p:nvSpPr>
          <p:spPr bwMode="auto">
            <a:xfrm>
              <a:off x="6542088" y="3909509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6F13EE76-EC83-4F55-9AD0-C832DC591CEA}"/>
                </a:ext>
              </a:extLst>
            </p:cNvPr>
            <p:cNvSpPr/>
            <p:nvPr/>
          </p:nvSpPr>
          <p:spPr bwMode="auto">
            <a:xfrm>
              <a:off x="6542088" y="3953959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57E90EB4-E5BB-4607-BA8D-088F3EE926C1}"/>
                </a:ext>
              </a:extLst>
            </p:cNvPr>
            <p:cNvSpPr/>
            <p:nvPr/>
          </p:nvSpPr>
          <p:spPr bwMode="auto">
            <a:xfrm>
              <a:off x="6542088" y="4012696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539F2620-F1E7-450F-A1CE-1A23D9D4001C}"/>
                </a:ext>
              </a:extLst>
            </p:cNvPr>
            <p:cNvSpPr/>
            <p:nvPr/>
          </p:nvSpPr>
          <p:spPr bwMode="auto">
            <a:xfrm>
              <a:off x="6542088" y="4057146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F951B934-DA43-41D3-BB81-CF49AE6CA120}"/>
                </a:ext>
              </a:extLst>
            </p:cNvPr>
            <p:cNvSpPr/>
            <p:nvPr/>
          </p:nvSpPr>
          <p:spPr bwMode="auto">
            <a:xfrm>
              <a:off x="6542088" y="4115884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9F659C1F-B20B-4DE8-B193-7E7665BD3E42}"/>
                </a:ext>
              </a:extLst>
            </p:cNvPr>
            <p:cNvSpPr/>
            <p:nvPr/>
          </p:nvSpPr>
          <p:spPr bwMode="auto">
            <a:xfrm>
              <a:off x="6542088" y="4160334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48D4D413-5FDC-4C4B-8E7A-EA526F69F393}"/>
                </a:ext>
              </a:extLst>
            </p:cNvPr>
            <p:cNvSpPr/>
            <p:nvPr/>
          </p:nvSpPr>
          <p:spPr bwMode="auto">
            <a:xfrm>
              <a:off x="6542088" y="4217484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82BFA7D8-6F28-4D38-8E1D-2D6F5ADDD247}"/>
                </a:ext>
              </a:extLst>
            </p:cNvPr>
            <p:cNvSpPr/>
            <p:nvPr/>
          </p:nvSpPr>
          <p:spPr bwMode="auto">
            <a:xfrm>
              <a:off x="6542088" y="4263521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3AB03170-EEFA-41F8-9802-4EDAD943E50F}"/>
                </a:ext>
              </a:extLst>
            </p:cNvPr>
            <p:cNvSpPr/>
            <p:nvPr/>
          </p:nvSpPr>
          <p:spPr bwMode="auto">
            <a:xfrm>
              <a:off x="6542088" y="4320671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1 h 37"/>
                <a:gd name="T4" fmla="*/ 162 w 162"/>
                <a:gd name="T5" fmla="*/ 0 h 37"/>
                <a:gd name="T6" fmla="*/ 0 w 162"/>
                <a:gd name="T7" fmla="*/ 35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1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5"/>
                  </a:cubicBezTo>
                  <a:cubicBezTo>
                    <a:pt x="0" y="36"/>
                    <a:pt x="0" y="36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BA2C67E0-B804-4036-8C2E-A62A44990B88}"/>
                </a:ext>
              </a:extLst>
            </p:cNvPr>
            <p:cNvSpPr/>
            <p:nvPr/>
          </p:nvSpPr>
          <p:spPr bwMode="auto">
            <a:xfrm>
              <a:off x="6542088" y="4366709"/>
              <a:ext cx="1852613" cy="425450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738930F9-0E89-4420-BC3E-E37C2F0DC416}"/>
                </a:ext>
              </a:extLst>
            </p:cNvPr>
            <p:cNvSpPr/>
            <p:nvPr/>
          </p:nvSpPr>
          <p:spPr bwMode="auto">
            <a:xfrm>
              <a:off x="6542088" y="4412746"/>
              <a:ext cx="1852613" cy="436563"/>
            </a:xfrm>
            <a:custGeom>
              <a:avLst/>
              <a:gdLst>
                <a:gd name="T0" fmla="*/ 0 w 162"/>
                <a:gd name="T1" fmla="*/ 38 h 38"/>
                <a:gd name="T2" fmla="*/ 162 w 162"/>
                <a:gd name="T3" fmla="*/ 2 h 38"/>
                <a:gd name="T4" fmla="*/ 162 w 162"/>
                <a:gd name="T5" fmla="*/ 0 h 38"/>
                <a:gd name="T6" fmla="*/ 0 w 162"/>
                <a:gd name="T7" fmla="*/ 36 h 38"/>
                <a:gd name="T8" fmla="*/ 0 w 16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8">
                  <a:moveTo>
                    <a:pt x="0" y="38"/>
                  </a:moveTo>
                  <a:cubicBezTo>
                    <a:pt x="54" y="17"/>
                    <a:pt x="108" y="5"/>
                    <a:pt x="162" y="2"/>
                  </a:cubicBezTo>
                  <a:cubicBezTo>
                    <a:pt x="162" y="2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FBD828D5-AA4E-49F8-911E-5875113DF364}"/>
                </a:ext>
              </a:extLst>
            </p:cNvPr>
            <p:cNvSpPr/>
            <p:nvPr/>
          </p:nvSpPr>
          <p:spPr bwMode="auto">
            <a:xfrm>
              <a:off x="6542088" y="4469896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1"/>
                    <a:pt x="162" y="0"/>
                  </a:cubicBezTo>
                  <a:cubicBezTo>
                    <a:pt x="108" y="3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748C215E-D659-4B50-8181-CF78A95A76FF}"/>
                </a:ext>
              </a:extLst>
            </p:cNvPr>
            <p:cNvSpPr/>
            <p:nvPr/>
          </p:nvSpPr>
          <p:spPr bwMode="auto">
            <a:xfrm>
              <a:off x="6542088" y="4515934"/>
              <a:ext cx="1852613" cy="436563"/>
            </a:xfrm>
            <a:custGeom>
              <a:avLst/>
              <a:gdLst>
                <a:gd name="T0" fmla="*/ 0 w 162"/>
                <a:gd name="T1" fmla="*/ 38 h 38"/>
                <a:gd name="T2" fmla="*/ 162 w 162"/>
                <a:gd name="T3" fmla="*/ 2 h 38"/>
                <a:gd name="T4" fmla="*/ 162 w 162"/>
                <a:gd name="T5" fmla="*/ 0 h 38"/>
                <a:gd name="T6" fmla="*/ 0 w 162"/>
                <a:gd name="T7" fmla="*/ 36 h 38"/>
                <a:gd name="T8" fmla="*/ 0 w 162"/>
                <a:gd name="T9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8">
                  <a:moveTo>
                    <a:pt x="0" y="38"/>
                  </a:moveTo>
                  <a:cubicBezTo>
                    <a:pt x="54" y="16"/>
                    <a:pt x="108" y="5"/>
                    <a:pt x="162" y="2"/>
                  </a:cubicBezTo>
                  <a:cubicBezTo>
                    <a:pt x="162" y="2"/>
                    <a:pt x="162" y="1"/>
                    <a:pt x="162" y="0"/>
                  </a:cubicBezTo>
                  <a:cubicBezTo>
                    <a:pt x="108" y="3"/>
                    <a:pt x="54" y="15"/>
                    <a:pt x="0" y="36"/>
                  </a:cubicBezTo>
                  <a:cubicBezTo>
                    <a:pt x="0" y="37"/>
                    <a:pt x="0" y="37"/>
                    <a:pt x="0" y="38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61F3C4C9-004A-4507-A34C-A456582805F7}"/>
                </a:ext>
              </a:extLst>
            </p:cNvPr>
            <p:cNvSpPr/>
            <p:nvPr/>
          </p:nvSpPr>
          <p:spPr bwMode="auto">
            <a:xfrm>
              <a:off x="6542088" y="4573084"/>
              <a:ext cx="1852613" cy="423863"/>
            </a:xfrm>
            <a:custGeom>
              <a:avLst/>
              <a:gdLst>
                <a:gd name="T0" fmla="*/ 0 w 162"/>
                <a:gd name="T1" fmla="*/ 37 h 37"/>
                <a:gd name="T2" fmla="*/ 162 w 162"/>
                <a:gd name="T3" fmla="*/ 2 h 37"/>
                <a:gd name="T4" fmla="*/ 162 w 162"/>
                <a:gd name="T5" fmla="*/ 0 h 37"/>
                <a:gd name="T6" fmla="*/ 0 w 162"/>
                <a:gd name="T7" fmla="*/ 36 h 37"/>
                <a:gd name="T8" fmla="*/ 0 w 162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2" h="37">
                  <a:moveTo>
                    <a:pt x="0" y="37"/>
                  </a:moveTo>
                  <a:cubicBezTo>
                    <a:pt x="54" y="16"/>
                    <a:pt x="108" y="4"/>
                    <a:pt x="162" y="2"/>
                  </a:cubicBezTo>
                  <a:cubicBezTo>
                    <a:pt x="162" y="1"/>
                    <a:pt x="162" y="0"/>
                    <a:pt x="162" y="0"/>
                  </a:cubicBezTo>
                  <a:cubicBezTo>
                    <a:pt x="108" y="2"/>
                    <a:pt x="54" y="14"/>
                    <a:pt x="0" y="36"/>
                  </a:cubicBezTo>
                  <a:cubicBezTo>
                    <a:pt x="0" y="36"/>
                    <a:pt x="0" y="37"/>
                    <a:pt x="0" y="37"/>
                  </a:cubicBez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BC66C36F-C1EB-4E75-B0D8-5E9083375852}"/>
                </a:ext>
              </a:extLst>
            </p:cNvPr>
            <p:cNvSpPr/>
            <p:nvPr/>
          </p:nvSpPr>
          <p:spPr bwMode="auto">
            <a:xfrm>
              <a:off x="4471988" y="2234696"/>
              <a:ext cx="1039813" cy="219075"/>
            </a:xfrm>
            <a:custGeom>
              <a:avLst/>
              <a:gdLst>
                <a:gd name="T0" fmla="*/ 0 w 655"/>
                <a:gd name="T1" fmla="*/ 138 h 138"/>
                <a:gd name="T2" fmla="*/ 619 w 655"/>
                <a:gd name="T3" fmla="*/ 94 h 138"/>
                <a:gd name="T4" fmla="*/ 655 w 655"/>
                <a:gd name="T5" fmla="*/ 0 h 138"/>
                <a:gd name="T6" fmla="*/ 57 w 655"/>
                <a:gd name="T7" fmla="*/ 36 h 138"/>
                <a:gd name="T8" fmla="*/ 0 w 655"/>
                <a:gd name="T9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5" h="138">
                  <a:moveTo>
                    <a:pt x="0" y="138"/>
                  </a:moveTo>
                  <a:lnTo>
                    <a:pt x="619" y="94"/>
                  </a:lnTo>
                  <a:lnTo>
                    <a:pt x="655" y="0"/>
                  </a:lnTo>
                  <a:lnTo>
                    <a:pt x="57" y="36"/>
                  </a:lnTo>
                  <a:lnTo>
                    <a:pt x="0" y="138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34218A3B-F4E5-4EA6-B515-22E1FF4A76B0}"/>
                </a:ext>
              </a:extLst>
            </p:cNvPr>
            <p:cNvSpPr/>
            <p:nvPr/>
          </p:nvSpPr>
          <p:spPr bwMode="auto">
            <a:xfrm>
              <a:off x="4471988" y="2291846"/>
              <a:ext cx="239713" cy="585788"/>
            </a:xfrm>
            <a:custGeom>
              <a:avLst/>
              <a:gdLst>
                <a:gd name="T0" fmla="*/ 0 w 151"/>
                <a:gd name="T1" fmla="*/ 102 h 369"/>
                <a:gd name="T2" fmla="*/ 72 w 151"/>
                <a:gd name="T3" fmla="*/ 369 h 369"/>
                <a:gd name="T4" fmla="*/ 151 w 151"/>
                <a:gd name="T5" fmla="*/ 347 h 369"/>
                <a:gd name="T6" fmla="*/ 57 w 151"/>
                <a:gd name="T7" fmla="*/ 0 h 369"/>
                <a:gd name="T8" fmla="*/ 0 w 151"/>
                <a:gd name="T9" fmla="*/ 102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1" h="369">
                  <a:moveTo>
                    <a:pt x="0" y="102"/>
                  </a:moveTo>
                  <a:lnTo>
                    <a:pt x="72" y="369"/>
                  </a:lnTo>
                  <a:lnTo>
                    <a:pt x="151" y="347"/>
                  </a:lnTo>
                  <a:lnTo>
                    <a:pt x="57" y="0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DC7B6E74-C9DA-4DA0-BA50-C69889B8FE2D}"/>
                </a:ext>
              </a:extLst>
            </p:cNvPr>
            <p:cNvSpPr/>
            <p:nvPr/>
          </p:nvSpPr>
          <p:spPr bwMode="auto">
            <a:xfrm>
              <a:off x="5192713" y="1707646"/>
              <a:ext cx="319088" cy="676275"/>
            </a:xfrm>
            <a:custGeom>
              <a:avLst/>
              <a:gdLst>
                <a:gd name="T0" fmla="*/ 0 w 201"/>
                <a:gd name="T1" fmla="*/ 36 h 426"/>
                <a:gd name="T2" fmla="*/ 165 w 201"/>
                <a:gd name="T3" fmla="*/ 426 h 426"/>
                <a:gd name="T4" fmla="*/ 201 w 201"/>
                <a:gd name="T5" fmla="*/ 332 h 426"/>
                <a:gd name="T6" fmla="*/ 86 w 201"/>
                <a:gd name="T7" fmla="*/ 0 h 426"/>
                <a:gd name="T8" fmla="*/ 0 w 201"/>
                <a:gd name="T9" fmla="*/ 36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426">
                  <a:moveTo>
                    <a:pt x="0" y="36"/>
                  </a:moveTo>
                  <a:lnTo>
                    <a:pt x="165" y="426"/>
                  </a:lnTo>
                  <a:lnTo>
                    <a:pt x="201" y="332"/>
                  </a:lnTo>
                  <a:lnTo>
                    <a:pt x="86" y="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45D16FC4-B8F1-48EC-A8E0-8CA4122D00F4}"/>
                </a:ext>
              </a:extLst>
            </p:cNvPr>
            <p:cNvSpPr/>
            <p:nvPr/>
          </p:nvSpPr>
          <p:spPr bwMode="auto">
            <a:xfrm>
              <a:off x="4437063" y="2774446"/>
              <a:ext cx="514350" cy="515938"/>
            </a:xfrm>
            <a:custGeom>
              <a:avLst/>
              <a:gdLst>
                <a:gd name="T0" fmla="*/ 37 w 45"/>
                <a:gd name="T1" fmla="*/ 4 h 45"/>
                <a:gd name="T2" fmla="*/ 31 w 45"/>
                <a:gd name="T3" fmla="*/ 1 h 45"/>
                <a:gd name="T4" fmla="*/ 4 w 45"/>
                <a:gd name="T5" fmla="*/ 9 h 45"/>
                <a:gd name="T6" fmla="*/ 1 w 45"/>
                <a:gd name="T7" fmla="*/ 14 h 45"/>
                <a:gd name="T8" fmla="*/ 8 w 45"/>
                <a:gd name="T9" fmla="*/ 41 h 45"/>
                <a:gd name="T10" fmla="*/ 14 w 45"/>
                <a:gd name="T11" fmla="*/ 44 h 45"/>
                <a:gd name="T12" fmla="*/ 41 w 45"/>
                <a:gd name="T13" fmla="*/ 37 h 45"/>
                <a:gd name="T14" fmla="*/ 44 w 45"/>
                <a:gd name="T15" fmla="*/ 31 h 45"/>
                <a:gd name="T16" fmla="*/ 37 w 45"/>
                <a:gd name="T17" fmla="*/ 4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45">
                  <a:moveTo>
                    <a:pt x="37" y="4"/>
                  </a:moveTo>
                  <a:cubicBezTo>
                    <a:pt x="36" y="2"/>
                    <a:pt x="33" y="0"/>
                    <a:pt x="31" y="1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12"/>
                    <a:pt x="1" y="14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9" y="44"/>
                    <a:pt x="12" y="45"/>
                    <a:pt x="14" y="44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4" y="36"/>
                    <a:pt x="45" y="34"/>
                    <a:pt x="44" y="31"/>
                  </a:cubicBezTo>
                  <a:lnTo>
                    <a:pt x="37" y="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A1CDCEEE-4428-427B-8B6B-517D63580E51}"/>
                </a:ext>
              </a:extLst>
            </p:cNvPr>
            <p:cNvSpPr/>
            <p:nvPr/>
          </p:nvSpPr>
          <p:spPr bwMode="auto">
            <a:xfrm>
              <a:off x="4516438" y="2866521"/>
              <a:ext cx="366713" cy="377825"/>
            </a:xfrm>
            <a:custGeom>
              <a:avLst/>
              <a:gdLst>
                <a:gd name="T0" fmla="*/ 22 w 32"/>
                <a:gd name="T1" fmla="*/ 15 h 33"/>
                <a:gd name="T2" fmla="*/ 28 w 32"/>
                <a:gd name="T3" fmla="*/ 6 h 33"/>
                <a:gd name="T4" fmla="*/ 18 w 32"/>
                <a:gd name="T5" fmla="*/ 10 h 33"/>
                <a:gd name="T6" fmla="*/ 12 w 32"/>
                <a:gd name="T7" fmla="*/ 1 h 33"/>
                <a:gd name="T8" fmla="*/ 11 w 32"/>
                <a:gd name="T9" fmla="*/ 12 h 33"/>
                <a:gd name="T10" fmla="*/ 0 w 32"/>
                <a:gd name="T11" fmla="*/ 14 h 33"/>
                <a:gd name="T12" fmla="*/ 11 w 32"/>
                <a:gd name="T13" fmla="*/ 18 h 33"/>
                <a:gd name="T14" fmla="*/ 8 w 32"/>
                <a:gd name="T15" fmla="*/ 29 h 33"/>
                <a:gd name="T16" fmla="*/ 17 w 32"/>
                <a:gd name="T17" fmla="*/ 20 h 33"/>
                <a:gd name="T18" fmla="*/ 29 w 32"/>
                <a:gd name="T19" fmla="*/ 24 h 33"/>
                <a:gd name="T20" fmla="*/ 22 w 32"/>
                <a:gd name="T21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" h="33">
                  <a:moveTo>
                    <a:pt x="22" y="15"/>
                  </a:moveTo>
                  <a:cubicBezTo>
                    <a:pt x="27" y="14"/>
                    <a:pt x="32" y="11"/>
                    <a:pt x="28" y="6"/>
                  </a:cubicBezTo>
                  <a:cubicBezTo>
                    <a:pt x="24" y="2"/>
                    <a:pt x="21" y="6"/>
                    <a:pt x="18" y="10"/>
                  </a:cubicBezTo>
                  <a:cubicBezTo>
                    <a:pt x="18" y="5"/>
                    <a:pt x="17" y="0"/>
                    <a:pt x="12" y="1"/>
                  </a:cubicBezTo>
                  <a:cubicBezTo>
                    <a:pt x="6" y="3"/>
                    <a:pt x="8" y="8"/>
                    <a:pt x="11" y="12"/>
                  </a:cubicBezTo>
                  <a:cubicBezTo>
                    <a:pt x="7" y="10"/>
                    <a:pt x="1" y="8"/>
                    <a:pt x="0" y="14"/>
                  </a:cubicBezTo>
                  <a:cubicBezTo>
                    <a:pt x="0" y="20"/>
                    <a:pt x="6" y="20"/>
                    <a:pt x="11" y="18"/>
                  </a:cubicBezTo>
                  <a:cubicBezTo>
                    <a:pt x="7" y="22"/>
                    <a:pt x="3" y="27"/>
                    <a:pt x="8" y="29"/>
                  </a:cubicBezTo>
                  <a:cubicBezTo>
                    <a:pt x="14" y="33"/>
                    <a:pt x="16" y="26"/>
                    <a:pt x="17" y="20"/>
                  </a:cubicBezTo>
                  <a:cubicBezTo>
                    <a:pt x="21" y="24"/>
                    <a:pt x="26" y="29"/>
                    <a:pt x="29" y="24"/>
                  </a:cubicBezTo>
                  <a:cubicBezTo>
                    <a:pt x="32" y="18"/>
                    <a:pt x="27" y="16"/>
                    <a:pt x="22" y="1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66194A62-A706-43C4-8124-43CD6627CCB2}"/>
                </a:ext>
              </a:extLst>
            </p:cNvPr>
            <p:cNvSpPr/>
            <p:nvPr/>
          </p:nvSpPr>
          <p:spPr bwMode="auto">
            <a:xfrm>
              <a:off x="4643438" y="2991934"/>
              <a:ext cx="114300" cy="103188"/>
            </a:xfrm>
            <a:custGeom>
              <a:avLst/>
              <a:gdLst>
                <a:gd name="T0" fmla="*/ 4 w 10"/>
                <a:gd name="T1" fmla="*/ 0 h 9"/>
                <a:gd name="T2" fmla="*/ 1 w 10"/>
                <a:gd name="T3" fmla="*/ 6 h 9"/>
                <a:gd name="T4" fmla="*/ 6 w 10"/>
                <a:gd name="T5" fmla="*/ 9 h 9"/>
                <a:gd name="T6" fmla="*/ 9 w 10"/>
                <a:gd name="T7" fmla="*/ 3 h 9"/>
                <a:gd name="T8" fmla="*/ 4 w 10"/>
                <a:gd name="T9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4" y="0"/>
                  </a:moveTo>
                  <a:cubicBezTo>
                    <a:pt x="1" y="1"/>
                    <a:pt x="0" y="3"/>
                    <a:pt x="1" y="6"/>
                  </a:cubicBezTo>
                  <a:cubicBezTo>
                    <a:pt x="1" y="8"/>
                    <a:pt x="4" y="9"/>
                    <a:pt x="6" y="9"/>
                  </a:cubicBezTo>
                  <a:cubicBezTo>
                    <a:pt x="8" y="8"/>
                    <a:pt x="10" y="6"/>
                    <a:pt x="9" y="3"/>
                  </a:cubicBezTo>
                  <a:cubicBezTo>
                    <a:pt x="8" y="1"/>
                    <a:pt x="6" y="0"/>
                    <a:pt x="4" y="0"/>
                  </a:cubicBezTo>
                  <a:close/>
                </a:path>
              </a:pathLst>
            </a:custGeom>
            <a:solidFill>
              <a:srgbClr val="FFB3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62" name="组合 161">
            <a:extLst>
              <a:ext uri="{FF2B5EF4-FFF2-40B4-BE49-F238E27FC236}">
                <a16:creationId xmlns:a16="http://schemas.microsoft.com/office/drawing/2014/main" id="{39733456-D6A2-4059-AD90-B2D67DD6BA74}"/>
              </a:ext>
            </a:extLst>
          </p:cNvPr>
          <p:cNvGrpSpPr/>
          <p:nvPr/>
        </p:nvGrpSpPr>
        <p:grpSpPr>
          <a:xfrm>
            <a:off x="4585002" y="1661444"/>
            <a:ext cx="632702" cy="632682"/>
            <a:chOff x="4477378" y="1549351"/>
            <a:chExt cx="794793" cy="794768"/>
          </a:xfrm>
        </p:grpSpPr>
        <p:sp>
          <p:nvSpPr>
            <p:cNvPr id="163" name="椭圆 162">
              <a:extLst>
                <a:ext uri="{FF2B5EF4-FFF2-40B4-BE49-F238E27FC236}">
                  <a16:creationId xmlns:a16="http://schemas.microsoft.com/office/drawing/2014/main" id="{3497CC79-AE2A-41CC-81FC-C4A473A30846}"/>
                </a:ext>
              </a:extLst>
            </p:cNvPr>
            <p:cNvSpPr/>
            <p:nvPr/>
          </p:nvSpPr>
          <p:spPr>
            <a:xfrm>
              <a:off x="4477378" y="1549351"/>
              <a:ext cx="794793" cy="79476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3BD41578-DDF0-4759-9CBB-1EF4F7333DE0}"/>
                </a:ext>
              </a:extLst>
            </p:cNvPr>
            <p:cNvSpPr/>
            <p:nvPr/>
          </p:nvSpPr>
          <p:spPr bwMode="auto">
            <a:xfrm>
              <a:off x="4676836" y="1759017"/>
              <a:ext cx="395027" cy="371307"/>
            </a:xfrm>
            <a:custGeom>
              <a:avLst/>
              <a:gdLst>
                <a:gd name="connsiteX0" fmla="*/ 373712 w 606516"/>
                <a:gd name="connsiteY0" fmla="*/ 411044 h 570098"/>
                <a:gd name="connsiteX1" fmla="*/ 406213 w 606516"/>
                <a:gd name="connsiteY1" fmla="*/ 513558 h 570098"/>
                <a:gd name="connsiteX2" fmla="*/ 410671 w 606516"/>
                <a:gd name="connsiteY2" fmla="*/ 527554 h 570098"/>
                <a:gd name="connsiteX3" fmla="*/ 425250 w 606516"/>
                <a:gd name="connsiteY3" fmla="*/ 486400 h 570098"/>
                <a:gd name="connsiteX4" fmla="*/ 434072 w 606516"/>
                <a:gd name="connsiteY4" fmla="*/ 437553 h 570098"/>
                <a:gd name="connsiteX5" fmla="*/ 434165 w 606516"/>
                <a:gd name="connsiteY5" fmla="*/ 437553 h 570098"/>
                <a:gd name="connsiteX6" fmla="*/ 434258 w 606516"/>
                <a:gd name="connsiteY6" fmla="*/ 437553 h 570098"/>
                <a:gd name="connsiteX7" fmla="*/ 434443 w 606516"/>
                <a:gd name="connsiteY7" fmla="*/ 437553 h 570098"/>
                <a:gd name="connsiteX8" fmla="*/ 434536 w 606516"/>
                <a:gd name="connsiteY8" fmla="*/ 437553 h 570098"/>
                <a:gd name="connsiteX9" fmla="*/ 443358 w 606516"/>
                <a:gd name="connsiteY9" fmla="*/ 486400 h 570098"/>
                <a:gd name="connsiteX10" fmla="*/ 457937 w 606516"/>
                <a:gd name="connsiteY10" fmla="*/ 527554 h 570098"/>
                <a:gd name="connsiteX11" fmla="*/ 462395 w 606516"/>
                <a:gd name="connsiteY11" fmla="*/ 513558 h 570098"/>
                <a:gd name="connsiteX12" fmla="*/ 494804 w 606516"/>
                <a:gd name="connsiteY12" fmla="*/ 411044 h 570098"/>
                <a:gd name="connsiteX13" fmla="*/ 562221 w 606516"/>
                <a:gd name="connsiteY13" fmla="*/ 443485 h 570098"/>
                <a:gd name="connsiteX14" fmla="*/ 606516 w 606516"/>
                <a:gd name="connsiteY14" fmla="*/ 570098 h 570098"/>
                <a:gd name="connsiteX15" fmla="*/ 434443 w 606516"/>
                <a:gd name="connsiteY15" fmla="*/ 570098 h 570098"/>
                <a:gd name="connsiteX16" fmla="*/ 434072 w 606516"/>
                <a:gd name="connsiteY16" fmla="*/ 570098 h 570098"/>
                <a:gd name="connsiteX17" fmla="*/ 374362 w 606516"/>
                <a:gd name="connsiteY17" fmla="*/ 570098 h 570098"/>
                <a:gd name="connsiteX18" fmla="*/ 374362 w 606516"/>
                <a:gd name="connsiteY18" fmla="*/ 569727 h 570098"/>
                <a:gd name="connsiteX19" fmla="*/ 374269 w 606516"/>
                <a:gd name="connsiteY19" fmla="*/ 556102 h 570098"/>
                <a:gd name="connsiteX20" fmla="*/ 366840 w 606516"/>
                <a:gd name="connsiteY20" fmla="*/ 473702 h 570098"/>
                <a:gd name="connsiteX21" fmla="*/ 337681 w 606516"/>
                <a:gd name="connsiteY21" fmla="*/ 430323 h 570098"/>
                <a:gd name="connsiteX22" fmla="*/ 373712 w 606516"/>
                <a:gd name="connsiteY22" fmla="*/ 411044 h 570098"/>
                <a:gd name="connsiteX23" fmla="*/ 111694 w 606516"/>
                <a:gd name="connsiteY23" fmla="*/ 411044 h 570098"/>
                <a:gd name="connsiteX24" fmla="*/ 144097 w 606516"/>
                <a:gd name="connsiteY24" fmla="*/ 513541 h 570098"/>
                <a:gd name="connsiteX25" fmla="*/ 148554 w 606516"/>
                <a:gd name="connsiteY25" fmla="*/ 527535 h 570098"/>
                <a:gd name="connsiteX26" fmla="*/ 163130 w 606516"/>
                <a:gd name="connsiteY26" fmla="*/ 486388 h 570098"/>
                <a:gd name="connsiteX27" fmla="*/ 171951 w 606516"/>
                <a:gd name="connsiteY27" fmla="*/ 437549 h 570098"/>
                <a:gd name="connsiteX28" fmla="*/ 172044 w 606516"/>
                <a:gd name="connsiteY28" fmla="*/ 437549 h 570098"/>
                <a:gd name="connsiteX29" fmla="*/ 172230 w 606516"/>
                <a:gd name="connsiteY29" fmla="*/ 437549 h 570098"/>
                <a:gd name="connsiteX30" fmla="*/ 172323 w 606516"/>
                <a:gd name="connsiteY30" fmla="*/ 437549 h 570098"/>
                <a:gd name="connsiteX31" fmla="*/ 172416 w 606516"/>
                <a:gd name="connsiteY31" fmla="*/ 437549 h 570098"/>
                <a:gd name="connsiteX32" fmla="*/ 181236 w 606516"/>
                <a:gd name="connsiteY32" fmla="*/ 486388 h 570098"/>
                <a:gd name="connsiteX33" fmla="*/ 195813 w 606516"/>
                <a:gd name="connsiteY33" fmla="*/ 527535 h 570098"/>
                <a:gd name="connsiteX34" fmla="*/ 200269 w 606516"/>
                <a:gd name="connsiteY34" fmla="*/ 513541 h 570098"/>
                <a:gd name="connsiteX35" fmla="*/ 232766 w 606516"/>
                <a:gd name="connsiteY35" fmla="*/ 411044 h 570098"/>
                <a:gd name="connsiteX36" fmla="*/ 300079 w 606516"/>
                <a:gd name="connsiteY36" fmla="*/ 443480 h 570098"/>
                <a:gd name="connsiteX37" fmla="*/ 344552 w 606516"/>
                <a:gd name="connsiteY37" fmla="*/ 569887 h 570098"/>
                <a:gd name="connsiteX38" fmla="*/ 172416 w 606516"/>
                <a:gd name="connsiteY38" fmla="*/ 569887 h 570098"/>
                <a:gd name="connsiteX39" fmla="*/ 172044 w 606516"/>
                <a:gd name="connsiteY39" fmla="*/ 569887 h 570098"/>
                <a:gd name="connsiteX40" fmla="*/ 0 w 606516"/>
                <a:gd name="connsiteY40" fmla="*/ 569887 h 570098"/>
                <a:gd name="connsiteX41" fmla="*/ 44287 w 606516"/>
                <a:gd name="connsiteY41" fmla="*/ 443480 h 570098"/>
                <a:gd name="connsiteX42" fmla="*/ 111694 w 606516"/>
                <a:gd name="connsiteY42" fmla="*/ 411044 h 570098"/>
                <a:gd name="connsiteX43" fmla="*/ 434261 w 606516"/>
                <a:gd name="connsiteY43" fmla="*/ 196698 h 570098"/>
                <a:gd name="connsiteX44" fmla="*/ 514298 w 606516"/>
                <a:gd name="connsiteY44" fmla="*/ 278742 h 570098"/>
                <a:gd name="connsiteX45" fmla="*/ 434632 w 606516"/>
                <a:gd name="connsiteY45" fmla="*/ 403987 h 570098"/>
                <a:gd name="connsiteX46" fmla="*/ 434168 w 606516"/>
                <a:gd name="connsiteY46" fmla="*/ 403987 h 570098"/>
                <a:gd name="connsiteX47" fmla="*/ 433704 w 606516"/>
                <a:gd name="connsiteY47" fmla="*/ 403987 h 570098"/>
                <a:gd name="connsiteX48" fmla="*/ 354038 w 606516"/>
                <a:gd name="connsiteY48" fmla="*/ 278742 h 570098"/>
                <a:gd name="connsiteX49" fmla="*/ 434261 w 606516"/>
                <a:gd name="connsiteY49" fmla="*/ 196698 h 570098"/>
                <a:gd name="connsiteX50" fmla="*/ 172044 w 606516"/>
                <a:gd name="connsiteY50" fmla="*/ 196698 h 570098"/>
                <a:gd name="connsiteX51" fmla="*/ 252267 w 606516"/>
                <a:gd name="connsiteY51" fmla="*/ 278742 h 570098"/>
                <a:gd name="connsiteX52" fmla="*/ 172694 w 606516"/>
                <a:gd name="connsiteY52" fmla="*/ 403987 h 570098"/>
                <a:gd name="connsiteX53" fmla="*/ 172230 w 606516"/>
                <a:gd name="connsiteY53" fmla="*/ 403987 h 570098"/>
                <a:gd name="connsiteX54" fmla="*/ 171673 w 606516"/>
                <a:gd name="connsiteY54" fmla="*/ 403987 h 570098"/>
                <a:gd name="connsiteX55" fmla="*/ 91821 w 606516"/>
                <a:gd name="connsiteY55" fmla="*/ 278742 h 570098"/>
                <a:gd name="connsiteX56" fmla="*/ 172044 w 606516"/>
                <a:gd name="connsiteY56" fmla="*/ 196698 h 570098"/>
                <a:gd name="connsiteX57" fmla="*/ 301680 w 606516"/>
                <a:gd name="connsiteY57" fmla="*/ 52170 h 570098"/>
                <a:gd name="connsiteX58" fmla="*/ 303165 w 606516"/>
                <a:gd name="connsiteY58" fmla="*/ 52170 h 570098"/>
                <a:gd name="connsiteX59" fmla="*/ 336763 w 606516"/>
                <a:gd name="connsiteY59" fmla="*/ 85443 h 570098"/>
                <a:gd name="connsiteX60" fmla="*/ 303444 w 606516"/>
                <a:gd name="connsiteY60" fmla="*/ 118809 h 570098"/>
                <a:gd name="connsiteX61" fmla="*/ 270031 w 606516"/>
                <a:gd name="connsiteY61" fmla="*/ 85443 h 570098"/>
                <a:gd name="connsiteX62" fmla="*/ 270031 w 606516"/>
                <a:gd name="connsiteY62" fmla="*/ 83775 h 570098"/>
                <a:gd name="connsiteX63" fmla="*/ 279034 w 606516"/>
                <a:gd name="connsiteY63" fmla="*/ 85443 h 570098"/>
                <a:gd name="connsiteX64" fmla="*/ 303444 w 606516"/>
                <a:gd name="connsiteY64" fmla="*/ 61067 h 570098"/>
                <a:gd name="connsiteX65" fmla="*/ 301680 w 606516"/>
                <a:gd name="connsiteY65" fmla="*/ 52170 h 570098"/>
                <a:gd name="connsiteX66" fmla="*/ 303340 w 606516"/>
                <a:gd name="connsiteY66" fmla="*/ 27249 h 570098"/>
                <a:gd name="connsiteX67" fmla="*/ 244838 w 606516"/>
                <a:gd name="connsiteY67" fmla="*/ 85547 h 570098"/>
                <a:gd name="connsiteX68" fmla="*/ 303340 w 606516"/>
                <a:gd name="connsiteY68" fmla="*/ 143845 h 570098"/>
                <a:gd name="connsiteX69" fmla="*/ 361750 w 606516"/>
                <a:gd name="connsiteY69" fmla="*/ 85547 h 570098"/>
                <a:gd name="connsiteX70" fmla="*/ 303340 w 606516"/>
                <a:gd name="connsiteY70" fmla="*/ 27249 h 570098"/>
                <a:gd name="connsiteX71" fmla="*/ 303340 w 606516"/>
                <a:gd name="connsiteY71" fmla="*/ 0 h 570098"/>
                <a:gd name="connsiteX72" fmla="*/ 336120 w 606516"/>
                <a:gd name="connsiteY72" fmla="*/ 5932 h 570098"/>
                <a:gd name="connsiteX73" fmla="*/ 390443 w 606516"/>
                <a:gd name="connsiteY73" fmla="*/ 35961 h 570098"/>
                <a:gd name="connsiteX74" fmla="*/ 434552 w 606516"/>
                <a:gd name="connsiteY74" fmla="*/ 75259 h 570098"/>
                <a:gd name="connsiteX75" fmla="*/ 435202 w 606516"/>
                <a:gd name="connsiteY75" fmla="*/ 96577 h 570098"/>
                <a:gd name="connsiteX76" fmla="*/ 426288 w 606516"/>
                <a:gd name="connsiteY76" fmla="*/ 105845 h 570098"/>
                <a:gd name="connsiteX77" fmla="*/ 364814 w 606516"/>
                <a:gd name="connsiteY77" fmla="*/ 153392 h 570098"/>
                <a:gd name="connsiteX78" fmla="*/ 307612 w 606516"/>
                <a:gd name="connsiteY78" fmla="*/ 170816 h 570098"/>
                <a:gd name="connsiteX79" fmla="*/ 303340 w 606516"/>
                <a:gd name="connsiteY79" fmla="*/ 170909 h 570098"/>
                <a:gd name="connsiteX80" fmla="*/ 298976 w 606516"/>
                <a:gd name="connsiteY80" fmla="*/ 170816 h 570098"/>
                <a:gd name="connsiteX81" fmla="*/ 241774 w 606516"/>
                <a:gd name="connsiteY81" fmla="*/ 153392 h 570098"/>
                <a:gd name="connsiteX82" fmla="*/ 180393 w 606516"/>
                <a:gd name="connsiteY82" fmla="*/ 105845 h 570098"/>
                <a:gd name="connsiteX83" fmla="*/ 171478 w 606516"/>
                <a:gd name="connsiteY83" fmla="*/ 96577 h 570098"/>
                <a:gd name="connsiteX84" fmla="*/ 172036 w 606516"/>
                <a:gd name="connsiteY84" fmla="*/ 75259 h 570098"/>
                <a:gd name="connsiteX85" fmla="*/ 216144 w 606516"/>
                <a:gd name="connsiteY85" fmla="*/ 35961 h 570098"/>
                <a:gd name="connsiteX86" fmla="*/ 270468 w 606516"/>
                <a:gd name="connsiteY86" fmla="*/ 5932 h 570098"/>
                <a:gd name="connsiteX87" fmla="*/ 303340 w 606516"/>
                <a:gd name="connsiteY87" fmla="*/ 0 h 570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</a:cxnLst>
              <a:rect l="l" t="t" r="r" b="b"/>
              <a:pathLst>
                <a:path w="606516" h="570098">
                  <a:moveTo>
                    <a:pt x="373712" y="411044"/>
                  </a:moveTo>
                  <a:lnTo>
                    <a:pt x="406213" y="513558"/>
                  </a:lnTo>
                  <a:lnTo>
                    <a:pt x="410671" y="527554"/>
                  </a:lnTo>
                  <a:lnTo>
                    <a:pt x="425250" y="486400"/>
                  </a:lnTo>
                  <a:cubicBezTo>
                    <a:pt x="391820" y="439778"/>
                    <a:pt x="427850" y="437553"/>
                    <a:pt x="434072" y="437553"/>
                  </a:cubicBezTo>
                  <a:lnTo>
                    <a:pt x="434165" y="437553"/>
                  </a:lnTo>
                  <a:lnTo>
                    <a:pt x="434258" y="437553"/>
                  </a:lnTo>
                  <a:lnTo>
                    <a:pt x="434443" y="437553"/>
                  </a:lnTo>
                  <a:lnTo>
                    <a:pt x="434536" y="437553"/>
                  </a:lnTo>
                  <a:cubicBezTo>
                    <a:pt x="440851" y="437553"/>
                    <a:pt x="476788" y="439778"/>
                    <a:pt x="443358" y="486400"/>
                  </a:cubicBezTo>
                  <a:lnTo>
                    <a:pt x="457937" y="527554"/>
                  </a:lnTo>
                  <a:lnTo>
                    <a:pt x="462395" y="513558"/>
                  </a:lnTo>
                  <a:lnTo>
                    <a:pt x="494804" y="411044"/>
                  </a:lnTo>
                  <a:cubicBezTo>
                    <a:pt x="494804" y="411044"/>
                    <a:pt x="520062" y="427450"/>
                    <a:pt x="562221" y="443485"/>
                  </a:cubicBezTo>
                  <a:cubicBezTo>
                    <a:pt x="608652" y="460355"/>
                    <a:pt x="605681" y="498357"/>
                    <a:pt x="606516" y="570098"/>
                  </a:cubicBezTo>
                  <a:lnTo>
                    <a:pt x="434443" y="570098"/>
                  </a:lnTo>
                  <a:lnTo>
                    <a:pt x="434072" y="570098"/>
                  </a:lnTo>
                  <a:lnTo>
                    <a:pt x="374362" y="570098"/>
                  </a:lnTo>
                  <a:lnTo>
                    <a:pt x="374362" y="569727"/>
                  </a:lnTo>
                  <a:cubicBezTo>
                    <a:pt x="374362" y="565000"/>
                    <a:pt x="374269" y="560458"/>
                    <a:pt x="374269" y="556102"/>
                  </a:cubicBezTo>
                  <a:cubicBezTo>
                    <a:pt x="373897" y="522641"/>
                    <a:pt x="373619" y="496132"/>
                    <a:pt x="366840" y="473702"/>
                  </a:cubicBezTo>
                  <a:cubicBezTo>
                    <a:pt x="361268" y="455349"/>
                    <a:pt x="351703" y="441075"/>
                    <a:pt x="337681" y="430323"/>
                  </a:cubicBezTo>
                  <a:cubicBezTo>
                    <a:pt x="360711" y="419571"/>
                    <a:pt x="373712" y="411044"/>
                    <a:pt x="373712" y="411044"/>
                  </a:cubicBezTo>
                  <a:close/>
                  <a:moveTo>
                    <a:pt x="111694" y="411044"/>
                  </a:moveTo>
                  <a:lnTo>
                    <a:pt x="144097" y="513541"/>
                  </a:lnTo>
                  <a:lnTo>
                    <a:pt x="148554" y="527535"/>
                  </a:lnTo>
                  <a:lnTo>
                    <a:pt x="163130" y="486388"/>
                  </a:lnTo>
                  <a:cubicBezTo>
                    <a:pt x="129706" y="439773"/>
                    <a:pt x="165730" y="437549"/>
                    <a:pt x="171951" y="437549"/>
                  </a:cubicBezTo>
                  <a:lnTo>
                    <a:pt x="172044" y="437549"/>
                  </a:lnTo>
                  <a:lnTo>
                    <a:pt x="172230" y="437549"/>
                  </a:lnTo>
                  <a:lnTo>
                    <a:pt x="172323" y="437549"/>
                  </a:lnTo>
                  <a:lnTo>
                    <a:pt x="172416" y="437549"/>
                  </a:lnTo>
                  <a:cubicBezTo>
                    <a:pt x="178729" y="437549"/>
                    <a:pt x="214661" y="439773"/>
                    <a:pt x="181236" y="486388"/>
                  </a:cubicBezTo>
                  <a:lnTo>
                    <a:pt x="195813" y="527535"/>
                  </a:lnTo>
                  <a:lnTo>
                    <a:pt x="200269" y="513541"/>
                  </a:lnTo>
                  <a:lnTo>
                    <a:pt x="232766" y="411044"/>
                  </a:lnTo>
                  <a:cubicBezTo>
                    <a:pt x="232766" y="411044"/>
                    <a:pt x="258020" y="427447"/>
                    <a:pt x="300079" y="443480"/>
                  </a:cubicBezTo>
                  <a:cubicBezTo>
                    <a:pt x="346502" y="460347"/>
                    <a:pt x="343624" y="498343"/>
                    <a:pt x="344552" y="569887"/>
                  </a:cubicBezTo>
                  <a:lnTo>
                    <a:pt x="172416" y="569887"/>
                  </a:lnTo>
                  <a:lnTo>
                    <a:pt x="172044" y="569887"/>
                  </a:lnTo>
                  <a:lnTo>
                    <a:pt x="0" y="569887"/>
                  </a:lnTo>
                  <a:cubicBezTo>
                    <a:pt x="1021" y="498343"/>
                    <a:pt x="-1950" y="460347"/>
                    <a:pt x="44287" y="443480"/>
                  </a:cubicBezTo>
                  <a:cubicBezTo>
                    <a:pt x="86439" y="427447"/>
                    <a:pt x="111694" y="411044"/>
                    <a:pt x="111694" y="411044"/>
                  </a:cubicBezTo>
                  <a:close/>
                  <a:moveTo>
                    <a:pt x="434261" y="196698"/>
                  </a:moveTo>
                  <a:cubicBezTo>
                    <a:pt x="441132" y="196420"/>
                    <a:pt x="510677" y="195678"/>
                    <a:pt x="514298" y="278742"/>
                  </a:cubicBezTo>
                  <a:cubicBezTo>
                    <a:pt x="514298" y="278742"/>
                    <a:pt x="527854" y="402967"/>
                    <a:pt x="434632" y="403987"/>
                  </a:cubicBezTo>
                  <a:lnTo>
                    <a:pt x="434168" y="403987"/>
                  </a:lnTo>
                  <a:lnTo>
                    <a:pt x="433704" y="403987"/>
                  </a:lnTo>
                  <a:cubicBezTo>
                    <a:pt x="340574" y="402967"/>
                    <a:pt x="354038" y="278742"/>
                    <a:pt x="354038" y="278742"/>
                  </a:cubicBezTo>
                  <a:cubicBezTo>
                    <a:pt x="357937" y="195678"/>
                    <a:pt x="427483" y="196420"/>
                    <a:pt x="434261" y="196698"/>
                  </a:cubicBezTo>
                  <a:close/>
                  <a:moveTo>
                    <a:pt x="172044" y="196698"/>
                  </a:moveTo>
                  <a:cubicBezTo>
                    <a:pt x="178915" y="196420"/>
                    <a:pt x="248460" y="195678"/>
                    <a:pt x="252267" y="278742"/>
                  </a:cubicBezTo>
                  <a:cubicBezTo>
                    <a:pt x="252267" y="278742"/>
                    <a:pt x="265916" y="402967"/>
                    <a:pt x="172694" y="403987"/>
                  </a:cubicBezTo>
                  <a:lnTo>
                    <a:pt x="172230" y="403987"/>
                  </a:lnTo>
                  <a:lnTo>
                    <a:pt x="171673" y="403987"/>
                  </a:lnTo>
                  <a:cubicBezTo>
                    <a:pt x="78636" y="402967"/>
                    <a:pt x="92099" y="278742"/>
                    <a:pt x="91821" y="278742"/>
                  </a:cubicBezTo>
                  <a:cubicBezTo>
                    <a:pt x="95720" y="195678"/>
                    <a:pt x="165266" y="196420"/>
                    <a:pt x="172044" y="196698"/>
                  </a:cubicBezTo>
                  <a:close/>
                  <a:moveTo>
                    <a:pt x="301680" y="52170"/>
                  </a:moveTo>
                  <a:lnTo>
                    <a:pt x="303165" y="52170"/>
                  </a:lnTo>
                  <a:cubicBezTo>
                    <a:pt x="321728" y="52077"/>
                    <a:pt x="336763" y="66906"/>
                    <a:pt x="336763" y="85443"/>
                  </a:cubicBezTo>
                  <a:cubicBezTo>
                    <a:pt x="336763" y="103795"/>
                    <a:pt x="321913" y="118624"/>
                    <a:pt x="303444" y="118809"/>
                  </a:cubicBezTo>
                  <a:cubicBezTo>
                    <a:pt x="284881" y="118902"/>
                    <a:pt x="269938" y="104073"/>
                    <a:pt x="270031" y="85443"/>
                  </a:cubicBezTo>
                  <a:lnTo>
                    <a:pt x="270031" y="83775"/>
                  </a:lnTo>
                  <a:cubicBezTo>
                    <a:pt x="272908" y="84794"/>
                    <a:pt x="275878" y="85443"/>
                    <a:pt x="279034" y="85443"/>
                  </a:cubicBezTo>
                  <a:cubicBezTo>
                    <a:pt x="292677" y="85443"/>
                    <a:pt x="303444" y="74507"/>
                    <a:pt x="303444" y="61067"/>
                  </a:cubicBezTo>
                  <a:cubicBezTo>
                    <a:pt x="303351" y="58009"/>
                    <a:pt x="302794" y="54858"/>
                    <a:pt x="301680" y="52170"/>
                  </a:cubicBezTo>
                  <a:close/>
                  <a:moveTo>
                    <a:pt x="303340" y="27249"/>
                  </a:moveTo>
                  <a:cubicBezTo>
                    <a:pt x="271025" y="27249"/>
                    <a:pt x="244838" y="53293"/>
                    <a:pt x="244838" y="85547"/>
                  </a:cubicBezTo>
                  <a:cubicBezTo>
                    <a:pt x="244838" y="117801"/>
                    <a:pt x="271025" y="143845"/>
                    <a:pt x="303340" y="143845"/>
                  </a:cubicBezTo>
                  <a:cubicBezTo>
                    <a:pt x="335656" y="143845"/>
                    <a:pt x="361750" y="117801"/>
                    <a:pt x="361750" y="85547"/>
                  </a:cubicBezTo>
                  <a:cubicBezTo>
                    <a:pt x="361750" y="53293"/>
                    <a:pt x="335656" y="27249"/>
                    <a:pt x="303340" y="27249"/>
                  </a:cubicBezTo>
                  <a:close/>
                  <a:moveTo>
                    <a:pt x="303340" y="0"/>
                  </a:moveTo>
                  <a:cubicBezTo>
                    <a:pt x="314484" y="185"/>
                    <a:pt x="325348" y="2224"/>
                    <a:pt x="336120" y="5932"/>
                  </a:cubicBezTo>
                  <a:cubicBezTo>
                    <a:pt x="356085" y="12883"/>
                    <a:pt x="373729" y="23634"/>
                    <a:pt x="390443" y="35961"/>
                  </a:cubicBezTo>
                  <a:cubicBezTo>
                    <a:pt x="410316" y="50698"/>
                    <a:pt x="434552" y="75259"/>
                    <a:pt x="434552" y="75259"/>
                  </a:cubicBezTo>
                  <a:cubicBezTo>
                    <a:pt x="440217" y="81006"/>
                    <a:pt x="440495" y="90645"/>
                    <a:pt x="435202" y="96577"/>
                  </a:cubicBezTo>
                  <a:cubicBezTo>
                    <a:pt x="435202" y="96577"/>
                    <a:pt x="432695" y="99264"/>
                    <a:pt x="426288" y="105845"/>
                  </a:cubicBezTo>
                  <a:cubicBezTo>
                    <a:pt x="407901" y="124474"/>
                    <a:pt x="387843" y="140880"/>
                    <a:pt x="364814" y="153392"/>
                  </a:cubicBezTo>
                  <a:cubicBezTo>
                    <a:pt x="346985" y="163124"/>
                    <a:pt x="328227" y="169797"/>
                    <a:pt x="307612" y="170816"/>
                  </a:cubicBezTo>
                  <a:cubicBezTo>
                    <a:pt x="306126" y="170909"/>
                    <a:pt x="304826" y="170909"/>
                    <a:pt x="303340" y="170909"/>
                  </a:cubicBezTo>
                  <a:cubicBezTo>
                    <a:pt x="301855" y="170909"/>
                    <a:pt x="300462" y="170909"/>
                    <a:pt x="298976" y="170816"/>
                  </a:cubicBezTo>
                  <a:cubicBezTo>
                    <a:pt x="278454" y="169797"/>
                    <a:pt x="259603" y="163124"/>
                    <a:pt x="241774" y="153392"/>
                  </a:cubicBezTo>
                  <a:cubicBezTo>
                    <a:pt x="218744" y="140787"/>
                    <a:pt x="198687" y="124474"/>
                    <a:pt x="180393" y="105845"/>
                  </a:cubicBezTo>
                  <a:cubicBezTo>
                    <a:pt x="173893" y="99264"/>
                    <a:pt x="171478" y="96577"/>
                    <a:pt x="171478" y="96577"/>
                  </a:cubicBezTo>
                  <a:cubicBezTo>
                    <a:pt x="166278" y="90459"/>
                    <a:pt x="166464" y="81006"/>
                    <a:pt x="172036" y="75259"/>
                  </a:cubicBezTo>
                  <a:cubicBezTo>
                    <a:pt x="172036" y="75259"/>
                    <a:pt x="196365" y="50698"/>
                    <a:pt x="216144" y="35961"/>
                  </a:cubicBezTo>
                  <a:cubicBezTo>
                    <a:pt x="232952" y="23542"/>
                    <a:pt x="250688" y="12790"/>
                    <a:pt x="270468" y="5932"/>
                  </a:cubicBezTo>
                  <a:cubicBezTo>
                    <a:pt x="281240" y="2224"/>
                    <a:pt x="292197" y="0"/>
                    <a:pt x="30334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492E3F43-8F9B-4DD1-B42F-6959B3F621FC}"/>
              </a:ext>
            </a:extLst>
          </p:cNvPr>
          <p:cNvGrpSpPr/>
          <p:nvPr/>
        </p:nvGrpSpPr>
        <p:grpSpPr>
          <a:xfrm>
            <a:off x="4585002" y="4880215"/>
            <a:ext cx="632702" cy="632682"/>
            <a:chOff x="4477378" y="1549351"/>
            <a:chExt cx="794793" cy="794768"/>
          </a:xfrm>
        </p:grpSpPr>
        <p:sp>
          <p:nvSpPr>
            <p:cNvPr id="21" name="椭圆 20">
              <a:extLst>
                <a:ext uri="{FF2B5EF4-FFF2-40B4-BE49-F238E27FC236}">
                  <a16:creationId xmlns:a16="http://schemas.microsoft.com/office/drawing/2014/main" id="{68F84769-2193-44A2-BFD1-7CE4C5F35D0B}"/>
                </a:ext>
              </a:extLst>
            </p:cNvPr>
            <p:cNvSpPr/>
            <p:nvPr/>
          </p:nvSpPr>
          <p:spPr>
            <a:xfrm>
              <a:off x="4477378" y="1549351"/>
              <a:ext cx="794793" cy="794768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D84F04C-A547-4B97-8AA6-F9A9DF24241E}"/>
                </a:ext>
              </a:extLst>
            </p:cNvPr>
            <p:cNvSpPr/>
            <p:nvPr/>
          </p:nvSpPr>
          <p:spPr bwMode="auto">
            <a:xfrm>
              <a:off x="4676836" y="1780176"/>
              <a:ext cx="395027" cy="328990"/>
            </a:xfrm>
            <a:custGeom>
              <a:avLst/>
              <a:gdLst>
                <a:gd name="connsiteX0" fmla="*/ 246781 w 608274"/>
                <a:gd name="connsiteY0" fmla="*/ 438498 h 506589"/>
                <a:gd name="connsiteX1" fmla="*/ 246781 w 608274"/>
                <a:gd name="connsiteY1" fmla="*/ 467297 h 506589"/>
                <a:gd name="connsiteX2" fmla="*/ 300340 w 608274"/>
                <a:gd name="connsiteY2" fmla="*/ 446881 h 506589"/>
                <a:gd name="connsiteX3" fmla="*/ 213321 w 608274"/>
                <a:gd name="connsiteY3" fmla="*/ 304884 h 506589"/>
                <a:gd name="connsiteX4" fmla="*/ 33460 w 608274"/>
                <a:gd name="connsiteY4" fmla="*/ 322334 h 506589"/>
                <a:gd name="connsiteX5" fmla="*/ 33460 w 608274"/>
                <a:gd name="connsiteY5" fmla="*/ 454352 h 506589"/>
                <a:gd name="connsiteX6" fmla="*/ 213321 w 608274"/>
                <a:gd name="connsiteY6" fmla="*/ 471802 h 506589"/>
                <a:gd name="connsiteX7" fmla="*/ 228395 w 608274"/>
                <a:gd name="connsiteY7" fmla="*/ 270439 h 506589"/>
                <a:gd name="connsiteX8" fmla="*/ 241243 w 608274"/>
                <a:gd name="connsiteY8" fmla="*/ 274602 h 506589"/>
                <a:gd name="connsiteX9" fmla="*/ 246781 w 608274"/>
                <a:gd name="connsiteY9" fmla="*/ 286749 h 506589"/>
                <a:gd name="connsiteX10" fmla="*/ 246781 w 608274"/>
                <a:gd name="connsiteY10" fmla="*/ 405252 h 506589"/>
                <a:gd name="connsiteX11" fmla="*/ 366689 w 608274"/>
                <a:gd name="connsiteY11" fmla="*/ 423957 h 506589"/>
                <a:gd name="connsiteX12" fmla="*/ 380678 w 608274"/>
                <a:gd name="connsiteY12" fmla="*/ 438441 h 506589"/>
                <a:gd name="connsiteX13" fmla="*/ 370115 w 608274"/>
                <a:gd name="connsiteY13" fmla="*/ 455493 h 506589"/>
                <a:gd name="connsiteX14" fmla="*/ 236104 w 608274"/>
                <a:gd name="connsiteY14" fmla="*/ 506589 h 506589"/>
                <a:gd name="connsiteX15" fmla="*/ 235590 w 608274"/>
                <a:gd name="connsiteY15" fmla="*/ 505334 h 506589"/>
                <a:gd name="connsiteX16" fmla="*/ 230051 w 608274"/>
                <a:gd name="connsiteY16" fmla="*/ 506304 h 506589"/>
                <a:gd name="connsiteX17" fmla="*/ 228395 w 608274"/>
                <a:gd name="connsiteY17" fmla="*/ 506247 h 506589"/>
                <a:gd name="connsiteX18" fmla="*/ 15074 w 608274"/>
                <a:gd name="connsiteY18" fmla="*/ 485546 h 506589"/>
                <a:gd name="connsiteX19" fmla="*/ 0 w 608274"/>
                <a:gd name="connsiteY19" fmla="*/ 469236 h 506589"/>
                <a:gd name="connsiteX20" fmla="*/ 0 w 608274"/>
                <a:gd name="connsiteY20" fmla="*/ 307450 h 506589"/>
                <a:gd name="connsiteX21" fmla="*/ 15074 w 608274"/>
                <a:gd name="connsiteY21" fmla="*/ 291083 h 506589"/>
                <a:gd name="connsiteX22" fmla="*/ 362895 w 608274"/>
                <a:gd name="connsiteY22" fmla="*/ 0 h 506589"/>
                <a:gd name="connsiteX23" fmla="*/ 468824 w 608274"/>
                <a:gd name="connsiteY23" fmla="*/ 90151 h 506589"/>
                <a:gd name="connsiteX24" fmla="*/ 463285 w 608274"/>
                <a:gd name="connsiteY24" fmla="*/ 153046 h 506589"/>
                <a:gd name="connsiteX25" fmla="*/ 429822 w 608274"/>
                <a:gd name="connsiteY25" fmla="*/ 235157 h 506589"/>
                <a:gd name="connsiteX26" fmla="*/ 485556 w 608274"/>
                <a:gd name="connsiteY26" fmla="*/ 284366 h 506589"/>
                <a:gd name="connsiteX27" fmla="*/ 580407 w 608274"/>
                <a:gd name="connsiteY27" fmla="*/ 317210 h 506589"/>
                <a:gd name="connsiteX28" fmla="*/ 608274 w 608274"/>
                <a:gd name="connsiteY28" fmla="*/ 388316 h 506589"/>
                <a:gd name="connsiteX29" fmla="*/ 608274 w 608274"/>
                <a:gd name="connsiteY29" fmla="*/ 480691 h 506589"/>
                <a:gd name="connsiteX30" fmla="*/ 391162 w 608274"/>
                <a:gd name="connsiteY30" fmla="*/ 480691 h 506589"/>
                <a:gd name="connsiteX31" fmla="*/ 412805 w 608274"/>
                <a:gd name="connsiteY31" fmla="*/ 434960 h 506589"/>
                <a:gd name="connsiteX32" fmla="*/ 370776 w 608274"/>
                <a:gd name="connsiteY32" fmla="*/ 391566 h 506589"/>
                <a:gd name="connsiteX33" fmla="*/ 279065 w 608274"/>
                <a:gd name="connsiteY33" fmla="*/ 377254 h 506589"/>
                <a:gd name="connsiteX34" fmla="*/ 279065 w 608274"/>
                <a:gd name="connsiteY34" fmla="*/ 286761 h 506589"/>
                <a:gd name="connsiteX35" fmla="*/ 275810 w 608274"/>
                <a:gd name="connsiteY35" fmla="*/ 269997 h 506589"/>
                <a:gd name="connsiteX36" fmla="*/ 295968 w 608274"/>
                <a:gd name="connsiteY36" fmla="*/ 235157 h 506589"/>
                <a:gd name="connsiteX37" fmla="*/ 262505 w 608274"/>
                <a:gd name="connsiteY37" fmla="*/ 153046 h 506589"/>
                <a:gd name="connsiteX38" fmla="*/ 256909 w 608274"/>
                <a:gd name="connsiteY38" fmla="*/ 90151 h 506589"/>
                <a:gd name="connsiteX39" fmla="*/ 362895 w 608274"/>
                <a:gd name="connsiteY39" fmla="*/ 0 h 5065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8274" h="506589">
                  <a:moveTo>
                    <a:pt x="246781" y="438498"/>
                  </a:moveTo>
                  <a:lnTo>
                    <a:pt x="246781" y="467297"/>
                  </a:lnTo>
                  <a:lnTo>
                    <a:pt x="300340" y="446881"/>
                  </a:lnTo>
                  <a:close/>
                  <a:moveTo>
                    <a:pt x="213321" y="304884"/>
                  </a:moveTo>
                  <a:lnTo>
                    <a:pt x="33460" y="322334"/>
                  </a:lnTo>
                  <a:lnTo>
                    <a:pt x="33460" y="454352"/>
                  </a:lnTo>
                  <a:lnTo>
                    <a:pt x="213321" y="471802"/>
                  </a:lnTo>
                  <a:close/>
                  <a:moveTo>
                    <a:pt x="228395" y="270439"/>
                  </a:moveTo>
                  <a:cubicBezTo>
                    <a:pt x="233077" y="269983"/>
                    <a:pt x="237760" y="271466"/>
                    <a:pt x="241243" y="274602"/>
                  </a:cubicBezTo>
                  <a:cubicBezTo>
                    <a:pt x="244783" y="277739"/>
                    <a:pt x="246781" y="282130"/>
                    <a:pt x="246781" y="286749"/>
                  </a:cubicBezTo>
                  <a:lnTo>
                    <a:pt x="246781" y="405252"/>
                  </a:lnTo>
                  <a:lnTo>
                    <a:pt x="366689" y="423957"/>
                  </a:lnTo>
                  <a:cubicBezTo>
                    <a:pt x="374111" y="425154"/>
                    <a:pt x="379878" y="431085"/>
                    <a:pt x="380678" y="438441"/>
                  </a:cubicBezTo>
                  <a:cubicBezTo>
                    <a:pt x="381477" y="445798"/>
                    <a:pt x="377138" y="452812"/>
                    <a:pt x="370115" y="455493"/>
                  </a:cubicBezTo>
                  <a:lnTo>
                    <a:pt x="236104" y="506589"/>
                  </a:lnTo>
                  <a:lnTo>
                    <a:pt x="235590" y="505334"/>
                  </a:lnTo>
                  <a:cubicBezTo>
                    <a:pt x="233820" y="505962"/>
                    <a:pt x="231936" y="506304"/>
                    <a:pt x="230051" y="506304"/>
                  </a:cubicBezTo>
                  <a:cubicBezTo>
                    <a:pt x="229480" y="506304"/>
                    <a:pt x="228966" y="506304"/>
                    <a:pt x="228395" y="506247"/>
                  </a:cubicBezTo>
                  <a:lnTo>
                    <a:pt x="15074" y="485546"/>
                  </a:lnTo>
                  <a:cubicBezTo>
                    <a:pt x="6509" y="484748"/>
                    <a:pt x="0" y="477676"/>
                    <a:pt x="0" y="469236"/>
                  </a:cubicBezTo>
                  <a:lnTo>
                    <a:pt x="0" y="307450"/>
                  </a:lnTo>
                  <a:cubicBezTo>
                    <a:pt x="0" y="299010"/>
                    <a:pt x="6509" y="291938"/>
                    <a:pt x="15074" y="291083"/>
                  </a:cubicBezTo>
                  <a:close/>
                  <a:moveTo>
                    <a:pt x="362895" y="0"/>
                  </a:moveTo>
                  <a:cubicBezTo>
                    <a:pt x="454777" y="0"/>
                    <a:pt x="466369" y="64320"/>
                    <a:pt x="468824" y="90151"/>
                  </a:cubicBezTo>
                  <a:cubicBezTo>
                    <a:pt x="468824" y="90151"/>
                    <a:pt x="507884" y="131206"/>
                    <a:pt x="463285" y="153046"/>
                  </a:cubicBezTo>
                  <a:cubicBezTo>
                    <a:pt x="463285" y="153046"/>
                    <a:pt x="463285" y="205049"/>
                    <a:pt x="429822" y="235157"/>
                  </a:cubicBezTo>
                  <a:cubicBezTo>
                    <a:pt x="429822" y="235157"/>
                    <a:pt x="401898" y="257053"/>
                    <a:pt x="485556" y="284366"/>
                  </a:cubicBezTo>
                  <a:lnTo>
                    <a:pt x="580407" y="317210"/>
                  </a:lnTo>
                  <a:cubicBezTo>
                    <a:pt x="580407" y="317210"/>
                    <a:pt x="608274" y="317210"/>
                    <a:pt x="608274" y="388316"/>
                  </a:cubicBezTo>
                  <a:lnTo>
                    <a:pt x="608274" y="480691"/>
                  </a:lnTo>
                  <a:lnTo>
                    <a:pt x="391162" y="480691"/>
                  </a:lnTo>
                  <a:cubicBezTo>
                    <a:pt x="406123" y="470598"/>
                    <a:pt x="414803" y="453207"/>
                    <a:pt x="412805" y="434960"/>
                  </a:cubicBezTo>
                  <a:cubicBezTo>
                    <a:pt x="410406" y="412892"/>
                    <a:pt x="393161" y="395045"/>
                    <a:pt x="370776" y="391566"/>
                  </a:cubicBezTo>
                  <a:lnTo>
                    <a:pt x="279065" y="377254"/>
                  </a:lnTo>
                  <a:lnTo>
                    <a:pt x="279065" y="286761"/>
                  </a:lnTo>
                  <a:cubicBezTo>
                    <a:pt x="279065" y="280945"/>
                    <a:pt x="277809" y="275357"/>
                    <a:pt x="275810" y="269997"/>
                  </a:cubicBezTo>
                  <a:cubicBezTo>
                    <a:pt x="314470" y="249754"/>
                    <a:pt x="295968" y="235157"/>
                    <a:pt x="295968" y="235157"/>
                  </a:cubicBezTo>
                  <a:cubicBezTo>
                    <a:pt x="262505" y="205049"/>
                    <a:pt x="262505" y="153046"/>
                    <a:pt x="262505" y="153046"/>
                  </a:cubicBezTo>
                  <a:cubicBezTo>
                    <a:pt x="217906" y="131206"/>
                    <a:pt x="256909" y="90151"/>
                    <a:pt x="256909" y="90151"/>
                  </a:cubicBezTo>
                  <a:cubicBezTo>
                    <a:pt x="259421" y="64320"/>
                    <a:pt x="277010" y="0"/>
                    <a:pt x="36289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CD9B9C85-2551-464F-9509-30393EBB7BC5}"/>
              </a:ext>
            </a:extLst>
          </p:cNvPr>
          <p:cNvGrpSpPr/>
          <p:nvPr/>
        </p:nvGrpSpPr>
        <p:grpSpPr>
          <a:xfrm>
            <a:off x="5087690" y="3224825"/>
            <a:ext cx="632702" cy="632682"/>
            <a:chOff x="4477378" y="1549351"/>
            <a:chExt cx="794793" cy="794768"/>
          </a:xfrm>
        </p:grpSpPr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F079E017-76D9-450F-B1DF-06752D23478E}"/>
                </a:ext>
              </a:extLst>
            </p:cNvPr>
            <p:cNvSpPr/>
            <p:nvPr/>
          </p:nvSpPr>
          <p:spPr>
            <a:xfrm>
              <a:off x="4477378" y="1549351"/>
              <a:ext cx="794793" cy="794768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F53B94B-F411-4407-B97B-D18C73F51FAF}"/>
                </a:ext>
              </a:extLst>
            </p:cNvPr>
            <p:cNvSpPr/>
            <p:nvPr/>
          </p:nvSpPr>
          <p:spPr bwMode="auto">
            <a:xfrm>
              <a:off x="4676836" y="1752312"/>
              <a:ext cx="395027" cy="384717"/>
            </a:xfrm>
            <a:custGeom>
              <a:avLst/>
              <a:gdLst>
                <a:gd name="connsiteX0" fmla="*/ 254856 w 607258"/>
                <a:gd name="connsiteY0" fmla="*/ 462909 h 591409"/>
                <a:gd name="connsiteX1" fmla="*/ 281230 w 607258"/>
                <a:gd name="connsiteY1" fmla="*/ 545836 h 591409"/>
                <a:gd name="connsiteX2" fmla="*/ 284784 w 607258"/>
                <a:gd name="connsiteY2" fmla="*/ 557043 h 591409"/>
                <a:gd name="connsiteX3" fmla="*/ 296568 w 607258"/>
                <a:gd name="connsiteY3" fmla="*/ 523797 h 591409"/>
                <a:gd name="connsiteX4" fmla="*/ 303676 w 607258"/>
                <a:gd name="connsiteY4" fmla="*/ 484388 h 591409"/>
                <a:gd name="connsiteX5" fmla="*/ 303769 w 607258"/>
                <a:gd name="connsiteY5" fmla="*/ 484388 h 591409"/>
                <a:gd name="connsiteX6" fmla="*/ 303863 w 607258"/>
                <a:gd name="connsiteY6" fmla="*/ 484388 h 591409"/>
                <a:gd name="connsiteX7" fmla="*/ 304050 w 607258"/>
                <a:gd name="connsiteY7" fmla="*/ 484388 h 591409"/>
                <a:gd name="connsiteX8" fmla="*/ 304144 w 607258"/>
                <a:gd name="connsiteY8" fmla="*/ 484388 h 591409"/>
                <a:gd name="connsiteX9" fmla="*/ 311252 w 607258"/>
                <a:gd name="connsiteY9" fmla="*/ 523797 h 591409"/>
                <a:gd name="connsiteX10" fmla="*/ 322942 w 607258"/>
                <a:gd name="connsiteY10" fmla="*/ 557043 h 591409"/>
                <a:gd name="connsiteX11" fmla="*/ 326590 w 607258"/>
                <a:gd name="connsiteY11" fmla="*/ 545836 h 591409"/>
                <a:gd name="connsiteX12" fmla="*/ 352870 w 607258"/>
                <a:gd name="connsiteY12" fmla="*/ 462909 h 591409"/>
                <a:gd name="connsiteX13" fmla="*/ 407395 w 607258"/>
                <a:gd name="connsiteY13" fmla="*/ 489244 h 591409"/>
                <a:gd name="connsiteX14" fmla="*/ 423014 w 607258"/>
                <a:gd name="connsiteY14" fmla="*/ 497556 h 591409"/>
                <a:gd name="connsiteX15" fmla="*/ 449575 w 607258"/>
                <a:gd name="connsiteY15" fmla="*/ 483454 h 591409"/>
                <a:gd name="connsiteX16" fmla="*/ 471647 w 607258"/>
                <a:gd name="connsiteY16" fmla="*/ 553214 h 591409"/>
                <a:gd name="connsiteX17" fmla="*/ 474640 w 607258"/>
                <a:gd name="connsiteY17" fmla="*/ 562646 h 591409"/>
                <a:gd name="connsiteX18" fmla="*/ 484460 w 607258"/>
                <a:gd name="connsiteY18" fmla="*/ 534630 h 591409"/>
                <a:gd name="connsiteX19" fmla="*/ 490446 w 607258"/>
                <a:gd name="connsiteY19" fmla="*/ 501571 h 591409"/>
                <a:gd name="connsiteX20" fmla="*/ 490539 w 607258"/>
                <a:gd name="connsiteY20" fmla="*/ 501571 h 591409"/>
                <a:gd name="connsiteX21" fmla="*/ 490726 w 607258"/>
                <a:gd name="connsiteY21" fmla="*/ 501571 h 591409"/>
                <a:gd name="connsiteX22" fmla="*/ 490820 w 607258"/>
                <a:gd name="connsiteY22" fmla="*/ 501571 h 591409"/>
                <a:gd name="connsiteX23" fmla="*/ 490913 w 607258"/>
                <a:gd name="connsiteY23" fmla="*/ 501571 h 591409"/>
                <a:gd name="connsiteX24" fmla="*/ 496899 w 607258"/>
                <a:gd name="connsiteY24" fmla="*/ 534630 h 591409"/>
                <a:gd name="connsiteX25" fmla="*/ 506813 w 607258"/>
                <a:gd name="connsiteY25" fmla="*/ 562646 h 591409"/>
                <a:gd name="connsiteX26" fmla="*/ 509805 w 607258"/>
                <a:gd name="connsiteY26" fmla="*/ 553214 h 591409"/>
                <a:gd name="connsiteX27" fmla="*/ 531877 w 607258"/>
                <a:gd name="connsiteY27" fmla="*/ 483454 h 591409"/>
                <a:gd name="connsiteX28" fmla="*/ 577611 w 607258"/>
                <a:gd name="connsiteY28" fmla="*/ 505493 h 591409"/>
                <a:gd name="connsiteX29" fmla="*/ 607258 w 607258"/>
                <a:gd name="connsiteY29" fmla="*/ 591409 h 591409"/>
                <a:gd name="connsiteX30" fmla="*/ 490352 w 607258"/>
                <a:gd name="connsiteY30" fmla="*/ 591409 h 591409"/>
                <a:gd name="connsiteX31" fmla="*/ 484366 w 607258"/>
                <a:gd name="connsiteY31" fmla="*/ 591409 h 591409"/>
                <a:gd name="connsiteX32" fmla="*/ 442935 w 607258"/>
                <a:gd name="connsiteY32" fmla="*/ 591409 h 591409"/>
                <a:gd name="connsiteX33" fmla="*/ 373072 w 607258"/>
                <a:gd name="connsiteY33" fmla="*/ 591409 h 591409"/>
                <a:gd name="connsiteX34" fmla="*/ 303769 w 607258"/>
                <a:gd name="connsiteY34" fmla="*/ 591409 h 591409"/>
                <a:gd name="connsiteX35" fmla="*/ 296568 w 607258"/>
                <a:gd name="connsiteY35" fmla="*/ 591409 h 591409"/>
                <a:gd name="connsiteX36" fmla="*/ 234093 w 607258"/>
                <a:gd name="connsiteY36" fmla="*/ 591409 h 591409"/>
                <a:gd name="connsiteX37" fmla="*/ 164230 w 607258"/>
                <a:gd name="connsiteY37" fmla="*/ 591409 h 591409"/>
                <a:gd name="connsiteX38" fmla="*/ 117093 w 607258"/>
                <a:gd name="connsiteY38" fmla="*/ 591409 h 591409"/>
                <a:gd name="connsiteX39" fmla="*/ 111108 w 607258"/>
                <a:gd name="connsiteY39" fmla="*/ 591409 h 591409"/>
                <a:gd name="connsiteX40" fmla="*/ 0 w 607258"/>
                <a:gd name="connsiteY40" fmla="*/ 591409 h 591409"/>
                <a:gd name="connsiteX41" fmla="*/ 30208 w 607258"/>
                <a:gd name="connsiteY41" fmla="*/ 505493 h 591409"/>
                <a:gd name="connsiteX42" fmla="*/ 75942 w 607258"/>
                <a:gd name="connsiteY42" fmla="*/ 483454 h 591409"/>
                <a:gd name="connsiteX43" fmla="*/ 98014 w 607258"/>
                <a:gd name="connsiteY43" fmla="*/ 553214 h 591409"/>
                <a:gd name="connsiteX44" fmla="*/ 101007 w 607258"/>
                <a:gd name="connsiteY44" fmla="*/ 562646 h 591409"/>
                <a:gd name="connsiteX45" fmla="*/ 110827 w 607258"/>
                <a:gd name="connsiteY45" fmla="*/ 534630 h 591409"/>
                <a:gd name="connsiteX46" fmla="*/ 116813 w 607258"/>
                <a:gd name="connsiteY46" fmla="*/ 501571 h 591409"/>
                <a:gd name="connsiteX47" fmla="*/ 117000 w 607258"/>
                <a:gd name="connsiteY47" fmla="*/ 501571 h 591409"/>
                <a:gd name="connsiteX48" fmla="*/ 117093 w 607258"/>
                <a:gd name="connsiteY48" fmla="*/ 501571 h 591409"/>
                <a:gd name="connsiteX49" fmla="*/ 117187 w 607258"/>
                <a:gd name="connsiteY49" fmla="*/ 501571 h 591409"/>
                <a:gd name="connsiteX50" fmla="*/ 117374 w 607258"/>
                <a:gd name="connsiteY50" fmla="*/ 501571 h 591409"/>
                <a:gd name="connsiteX51" fmla="*/ 123360 w 607258"/>
                <a:gd name="connsiteY51" fmla="*/ 534630 h 591409"/>
                <a:gd name="connsiteX52" fmla="*/ 133180 w 607258"/>
                <a:gd name="connsiteY52" fmla="*/ 562646 h 591409"/>
                <a:gd name="connsiteX53" fmla="*/ 136172 w 607258"/>
                <a:gd name="connsiteY53" fmla="*/ 553214 h 591409"/>
                <a:gd name="connsiteX54" fmla="*/ 158244 w 607258"/>
                <a:gd name="connsiteY54" fmla="*/ 483454 h 591409"/>
                <a:gd name="connsiteX55" fmla="*/ 184806 w 607258"/>
                <a:gd name="connsiteY55" fmla="*/ 497556 h 591409"/>
                <a:gd name="connsiteX56" fmla="*/ 200424 w 607258"/>
                <a:gd name="connsiteY56" fmla="*/ 489244 h 591409"/>
                <a:gd name="connsiteX57" fmla="*/ 254856 w 607258"/>
                <a:gd name="connsiteY57" fmla="*/ 462909 h 591409"/>
                <a:gd name="connsiteX58" fmla="*/ 486780 w 607258"/>
                <a:gd name="connsiteY58" fmla="*/ 322405 h 591409"/>
                <a:gd name="connsiteX59" fmla="*/ 516615 w 607258"/>
                <a:gd name="connsiteY59" fmla="*/ 328662 h 591409"/>
                <a:gd name="connsiteX60" fmla="*/ 531112 w 607258"/>
                <a:gd name="connsiteY60" fmla="*/ 342111 h 591409"/>
                <a:gd name="connsiteX61" fmla="*/ 547012 w 607258"/>
                <a:gd name="connsiteY61" fmla="*/ 392546 h 591409"/>
                <a:gd name="connsiteX62" fmla="*/ 544954 w 607258"/>
                <a:gd name="connsiteY62" fmla="*/ 400297 h 591409"/>
                <a:gd name="connsiteX63" fmla="*/ 550004 w 607258"/>
                <a:gd name="connsiteY63" fmla="*/ 421405 h 591409"/>
                <a:gd name="connsiteX64" fmla="*/ 539810 w 607258"/>
                <a:gd name="connsiteY64" fmla="*/ 439244 h 591409"/>
                <a:gd name="connsiteX65" fmla="*/ 503802 w 607258"/>
                <a:gd name="connsiteY65" fmla="*/ 483700 h 591409"/>
                <a:gd name="connsiteX66" fmla="*/ 477334 w 607258"/>
                <a:gd name="connsiteY66" fmla="*/ 483700 h 591409"/>
                <a:gd name="connsiteX67" fmla="*/ 441419 w 607258"/>
                <a:gd name="connsiteY67" fmla="*/ 439244 h 591409"/>
                <a:gd name="connsiteX68" fmla="*/ 431225 w 607258"/>
                <a:gd name="connsiteY68" fmla="*/ 421405 h 591409"/>
                <a:gd name="connsiteX69" fmla="*/ 436275 w 607258"/>
                <a:gd name="connsiteY69" fmla="*/ 400297 h 591409"/>
                <a:gd name="connsiteX70" fmla="*/ 434217 w 607258"/>
                <a:gd name="connsiteY70" fmla="*/ 392546 h 591409"/>
                <a:gd name="connsiteX71" fmla="*/ 434030 w 607258"/>
                <a:gd name="connsiteY71" fmla="*/ 367795 h 591409"/>
                <a:gd name="connsiteX72" fmla="*/ 448527 w 607258"/>
                <a:gd name="connsiteY72" fmla="*/ 342392 h 591409"/>
                <a:gd name="connsiteX73" fmla="*/ 461995 w 607258"/>
                <a:gd name="connsiteY73" fmla="*/ 331277 h 591409"/>
                <a:gd name="connsiteX74" fmla="*/ 475089 w 607258"/>
                <a:gd name="connsiteY74" fmla="*/ 324553 h 591409"/>
                <a:gd name="connsiteX75" fmla="*/ 486780 w 607258"/>
                <a:gd name="connsiteY75" fmla="*/ 322405 h 591409"/>
                <a:gd name="connsiteX76" fmla="*/ 113711 w 607258"/>
                <a:gd name="connsiteY76" fmla="*/ 322405 h 591409"/>
                <a:gd name="connsiteX77" fmla="*/ 143552 w 607258"/>
                <a:gd name="connsiteY77" fmla="*/ 328662 h 591409"/>
                <a:gd name="connsiteX78" fmla="*/ 157958 w 607258"/>
                <a:gd name="connsiteY78" fmla="*/ 342111 h 591409"/>
                <a:gd name="connsiteX79" fmla="*/ 173954 w 607258"/>
                <a:gd name="connsiteY79" fmla="*/ 392546 h 591409"/>
                <a:gd name="connsiteX80" fmla="*/ 171802 w 607258"/>
                <a:gd name="connsiteY80" fmla="*/ 400297 h 591409"/>
                <a:gd name="connsiteX81" fmla="*/ 176947 w 607258"/>
                <a:gd name="connsiteY81" fmla="*/ 421405 h 591409"/>
                <a:gd name="connsiteX82" fmla="*/ 166751 w 607258"/>
                <a:gd name="connsiteY82" fmla="*/ 439244 h 591409"/>
                <a:gd name="connsiteX83" fmla="*/ 130643 w 607258"/>
                <a:gd name="connsiteY83" fmla="*/ 483700 h 591409"/>
                <a:gd name="connsiteX84" fmla="*/ 104264 w 607258"/>
                <a:gd name="connsiteY84" fmla="*/ 483700 h 591409"/>
                <a:gd name="connsiteX85" fmla="*/ 68343 w 607258"/>
                <a:gd name="connsiteY85" fmla="*/ 439244 h 591409"/>
                <a:gd name="connsiteX86" fmla="*/ 58053 w 607258"/>
                <a:gd name="connsiteY86" fmla="*/ 421592 h 591409"/>
                <a:gd name="connsiteX87" fmla="*/ 63198 w 607258"/>
                <a:gd name="connsiteY87" fmla="*/ 400391 h 591409"/>
                <a:gd name="connsiteX88" fmla="*/ 61046 w 607258"/>
                <a:gd name="connsiteY88" fmla="*/ 392639 h 591409"/>
                <a:gd name="connsiteX89" fmla="*/ 60953 w 607258"/>
                <a:gd name="connsiteY89" fmla="*/ 367889 h 591409"/>
                <a:gd name="connsiteX90" fmla="*/ 75452 w 607258"/>
                <a:gd name="connsiteY90" fmla="*/ 342485 h 591409"/>
                <a:gd name="connsiteX91" fmla="*/ 88922 w 607258"/>
                <a:gd name="connsiteY91" fmla="*/ 331371 h 591409"/>
                <a:gd name="connsiteX92" fmla="*/ 101831 w 607258"/>
                <a:gd name="connsiteY92" fmla="*/ 324646 h 591409"/>
                <a:gd name="connsiteX93" fmla="*/ 113711 w 607258"/>
                <a:gd name="connsiteY93" fmla="*/ 322405 h 591409"/>
                <a:gd name="connsiteX94" fmla="*/ 299632 w 607258"/>
                <a:gd name="connsiteY94" fmla="*/ 270867 h 591409"/>
                <a:gd name="connsiteX95" fmla="*/ 335085 w 607258"/>
                <a:gd name="connsiteY95" fmla="*/ 278338 h 591409"/>
                <a:gd name="connsiteX96" fmla="*/ 352298 w 607258"/>
                <a:gd name="connsiteY96" fmla="*/ 294401 h 591409"/>
                <a:gd name="connsiteX97" fmla="*/ 371194 w 607258"/>
                <a:gd name="connsiteY97" fmla="*/ 354447 h 591409"/>
                <a:gd name="connsiteX98" fmla="*/ 368761 w 607258"/>
                <a:gd name="connsiteY98" fmla="*/ 363693 h 591409"/>
                <a:gd name="connsiteX99" fmla="*/ 374842 w 607258"/>
                <a:gd name="connsiteY99" fmla="*/ 388813 h 591409"/>
                <a:gd name="connsiteX100" fmla="*/ 362588 w 607258"/>
                <a:gd name="connsiteY100" fmla="*/ 410105 h 591409"/>
                <a:gd name="connsiteX101" fmla="*/ 319744 w 607258"/>
                <a:gd name="connsiteY101" fmla="*/ 463055 h 591409"/>
                <a:gd name="connsiteX102" fmla="*/ 288313 w 607258"/>
                <a:gd name="connsiteY102" fmla="*/ 463148 h 591409"/>
                <a:gd name="connsiteX103" fmla="*/ 245469 w 607258"/>
                <a:gd name="connsiteY103" fmla="*/ 410199 h 591409"/>
                <a:gd name="connsiteX104" fmla="*/ 233308 w 607258"/>
                <a:gd name="connsiteY104" fmla="*/ 388907 h 591409"/>
                <a:gd name="connsiteX105" fmla="*/ 239482 w 607258"/>
                <a:gd name="connsiteY105" fmla="*/ 363786 h 591409"/>
                <a:gd name="connsiteX106" fmla="*/ 237050 w 607258"/>
                <a:gd name="connsiteY106" fmla="*/ 354541 h 591409"/>
                <a:gd name="connsiteX107" fmla="*/ 236863 w 607258"/>
                <a:gd name="connsiteY107" fmla="*/ 325031 h 591409"/>
                <a:gd name="connsiteX108" fmla="*/ 254075 w 607258"/>
                <a:gd name="connsiteY108" fmla="*/ 294774 h 591409"/>
                <a:gd name="connsiteX109" fmla="*/ 270071 w 607258"/>
                <a:gd name="connsiteY109" fmla="*/ 281607 h 591409"/>
                <a:gd name="connsiteX110" fmla="*/ 285506 w 607258"/>
                <a:gd name="connsiteY110" fmla="*/ 273669 h 591409"/>
                <a:gd name="connsiteX111" fmla="*/ 299632 w 607258"/>
                <a:gd name="connsiteY111" fmla="*/ 270867 h 591409"/>
                <a:gd name="connsiteX112" fmla="*/ 246074 w 607258"/>
                <a:gd name="connsiteY112" fmla="*/ 135486 h 591409"/>
                <a:gd name="connsiteX113" fmla="*/ 242708 w 607258"/>
                <a:gd name="connsiteY113" fmla="*/ 171715 h 591409"/>
                <a:gd name="connsiteX114" fmla="*/ 246168 w 607258"/>
                <a:gd name="connsiteY114" fmla="*/ 207944 h 591409"/>
                <a:gd name="connsiteX115" fmla="*/ 291334 w 607258"/>
                <a:gd name="connsiteY115" fmla="*/ 207944 h 591409"/>
                <a:gd name="connsiteX116" fmla="*/ 291334 w 607258"/>
                <a:gd name="connsiteY116" fmla="*/ 135486 h 591409"/>
                <a:gd name="connsiteX117" fmla="*/ 388399 w 607258"/>
                <a:gd name="connsiteY117" fmla="*/ 135299 h 591409"/>
                <a:gd name="connsiteX118" fmla="*/ 391391 w 607258"/>
                <a:gd name="connsiteY118" fmla="*/ 171528 h 591409"/>
                <a:gd name="connsiteX119" fmla="*/ 388399 w 607258"/>
                <a:gd name="connsiteY119" fmla="*/ 207757 h 591409"/>
                <a:gd name="connsiteX120" fmla="*/ 426926 w 607258"/>
                <a:gd name="connsiteY120" fmla="*/ 207757 h 591409"/>
                <a:gd name="connsiteX121" fmla="*/ 432162 w 607258"/>
                <a:gd name="connsiteY121" fmla="*/ 171528 h 591409"/>
                <a:gd name="connsiteX122" fmla="*/ 426926 w 607258"/>
                <a:gd name="connsiteY122" fmla="*/ 135299 h 591409"/>
                <a:gd name="connsiteX123" fmla="*/ 316956 w 607258"/>
                <a:gd name="connsiteY123" fmla="*/ 135299 h 591409"/>
                <a:gd name="connsiteX124" fmla="*/ 316956 w 607258"/>
                <a:gd name="connsiteY124" fmla="*/ 207757 h 591409"/>
                <a:gd name="connsiteX125" fmla="*/ 362216 w 607258"/>
                <a:gd name="connsiteY125" fmla="*/ 207757 h 591409"/>
                <a:gd name="connsiteX126" fmla="*/ 365582 w 607258"/>
                <a:gd name="connsiteY126" fmla="*/ 171528 h 591409"/>
                <a:gd name="connsiteX127" fmla="*/ 362122 w 607258"/>
                <a:gd name="connsiteY127" fmla="*/ 135299 h 591409"/>
                <a:gd name="connsiteX128" fmla="*/ 181177 w 607258"/>
                <a:gd name="connsiteY128" fmla="*/ 135299 h 591409"/>
                <a:gd name="connsiteX129" fmla="*/ 175940 w 607258"/>
                <a:gd name="connsiteY129" fmla="*/ 171528 h 591409"/>
                <a:gd name="connsiteX130" fmla="*/ 181177 w 607258"/>
                <a:gd name="connsiteY130" fmla="*/ 207757 h 591409"/>
                <a:gd name="connsiteX131" fmla="*/ 219704 w 607258"/>
                <a:gd name="connsiteY131" fmla="*/ 207757 h 591409"/>
                <a:gd name="connsiteX132" fmla="*/ 216712 w 607258"/>
                <a:gd name="connsiteY132" fmla="*/ 171528 h 591409"/>
                <a:gd name="connsiteX133" fmla="*/ 219704 w 607258"/>
                <a:gd name="connsiteY133" fmla="*/ 135299 h 591409"/>
                <a:gd name="connsiteX134" fmla="*/ 253368 w 607258"/>
                <a:gd name="connsiteY134" fmla="*/ 54157 h 591409"/>
                <a:gd name="connsiteX135" fmla="*/ 192024 w 607258"/>
                <a:gd name="connsiteY135" fmla="*/ 109715 h 591409"/>
                <a:gd name="connsiteX136" fmla="*/ 225876 w 607258"/>
                <a:gd name="connsiteY136" fmla="*/ 109715 h 591409"/>
                <a:gd name="connsiteX137" fmla="*/ 253368 w 607258"/>
                <a:gd name="connsiteY137" fmla="*/ 54157 h 591409"/>
                <a:gd name="connsiteX138" fmla="*/ 354922 w 607258"/>
                <a:gd name="connsiteY138" fmla="*/ 54064 h 591409"/>
                <a:gd name="connsiteX139" fmla="*/ 382414 w 607258"/>
                <a:gd name="connsiteY139" fmla="*/ 109528 h 591409"/>
                <a:gd name="connsiteX140" fmla="*/ 416266 w 607258"/>
                <a:gd name="connsiteY140" fmla="*/ 109528 h 591409"/>
                <a:gd name="connsiteX141" fmla="*/ 354922 w 607258"/>
                <a:gd name="connsiteY141" fmla="*/ 54064 h 591409"/>
                <a:gd name="connsiteX142" fmla="*/ 316956 w 607258"/>
                <a:gd name="connsiteY142" fmla="*/ 49301 h 591409"/>
                <a:gd name="connsiteX143" fmla="*/ 316956 w 607258"/>
                <a:gd name="connsiteY143" fmla="*/ 109715 h 591409"/>
                <a:gd name="connsiteX144" fmla="*/ 355109 w 607258"/>
                <a:gd name="connsiteY144" fmla="*/ 109715 h 591409"/>
                <a:gd name="connsiteX145" fmla="*/ 316956 w 607258"/>
                <a:gd name="connsiteY145" fmla="*/ 49301 h 591409"/>
                <a:gd name="connsiteX146" fmla="*/ 291334 w 607258"/>
                <a:gd name="connsiteY146" fmla="*/ 49021 h 591409"/>
                <a:gd name="connsiteX147" fmla="*/ 252994 w 607258"/>
                <a:gd name="connsiteY147" fmla="*/ 109528 h 591409"/>
                <a:gd name="connsiteX148" fmla="*/ 291334 w 607258"/>
                <a:gd name="connsiteY148" fmla="*/ 109528 h 591409"/>
                <a:gd name="connsiteX149" fmla="*/ 304145 w 607258"/>
                <a:gd name="connsiteY149" fmla="*/ 0 h 591409"/>
                <a:gd name="connsiteX150" fmla="*/ 476113 w 607258"/>
                <a:gd name="connsiteY150" fmla="*/ 171715 h 591409"/>
                <a:gd name="connsiteX151" fmla="*/ 396628 w 607258"/>
                <a:gd name="connsiteY151" fmla="*/ 316258 h 591409"/>
                <a:gd name="connsiteX152" fmla="*/ 384565 w 607258"/>
                <a:gd name="connsiteY152" fmla="*/ 287219 h 591409"/>
                <a:gd name="connsiteX153" fmla="*/ 374933 w 607258"/>
                <a:gd name="connsiteY153" fmla="*/ 277975 h 591409"/>
                <a:gd name="connsiteX154" fmla="*/ 416078 w 607258"/>
                <a:gd name="connsiteY154" fmla="*/ 233529 h 591409"/>
                <a:gd name="connsiteX155" fmla="*/ 382321 w 607258"/>
                <a:gd name="connsiteY155" fmla="*/ 233529 h 591409"/>
                <a:gd name="connsiteX156" fmla="*/ 365956 w 607258"/>
                <a:gd name="connsiteY156" fmla="*/ 271625 h 591409"/>
                <a:gd name="connsiteX157" fmla="*/ 347441 w 607258"/>
                <a:gd name="connsiteY157" fmla="*/ 257059 h 591409"/>
                <a:gd name="connsiteX158" fmla="*/ 345290 w 607258"/>
                <a:gd name="connsiteY158" fmla="*/ 255938 h 591409"/>
                <a:gd name="connsiteX159" fmla="*/ 355296 w 607258"/>
                <a:gd name="connsiteY159" fmla="*/ 233715 h 591409"/>
                <a:gd name="connsiteX160" fmla="*/ 316956 w 607258"/>
                <a:gd name="connsiteY160" fmla="*/ 233715 h 591409"/>
                <a:gd name="connsiteX161" fmla="*/ 316956 w 607258"/>
                <a:gd name="connsiteY161" fmla="*/ 246881 h 591409"/>
                <a:gd name="connsiteX162" fmla="*/ 305735 w 607258"/>
                <a:gd name="connsiteY162" fmla="*/ 246134 h 591409"/>
                <a:gd name="connsiteX163" fmla="*/ 298067 w 607258"/>
                <a:gd name="connsiteY163" fmla="*/ 246508 h 591409"/>
                <a:gd name="connsiteX164" fmla="*/ 291334 w 607258"/>
                <a:gd name="connsiteY164" fmla="*/ 247161 h 591409"/>
                <a:gd name="connsiteX165" fmla="*/ 291334 w 607258"/>
                <a:gd name="connsiteY165" fmla="*/ 233529 h 591409"/>
                <a:gd name="connsiteX166" fmla="*/ 253181 w 607258"/>
                <a:gd name="connsiteY166" fmla="*/ 233529 h 591409"/>
                <a:gd name="connsiteX167" fmla="*/ 263654 w 607258"/>
                <a:gd name="connsiteY167" fmla="*/ 256592 h 591409"/>
                <a:gd name="connsiteX168" fmla="*/ 256548 w 607258"/>
                <a:gd name="connsiteY168" fmla="*/ 261074 h 591409"/>
                <a:gd name="connsiteX169" fmla="*/ 242427 w 607258"/>
                <a:gd name="connsiteY169" fmla="*/ 271812 h 591409"/>
                <a:gd name="connsiteX170" fmla="*/ 225969 w 607258"/>
                <a:gd name="connsiteY170" fmla="*/ 233529 h 591409"/>
                <a:gd name="connsiteX171" fmla="*/ 192212 w 607258"/>
                <a:gd name="connsiteY171" fmla="*/ 233529 h 591409"/>
                <a:gd name="connsiteX172" fmla="*/ 234946 w 607258"/>
                <a:gd name="connsiteY172" fmla="*/ 279095 h 591409"/>
                <a:gd name="connsiteX173" fmla="*/ 213345 w 607258"/>
                <a:gd name="connsiteY173" fmla="*/ 317192 h 591409"/>
                <a:gd name="connsiteX174" fmla="*/ 132177 w 607258"/>
                <a:gd name="connsiteY174" fmla="*/ 171715 h 591409"/>
                <a:gd name="connsiteX175" fmla="*/ 304145 w 607258"/>
                <a:gd name="connsiteY175" fmla="*/ 0 h 591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</a:cxnLst>
              <a:rect l="l" t="t" r="r" b="b"/>
              <a:pathLst>
                <a:path w="607258" h="591409">
                  <a:moveTo>
                    <a:pt x="254856" y="462909"/>
                  </a:moveTo>
                  <a:lnTo>
                    <a:pt x="281230" y="545836"/>
                  </a:lnTo>
                  <a:lnTo>
                    <a:pt x="284784" y="557043"/>
                  </a:lnTo>
                  <a:lnTo>
                    <a:pt x="296568" y="523797"/>
                  </a:lnTo>
                  <a:cubicBezTo>
                    <a:pt x="269446" y="486256"/>
                    <a:pt x="298626" y="484388"/>
                    <a:pt x="303676" y="484388"/>
                  </a:cubicBezTo>
                  <a:lnTo>
                    <a:pt x="303769" y="484388"/>
                  </a:lnTo>
                  <a:lnTo>
                    <a:pt x="303863" y="484388"/>
                  </a:lnTo>
                  <a:lnTo>
                    <a:pt x="304050" y="484388"/>
                  </a:lnTo>
                  <a:lnTo>
                    <a:pt x="304144" y="484388"/>
                  </a:lnTo>
                  <a:cubicBezTo>
                    <a:pt x="309287" y="484388"/>
                    <a:pt x="338280" y="486256"/>
                    <a:pt x="311252" y="523797"/>
                  </a:cubicBezTo>
                  <a:lnTo>
                    <a:pt x="322942" y="557043"/>
                  </a:lnTo>
                  <a:lnTo>
                    <a:pt x="326590" y="545836"/>
                  </a:lnTo>
                  <a:lnTo>
                    <a:pt x="352870" y="462909"/>
                  </a:lnTo>
                  <a:cubicBezTo>
                    <a:pt x="352870" y="462909"/>
                    <a:pt x="373352" y="476263"/>
                    <a:pt x="407395" y="489244"/>
                  </a:cubicBezTo>
                  <a:cubicBezTo>
                    <a:pt x="413662" y="491579"/>
                    <a:pt x="418712" y="494287"/>
                    <a:pt x="423014" y="497556"/>
                  </a:cubicBezTo>
                  <a:cubicBezTo>
                    <a:pt x="439942" y="489711"/>
                    <a:pt x="449575" y="483454"/>
                    <a:pt x="449575" y="483454"/>
                  </a:cubicBezTo>
                  <a:lnTo>
                    <a:pt x="471647" y="553214"/>
                  </a:lnTo>
                  <a:lnTo>
                    <a:pt x="474640" y="562646"/>
                  </a:lnTo>
                  <a:lnTo>
                    <a:pt x="484460" y="534630"/>
                  </a:lnTo>
                  <a:cubicBezTo>
                    <a:pt x="461733" y="503065"/>
                    <a:pt x="486237" y="501571"/>
                    <a:pt x="490446" y="501571"/>
                  </a:cubicBezTo>
                  <a:lnTo>
                    <a:pt x="490539" y="501571"/>
                  </a:lnTo>
                  <a:lnTo>
                    <a:pt x="490726" y="501571"/>
                  </a:lnTo>
                  <a:lnTo>
                    <a:pt x="490820" y="501571"/>
                  </a:lnTo>
                  <a:lnTo>
                    <a:pt x="490913" y="501571"/>
                  </a:lnTo>
                  <a:cubicBezTo>
                    <a:pt x="495215" y="501571"/>
                    <a:pt x="519625" y="503065"/>
                    <a:pt x="496899" y="534630"/>
                  </a:cubicBezTo>
                  <a:lnTo>
                    <a:pt x="506813" y="562646"/>
                  </a:lnTo>
                  <a:lnTo>
                    <a:pt x="509805" y="553214"/>
                  </a:lnTo>
                  <a:lnTo>
                    <a:pt x="531877" y="483454"/>
                  </a:lnTo>
                  <a:cubicBezTo>
                    <a:pt x="531877" y="483454"/>
                    <a:pt x="548899" y="494567"/>
                    <a:pt x="577611" y="505493"/>
                  </a:cubicBezTo>
                  <a:cubicBezTo>
                    <a:pt x="609129" y="516980"/>
                    <a:pt x="607165" y="542848"/>
                    <a:pt x="607258" y="591409"/>
                  </a:cubicBezTo>
                  <a:lnTo>
                    <a:pt x="490352" y="591409"/>
                  </a:lnTo>
                  <a:lnTo>
                    <a:pt x="484366" y="591409"/>
                  </a:lnTo>
                  <a:lnTo>
                    <a:pt x="442935" y="591409"/>
                  </a:lnTo>
                  <a:lnTo>
                    <a:pt x="373072" y="591409"/>
                  </a:lnTo>
                  <a:lnTo>
                    <a:pt x="303769" y="591409"/>
                  </a:lnTo>
                  <a:lnTo>
                    <a:pt x="296568" y="591409"/>
                  </a:lnTo>
                  <a:lnTo>
                    <a:pt x="234093" y="591409"/>
                  </a:lnTo>
                  <a:lnTo>
                    <a:pt x="164230" y="591409"/>
                  </a:lnTo>
                  <a:lnTo>
                    <a:pt x="117093" y="591409"/>
                  </a:lnTo>
                  <a:lnTo>
                    <a:pt x="111108" y="591409"/>
                  </a:lnTo>
                  <a:lnTo>
                    <a:pt x="0" y="591409"/>
                  </a:lnTo>
                  <a:cubicBezTo>
                    <a:pt x="655" y="542848"/>
                    <a:pt x="-1403" y="516980"/>
                    <a:pt x="30208" y="505493"/>
                  </a:cubicBezTo>
                  <a:cubicBezTo>
                    <a:pt x="58734" y="494661"/>
                    <a:pt x="75942" y="483454"/>
                    <a:pt x="75942" y="483454"/>
                  </a:cubicBezTo>
                  <a:lnTo>
                    <a:pt x="98014" y="553214"/>
                  </a:lnTo>
                  <a:lnTo>
                    <a:pt x="101007" y="562646"/>
                  </a:lnTo>
                  <a:lnTo>
                    <a:pt x="110827" y="534630"/>
                  </a:lnTo>
                  <a:cubicBezTo>
                    <a:pt x="88194" y="503065"/>
                    <a:pt x="112604" y="501571"/>
                    <a:pt x="116813" y="501571"/>
                  </a:cubicBezTo>
                  <a:lnTo>
                    <a:pt x="117000" y="501571"/>
                  </a:lnTo>
                  <a:lnTo>
                    <a:pt x="117093" y="501571"/>
                  </a:lnTo>
                  <a:lnTo>
                    <a:pt x="117187" y="501571"/>
                  </a:lnTo>
                  <a:lnTo>
                    <a:pt x="117374" y="501571"/>
                  </a:lnTo>
                  <a:cubicBezTo>
                    <a:pt x="121583" y="501571"/>
                    <a:pt x="145993" y="503065"/>
                    <a:pt x="123360" y="534630"/>
                  </a:cubicBezTo>
                  <a:lnTo>
                    <a:pt x="133180" y="562646"/>
                  </a:lnTo>
                  <a:lnTo>
                    <a:pt x="136172" y="553214"/>
                  </a:lnTo>
                  <a:lnTo>
                    <a:pt x="158244" y="483454"/>
                  </a:lnTo>
                  <a:cubicBezTo>
                    <a:pt x="158244" y="483454"/>
                    <a:pt x="167877" y="489804"/>
                    <a:pt x="184806" y="497556"/>
                  </a:cubicBezTo>
                  <a:cubicBezTo>
                    <a:pt x="189014" y="494194"/>
                    <a:pt x="194158" y="491485"/>
                    <a:pt x="200424" y="489244"/>
                  </a:cubicBezTo>
                  <a:cubicBezTo>
                    <a:pt x="234467" y="476263"/>
                    <a:pt x="254856" y="462909"/>
                    <a:pt x="254856" y="462909"/>
                  </a:cubicBezTo>
                  <a:close/>
                  <a:moveTo>
                    <a:pt x="486780" y="322405"/>
                  </a:moveTo>
                  <a:cubicBezTo>
                    <a:pt x="499780" y="321284"/>
                    <a:pt x="509601" y="324553"/>
                    <a:pt x="516615" y="328662"/>
                  </a:cubicBezTo>
                  <a:cubicBezTo>
                    <a:pt x="527090" y="334546"/>
                    <a:pt x="531112" y="342111"/>
                    <a:pt x="531112" y="342111"/>
                  </a:cubicBezTo>
                  <a:cubicBezTo>
                    <a:pt x="531112" y="342111"/>
                    <a:pt x="555148" y="343699"/>
                    <a:pt x="547012" y="392546"/>
                  </a:cubicBezTo>
                  <a:cubicBezTo>
                    <a:pt x="546544" y="395067"/>
                    <a:pt x="545796" y="397682"/>
                    <a:pt x="544954" y="400297"/>
                  </a:cubicBezTo>
                  <a:cubicBezTo>
                    <a:pt x="549630" y="399737"/>
                    <a:pt x="555429" y="402632"/>
                    <a:pt x="550004" y="421405"/>
                  </a:cubicBezTo>
                  <a:cubicBezTo>
                    <a:pt x="546170" y="435134"/>
                    <a:pt x="542522" y="438964"/>
                    <a:pt x="539810" y="439244"/>
                  </a:cubicBezTo>
                  <a:cubicBezTo>
                    <a:pt x="537285" y="455588"/>
                    <a:pt x="524191" y="476322"/>
                    <a:pt x="503802" y="483700"/>
                  </a:cubicBezTo>
                  <a:cubicBezTo>
                    <a:pt x="495197" y="486689"/>
                    <a:pt x="485845" y="486689"/>
                    <a:pt x="477334" y="483700"/>
                  </a:cubicBezTo>
                  <a:cubicBezTo>
                    <a:pt x="456664" y="476509"/>
                    <a:pt x="443944" y="455681"/>
                    <a:pt x="441419" y="439244"/>
                  </a:cubicBezTo>
                  <a:cubicBezTo>
                    <a:pt x="438707" y="439150"/>
                    <a:pt x="435059" y="435228"/>
                    <a:pt x="431225" y="421405"/>
                  </a:cubicBezTo>
                  <a:cubicBezTo>
                    <a:pt x="425800" y="402632"/>
                    <a:pt x="431412" y="399737"/>
                    <a:pt x="436275" y="400297"/>
                  </a:cubicBezTo>
                  <a:cubicBezTo>
                    <a:pt x="435340" y="397682"/>
                    <a:pt x="434685" y="395161"/>
                    <a:pt x="434217" y="392546"/>
                  </a:cubicBezTo>
                  <a:cubicBezTo>
                    <a:pt x="432440" y="383860"/>
                    <a:pt x="431973" y="375641"/>
                    <a:pt x="434030" y="367795"/>
                  </a:cubicBezTo>
                  <a:cubicBezTo>
                    <a:pt x="436462" y="357335"/>
                    <a:pt x="442167" y="348836"/>
                    <a:pt x="448527" y="342392"/>
                  </a:cubicBezTo>
                  <a:cubicBezTo>
                    <a:pt x="452642" y="338095"/>
                    <a:pt x="457132" y="334360"/>
                    <a:pt x="461995" y="331277"/>
                  </a:cubicBezTo>
                  <a:cubicBezTo>
                    <a:pt x="466017" y="328569"/>
                    <a:pt x="470319" y="326141"/>
                    <a:pt x="475089" y="324553"/>
                  </a:cubicBezTo>
                  <a:cubicBezTo>
                    <a:pt x="478830" y="323152"/>
                    <a:pt x="482852" y="322405"/>
                    <a:pt x="486780" y="322405"/>
                  </a:cubicBezTo>
                  <a:close/>
                  <a:moveTo>
                    <a:pt x="113711" y="322405"/>
                  </a:moveTo>
                  <a:cubicBezTo>
                    <a:pt x="126714" y="321284"/>
                    <a:pt x="136536" y="324553"/>
                    <a:pt x="143552" y="328662"/>
                  </a:cubicBezTo>
                  <a:cubicBezTo>
                    <a:pt x="154029" y="334546"/>
                    <a:pt x="157958" y="342111"/>
                    <a:pt x="157958" y="342111"/>
                  </a:cubicBezTo>
                  <a:cubicBezTo>
                    <a:pt x="157958" y="342111"/>
                    <a:pt x="182092" y="343699"/>
                    <a:pt x="173954" y="392546"/>
                  </a:cubicBezTo>
                  <a:cubicBezTo>
                    <a:pt x="173486" y="395067"/>
                    <a:pt x="172738" y="397682"/>
                    <a:pt x="171802" y="400297"/>
                  </a:cubicBezTo>
                  <a:cubicBezTo>
                    <a:pt x="176573" y="399737"/>
                    <a:pt x="182279" y="402632"/>
                    <a:pt x="176947" y="421405"/>
                  </a:cubicBezTo>
                  <a:cubicBezTo>
                    <a:pt x="173112" y="435134"/>
                    <a:pt x="169464" y="438964"/>
                    <a:pt x="166751" y="439244"/>
                  </a:cubicBezTo>
                  <a:cubicBezTo>
                    <a:pt x="164225" y="455588"/>
                    <a:pt x="151129" y="476322"/>
                    <a:pt x="130643" y="483700"/>
                  </a:cubicBezTo>
                  <a:cubicBezTo>
                    <a:pt x="122037" y="486689"/>
                    <a:pt x="112682" y="486689"/>
                    <a:pt x="104264" y="483700"/>
                  </a:cubicBezTo>
                  <a:cubicBezTo>
                    <a:pt x="83497" y="476509"/>
                    <a:pt x="70775" y="455681"/>
                    <a:pt x="68343" y="439244"/>
                  </a:cubicBezTo>
                  <a:cubicBezTo>
                    <a:pt x="65536" y="438964"/>
                    <a:pt x="61982" y="435134"/>
                    <a:pt x="58053" y="421592"/>
                  </a:cubicBezTo>
                  <a:cubicBezTo>
                    <a:pt x="52721" y="402726"/>
                    <a:pt x="58427" y="399924"/>
                    <a:pt x="63198" y="400391"/>
                  </a:cubicBezTo>
                  <a:cubicBezTo>
                    <a:pt x="62169" y="397776"/>
                    <a:pt x="61608" y="395254"/>
                    <a:pt x="61046" y="392639"/>
                  </a:cubicBezTo>
                  <a:cubicBezTo>
                    <a:pt x="59363" y="383953"/>
                    <a:pt x="58801" y="375734"/>
                    <a:pt x="60953" y="367889"/>
                  </a:cubicBezTo>
                  <a:cubicBezTo>
                    <a:pt x="63291" y="357428"/>
                    <a:pt x="69091" y="348929"/>
                    <a:pt x="75452" y="342485"/>
                  </a:cubicBezTo>
                  <a:cubicBezTo>
                    <a:pt x="79568" y="338282"/>
                    <a:pt x="84058" y="334546"/>
                    <a:pt x="88922" y="331371"/>
                  </a:cubicBezTo>
                  <a:cubicBezTo>
                    <a:pt x="92758" y="328662"/>
                    <a:pt x="97154" y="326327"/>
                    <a:pt x="101831" y="324646"/>
                  </a:cubicBezTo>
                  <a:cubicBezTo>
                    <a:pt x="105573" y="323432"/>
                    <a:pt x="109502" y="322685"/>
                    <a:pt x="113711" y="322405"/>
                  </a:cubicBezTo>
                  <a:close/>
                  <a:moveTo>
                    <a:pt x="299632" y="270867"/>
                  </a:moveTo>
                  <a:cubicBezTo>
                    <a:pt x="314973" y="269560"/>
                    <a:pt x="326666" y="273389"/>
                    <a:pt x="335085" y="278338"/>
                  </a:cubicBezTo>
                  <a:cubicBezTo>
                    <a:pt x="347527" y="285342"/>
                    <a:pt x="352298" y="294401"/>
                    <a:pt x="352298" y="294401"/>
                  </a:cubicBezTo>
                  <a:cubicBezTo>
                    <a:pt x="352298" y="294401"/>
                    <a:pt x="380922" y="296455"/>
                    <a:pt x="371194" y="354447"/>
                  </a:cubicBezTo>
                  <a:cubicBezTo>
                    <a:pt x="370632" y="357436"/>
                    <a:pt x="369884" y="360517"/>
                    <a:pt x="368761" y="363693"/>
                  </a:cubicBezTo>
                  <a:cubicBezTo>
                    <a:pt x="374468" y="363039"/>
                    <a:pt x="381203" y="366401"/>
                    <a:pt x="374842" y="388813"/>
                  </a:cubicBezTo>
                  <a:cubicBezTo>
                    <a:pt x="370258" y="405249"/>
                    <a:pt x="365862" y="409825"/>
                    <a:pt x="362588" y="410105"/>
                  </a:cubicBezTo>
                  <a:cubicBezTo>
                    <a:pt x="359594" y="429529"/>
                    <a:pt x="344066" y="454276"/>
                    <a:pt x="319744" y="463055"/>
                  </a:cubicBezTo>
                  <a:cubicBezTo>
                    <a:pt x="309641" y="466790"/>
                    <a:pt x="298416" y="466790"/>
                    <a:pt x="288313" y="463148"/>
                  </a:cubicBezTo>
                  <a:cubicBezTo>
                    <a:pt x="263617" y="454557"/>
                    <a:pt x="248462" y="429809"/>
                    <a:pt x="245469" y="410199"/>
                  </a:cubicBezTo>
                  <a:cubicBezTo>
                    <a:pt x="242288" y="409825"/>
                    <a:pt x="237892" y="405342"/>
                    <a:pt x="233308" y="388907"/>
                  </a:cubicBezTo>
                  <a:cubicBezTo>
                    <a:pt x="226947" y="366494"/>
                    <a:pt x="233682" y="363319"/>
                    <a:pt x="239482" y="363786"/>
                  </a:cubicBezTo>
                  <a:cubicBezTo>
                    <a:pt x="238360" y="360704"/>
                    <a:pt x="237518" y="357716"/>
                    <a:pt x="237050" y="354541"/>
                  </a:cubicBezTo>
                  <a:cubicBezTo>
                    <a:pt x="234992" y="344082"/>
                    <a:pt x="234431" y="334370"/>
                    <a:pt x="236863" y="325031"/>
                  </a:cubicBezTo>
                  <a:cubicBezTo>
                    <a:pt x="239763" y="312517"/>
                    <a:pt x="246498" y="302525"/>
                    <a:pt x="254075" y="294774"/>
                  </a:cubicBezTo>
                  <a:cubicBezTo>
                    <a:pt x="258846" y="289731"/>
                    <a:pt x="264365" y="285249"/>
                    <a:pt x="270071" y="281607"/>
                  </a:cubicBezTo>
                  <a:cubicBezTo>
                    <a:pt x="274655" y="278338"/>
                    <a:pt x="279894" y="275537"/>
                    <a:pt x="285506" y="273669"/>
                  </a:cubicBezTo>
                  <a:cubicBezTo>
                    <a:pt x="289903" y="272175"/>
                    <a:pt x="294674" y="271148"/>
                    <a:pt x="299632" y="270867"/>
                  </a:cubicBezTo>
                  <a:close/>
                  <a:moveTo>
                    <a:pt x="246074" y="135486"/>
                  </a:moveTo>
                  <a:cubicBezTo>
                    <a:pt x="243923" y="146504"/>
                    <a:pt x="242708" y="158643"/>
                    <a:pt x="242708" y="171715"/>
                  </a:cubicBezTo>
                  <a:cubicBezTo>
                    <a:pt x="242708" y="184787"/>
                    <a:pt x="244017" y="196833"/>
                    <a:pt x="246168" y="207944"/>
                  </a:cubicBezTo>
                  <a:lnTo>
                    <a:pt x="291334" y="207944"/>
                  </a:lnTo>
                  <a:lnTo>
                    <a:pt x="291334" y="135486"/>
                  </a:lnTo>
                  <a:close/>
                  <a:moveTo>
                    <a:pt x="388399" y="135299"/>
                  </a:moveTo>
                  <a:cubicBezTo>
                    <a:pt x="390269" y="146504"/>
                    <a:pt x="391391" y="158643"/>
                    <a:pt x="391391" y="171528"/>
                  </a:cubicBezTo>
                  <a:cubicBezTo>
                    <a:pt x="391391" y="184507"/>
                    <a:pt x="390269" y="196459"/>
                    <a:pt x="388399" y="207757"/>
                  </a:cubicBezTo>
                  <a:lnTo>
                    <a:pt x="426926" y="207757"/>
                  </a:lnTo>
                  <a:cubicBezTo>
                    <a:pt x="430292" y="196366"/>
                    <a:pt x="432162" y="184134"/>
                    <a:pt x="432162" y="171528"/>
                  </a:cubicBezTo>
                  <a:cubicBezTo>
                    <a:pt x="432162" y="159016"/>
                    <a:pt x="430292" y="146784"/>
                    <a:pt x="426926" y="135299"/>
                  </a:cubicBezTo>
                  <a:close/>
                  <a:moveTo>
                    <a:pt x="316956" y="135299"/>
                  </a:moveTo>
                  <a:lnTo>
                    <a:pt x="316956" y="207757"/>
                  </a:lnTo>
                  <a:lnTo>
                    <a:pt x="362216" y="207757"/>
                  </a:lnTo>
                  <a:cubicBezTo>
                    <a:pt x="364367" y="196739"/>
                    <a:pt x="365582" y="184601"/>
                    <a:pt x="365582" y="171528"/>
                  </a:cubicBezTo>
                  <a:cubicBezTo>
                    <a:pt x="365582" y="158456"/>
                    <a:pt x="364273" y="146411"/>
                    <a:pt x="362122" y="135299"/>
                  </a:cubicBezTo>
                  <a:close/>
                  <a:moveTo>
                    <a:pt x="181177" y="135299"/>
                  </a:moveTo>
                  <a:cubicBezTo>
                    <a:pt x="177811" y="146784"/>
                    <a:pt x="175940" y="159016"/>
                    <a:pt x="175940" y="171528"/>
                  </a:cubicBezTo>
                  <a:cubicBezTo>
                    <a:pt x="175940" y="184134"/>
                    <a:pt x="177811" y="196366"/>
                    <a:pt x="181177" y="207757"/>
                  </a:cubicBezTo>
                  <a:lnTo>
                    <a:pt x="219704" y="207757"/>
                  </a:lnTo>
                  <a:cubicBezTo>
                    <a:pt x="217834" y="196553"/>
                    <a:pt x="216712" y="184507"/>
                    <a:pt x="216712" y="171528"/>
                  </a:cubicBezTo>
                  <a:cubicBezTo>
                    <a:pt x="216712" y="158643"/>
                    <a:pt x="217834" y="146691"/>
                    <a:pt x="219704" y="135299"/>
                  </a:cubicBezTo>
                  <a:close/>
                  <a:moveTo>
                    <a:pt x="253368" y="54157"/>
                  </a:moveTo>
                  <a:cubicBezTo>
                    <a:pt x="227372" y="65362"/>
                    <a:pt x="205771" y="85064"/>
                    <a:pt x="192024" y="109715"/>
                  </a:cubicBezTo>
                  <a:lnTo>
                    <a:pt x="225876" y="109715"/>
                  </a:lnTo>
                  <a:cubicBezTo>
                    <a:pt x="232796" y="87118"/>
                    <a:pt x="242895" y="68723"/>
                    <a:pt x="253368" y="54157"/>
                  </a:cubicBezTo>
                  <a:close/>
                  <a:moveTo>
                    <a:pt x="354922" y="54064"/>
                  </a:moveTo>
                  <a:cubicBezTo>
                    <a:pt x="365395" y="68630"/>
                    <a:pt x="375494" y="87025"/>
                    <a:pt x="382414" y="109528"/>
                  </a:cubicBezTo>
                  <a:lnTo>
                    <a:pt x="416266" y="109528"/>
                  </a:lnTo>
                  <a:cubicBezTo>
                    <a:pt x="402519" y="85064"/>
                    <a:pt x="380918" y="65362"/>
                    <a:pt x="354922" y="54064"/>
                  </a:cubicBezTo>
                  <a:close/>
                  <a:moveTo>
                    <a:pt x="316956" y="49301"/>
                  </a:moveTo>
                  <a:lnTo>
                    <a:pt x="316956" y="109715"/>
                  </a:lnTo>
                  <a:lnTo>
                    <a:pt x="355109" y="109715"/>
                  </a:lnTo>
                  <a:cubicBezTo>
                    <a:pt x="344916" y="81702"/>
                    <a:pt x="329487" y="61907"/>
                    <a:pt x="316956" y="49301"/>
                  </a:cubicBezTo>
                  <a:close/>
                  <a:moveTo>
                    <a:pt x="291334" y="49021"/>
                  </a:moveTo>
                  <a:cubicBezTo>
                    <a:pt x="278803" y="61534"/>
                    <a:pt x="263093" y="81422"/>
                    <a:pt x="252994" y="109528"/>
                  </a:cubicBezTo>
                  <a:lnTo>
                    <a:pt x="291334" y="109528"/>
                  </a:lnTo>
                  <a:close/>
                  <a:moveTo>
                    <a:pt x="304145" y="0"/>
                  </a:moveTo>
                  <a:cubicBezTo>
                    <a:pt x="399059" y="0"/>
                    <a:pt x="476113" y="77034"/>
                    <a:pt x="476113" y="171715"/>
                  </a:cubicBezTo>
                  <a:cubicBezTo>
                    <a:pt x="476113" y="232315"/>
                    <a:pt x="444413" y="285725"/>
                    <a:pt x="396628" y="316258"/>
                  </a:cubicBezTo>
                  <a:cubicBezTo>
                    <a:pt x="394664" y="304680"/>
                    <a:pt x="390643" y="294969"/>
                    <a:pt x="384565" y="287219"/>
                  </a:cubicBezTo>
                  <a:cubicBezTo>
                    <a:pt x="381573" y="283484"/>
                    <a:pt x="378300" y="280496"/>
                    <a:pt x="374933" y="277975"/>
                  </a:cubicBezTo>
                  <a:cubicBezTo>
                    <a:pt x="392046" y="266677"/>
                    <a:pt x="406166" y="251457"/>
                    <a:pt x="416078" y="233529"/>
                  </a:cubicBezTo>
                  <a:lnTo>
                    <a:pt x="382321" y="233529"/>
                  </a:lnTo>
                  <a:cubicBezTo>
                    <a:pt x="377926" y="247908"/>
                    <a:pt x="372222" y="260607"/>
                    <a:pt x="365956" y="271625"/>
                  </a:cubicBezTo>
                  <a:cubicBezTo>
                    <a:pt x="361748" y="267050"/>
                    <a:pt x="355670" y="261728"/>
                    <a:pt x="347441" y="257059"/>
                  </a:cubicBezTo>
                  <a:cubicBezTo>
                    <a:pt x="346693" y="256685"/>
                    <a:pt x="346038" y="256312"/>
                    <a:pt x="345290" y="255938"/>
                  </a:cubicBezTo>
                  <a:cubicBezTo>
                    <a:pt x="348937" y="249216"/>
                    <a:pt x="352397" y="241746"/>
                    <a:pt x="355296" y="233715"/>
                  </a:cubicBezTo>
                  <a:lnTo>
                    <a:pt x="316956" y="233715"/>
                  </a:lnTo>
                  <a:lnTo>
                    <a:pt x="316956" y="246881"/>
                  </a:lnTo>
                  <a:cubicBezTo>
                    <a:pt x="313403" y="246414"/>
                    <a:pt x="309662" y="246134"/>
                    <a:pt x="305735" y="246134"/>
                  </a:cubicBezTo>
                  <a:cubicBezTo>
                    <a:pt x="303303" y="246134"/>
                    <a:pt x="300685" y="246228"/>
                    <a:pt x="298067" y="246508"/>
                  </a:cubicBezTo>
                  <a:cubicBezTo>
                    <a:pt x="295822" y="246508"/>
                    <a:pt x="293578" y="246788"/>
                    <a:pt x="291334" y="247161"/>
                  </a:cubicBezTo>
                  <a:lnTo>
                    <a:pt x="291334" y="233529"/>
                  </a:lnTo>
                  <a:lnTo>
                    <a:pt x="253181" y="233529"/>
                  </a:lnTo>
                  <a:cubicBezTo>
                    <a:pt x="256267" y="241932"/>
                    <a:pt x="259727" y="249589"/>
                    <a:pt x="263654" y="256592"/>
                  </a:cubicBezTo>
                  <a:cubicBezTo>
                    <a:pt x="261223" y="257993"/>
                    <a:pt x="258885" y="259487"/>
                    <a:pt x="256548" y="261074"/>
                  </a:cubicBezTo>
                  <a:cubicBezTo>
                    <a:pt x="251498" y="264155"/>
                    <a:pt x="246822" y="267797"/>
                    <a:pt x="242427" y="271812"/>
                  </a:cubicBezTo>
                  <a:cubicBezTo>
                    <a:pt x="236162" y="260701"/>
                    <a:pt x="230458" y="248002"/>
                    <a:pt x="225969" y="233529"/>
                  </a:cubicBezTo>
                  <a:lnTo>
                    <a:pt x="192212" y="233529"/>
                  </a:lnTo>
                  <a:cubicBezTo>
                    <a:pt x="202404" y="252017"/>
                    <a:pt x="217273" y="267704"/>
                    <a:pt x="234946" y="279095"/>
                  </a:cubicBezTo>
                  <a:cubicBezTo>
                    <a:pt x="224380" y="290487"/>
                    <a:pt x="216992" y="303279"/>
                    <a:pt x="213345" y="317192"/>
                  </a:cubicBezTo>
                  <a:cubicBezTo>
                    <a:pt x="164719" y="286939"/>
                    <a:pt x="132177" y="232968"/>
                    <a:pt x="132177" y="171715"/>
                  </a:cubicBezTo>
                  <a:cubicBezTo>
                    <a:pt x="132177" y="76940"/>
                    <a:pt x="209418" y="0"/>
                    <a:pt x="304145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13" name="文本框 12">
            <a:extLst>
              <a:ext uri="{FF2B5EF4-FFF2-40B4-BE49-F238E27FC236}">
                <a16:creationId xmlns:a16="http://schemas.microsoft.com/office/drawing/2014/main" id="{5A897CE5-6418-4BE9-9133-38CB916ACB34}"/>
              </a:ext>
            </a:extLst>
          </p:cNvPr>
          <p:cNvSpPr txBox="1"/>
          <p:nvPr/>
        </p:nvSpPr>
        <p:spPr>
          <a:xfrm>
            <a:off x="5225200" y="1744540"/>
            <a:ext cx="1909025" cy="466491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b="1" i="1" dirty="0">
                <a:cs typeface="+mn-ea"/>
                <a:sym typeface="+mn-lt"/>
              </a:rPr>
              <a:t>…</a:t>
            </a:r>
            <a:r>
              <a:rPr lang="zh-CN" altLang="en-US" b="1" i="1" dirty="0">
                <a:cs typeface="+mn-ea"/>
                <a:sym typeface="+mn-lt"/>
              </a:rPr>
              <a:t>课程 </a:t>
            </a:r>
            <a:r>
              <a:rPr lang="de-DE" altLang="zh-CN" b="1" i="1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de-DE" altLang="zh-CN" b="1" i="1" dirty="0">
                <a:cs typeface="+mn-ea"/>
                <a:sym typeface="+mn-lt"/>
              </a:rPr>
              <a:t>| 20 %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0E45D583-FCBC-4ACE-803C-72C1AF15C7F6}"/>
              </a:ext>
            </a:extLst>
          </p:cNvPr>
          <p:cNvSpPr txBox="1"/>
          <p:nvPr/>
        </p:nvSpPr>
        <p:spPr>
          <a:xfrm>
            <a:off x="7134225" y="1665326"/>
            <a:ext cx="4386263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.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64A452B9-48B1-4872-9AEE-7B44CBD605F9}"/>
              </a:ext>
            </a:extLst>
          </p:cNvPr>
          <p:cNvSpPr txBox="1"/>
          <p:nvPr/>
        </p:nvSpPr>
        <p:spPr>
          <a:xfrm>
            <a:off x="5225200" y="4955114"/>
            <a:ext cx="1909025" cy="466491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b="1" i="1" dirty="0">
                <a:cs typeface="+mn-ea"/>
                <a:sym typeface="+mn-lt"/>
              </a:rPr>
              <a:t>…</a:t>
            </a:r>
            <a:r>
              <a:rPr lang="zh-CN" altLang="en-US" b="1" i="1" dirty="0">
                <a:cs typeface="+mn-ea"/>
                <a:sym typeface="+mn-lt"/>
              </a:rPr>
              <a:t>课程 </a:t>
            </a:r>
            <a:r>
              <a:rPr lang="de-DE" altLang="zh-CN" b="1" i="1" dirty="0">
                <a:solidFill>
                  <a:schemeClr val="accent1"/>
                </a:solidFill>
                <a:cs typeface="+mn-ea"/>
                <a:sym typeface="+mn-lt"/>
              </a:rPr>
              <a:t> </a:t>
            </a:r>
            <a:r>
              <a:rPr lang="de-DE" altLang="zh-CN" b="1" i="1" dirty="0">
                <a:cs typeface="+mn-ea"/>
                <a:sym typeface="+mn-lt"/>
              </a:rPr>
              <a:t>| 30 %</a:t>
            </a: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88C541E-B19D-47D9-AA5E-643FD532E2DF}"/>
              </a:ext>
            </a:extLst>
          </p:cNvPr>
          <p:cNvSpPr txBox="1"/>
          <p:nvPr/>
        </p:nvSpPr>
        <p:spPr>
          <a:xfrm>
            <a:off x="7134225" y="4875900"/>
            <a:ext cx="4386263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.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5C8419C7-0716-4603-8185-ACCD1996BDAF}"/>
              </a:ext>
            </a:extLst>
          </p:cNvPr>
          <p:cNvSpPr txBox="1"/>
          <p:nvPr/>
        </p:nvSpPr>
        <p:spPr>
          <a:xfrm>
            <a:off x="5653630" y="3307921"/>
            <a:ext cx="1594895" cy="466491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 fontScale="925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 defTabSz="913765">
              <a:buSzPct val="25000"/>
              <a:defRPr/>
            </a:pPr>
            <a:r>
              <a:rPr lang="en-US" altLang="zh-CN" b="1" i="1" dirty="0">
                <a:solidFill>
                  <a:schemeClr val="accent1"/>
                </a:solidFill>
                <a:cs typeface="+mn-ea"/>
                <a:sym typeface="+mn-lt"/>
              </a:rPr>
              <a:t>…</a:t>
            </a:r>
            <a:r>
              <a:rPr lang="zh-CN" altLang="en-US" b="1" i="1" dirty="0">
                <a:solidFill>
                  <a:schemeClr val="accent1"/>
                </a:solidFill>
                <a:cs typeface="+mn-ea"/>
                <a:sym typeface="+mn-lt"/>
              </a:rPr>
              <a:t>课程 </a:t>
            </a:r>
            <a:r>
              <a:rPr lang="de-DE" altLang="zh-CN" b="1" i="1" dirty="0">
                <a:solidFill>
                  <a:schemeClr val="accent1"/>
                </a:solidFill>
                <a:cs typeface="+mn-ea"/>
                <a:sym typeface="+mn-lt"/>
              </a:rPr>
              <a:t> | 50 %</a:t>
            </a: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C97785A4-03D5-4CF5-86A1-AC008B17638A}"/>
              </a:ext>
            </a:extLst>
          </p:cNvPr>
          <p:cNvSpPr txBox="1"/>
          <p:nvPr/>
        </p:nvSpPr>
        <p:spPr>
          <a:xfrm>
            <a:off x="7248525" y="3228707"/>
            <a:ext cx="4271963" cy="6249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/>
          <a:p>
            <a:pPr marL="171450" marR="0" lvl="0" indent="-171450" algn="l" defTabSz="913765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Copy paste fonts. Choose the only option to retain text.…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+mn-ea"/>
                <a:sym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060350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6000" dirty="0">
                <a:latin typeface="+mn-lt"/>
                <a:ea typeface="+mn-ea"/>
                <a:cs typeface="+mn-ea"/>
                <a:sym typeface="+mn-lt"/>
              </a:rPr>
              <a:t>Thanks</a:t>
            </a:r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！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XXX</a:t>
            </a:r>
            <a:r>
              <a:rPr lang="zh-CN" altLang="en-US" dirty="0">
                <a:cs typeface="+mn-ea"/>
                <a:sym typeface="+mn-lt"/>
              </a:rPr>
              <a:t>第三中学</a:t>
            </a:r>
            <a:endParaRPr lang="en-US" altLang="zh-CN" dirty="0"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1F28FF2D-4854-4E68-AB41-AA5A4F3B05E8}"/>
              </a:ext>
            </a:extLst>
          </p:cNvPr>
          <p:cNvSpPr/>
          <p:nvPr/>
        </p:nvSpPr>
        <p:spPr>
          <a:xfrm>
            <a:off x="728453" y="663619"/>
            <a:ext cx="15696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b="1" dirty="0">
                <a:solidFill>
                  <a:schemeClr val="bg1"/>
                </a:solidFill>
                <a:cs typeface="+mn-ea"/>
                <a:sym typeface="+mn-lt"/>
              </a:rPr>
              <a:t>LOGO HERE</a:t>
            </a:r>
            <a:endParaRPr lang="zh-CN" altLang="en-US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" name="组合 9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67B1BA8-96C2-4D05-B6D7-7EB98A3C4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39996" y="1969191"/>
            <a:ext cx="9026005" cy="3498156"/>
            <a:chOff x="1839996" y="1969191"/>
            <a:chExt cx="9026005" cy="3498156"/>
          </a:xfrm>
        </p:grpSpPr>
        <p:sp>
          <p:nvSpPr>
            <p:cNvPr id="93" name="矩形: 圆角 92">
              <a:extLst>
                <a:ext uri="{FF2B5EF4-FFF2-40B4-BE49-F238E27FC236}">
                  <a16:creationId xmlns:a16="http://schemas.microsoft.com/office/drawing/2014/main" id="{93AB3BB1-6862-4295-938A-F249799A5F30}"/>
                </a:ext>
              </a:extLst>
            </p:cNvPr>
            <p:cNvSpPr/>
            <p:nvPr/>
          </p:nvSpPr>
          <p:spPr bwMode="auto">
            <a:xfrm>
              <a:off x="6319557" y="2214162"/>
              <a:ext cx="4546444" cy="414293"/>
            </a:xfrm>
            <a:prstGeom prst="round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400" b="1" dirty="0">
                  <a:cs typeface="+mn-ea"/>
                  <a:sym typeface="+mn-lt"/>
                </a:rPr>
                <a:t>课程介绍</a:t>
              </a:r>
              <a:endParaRPr lang="en-US" altLang="zh-CN" sz="1400" b="1" dirty="0">
                <a:cs typeface="+mn-ea"/>
                <a:sym typeface="+mn-lt"/>
              </a:endParaRPr>
            </a:p>
          </p:txBody>
        </p:sp>
        <p:sp>
          <p:nvSpPr>
            <p:cNvPr id="94" name="梯形 93">
              <a:extLst>
                <a:ext uri="{FF2B5EF4-FFF2-40B4-BE49-F238E27FC236}">
                  <a16:creationId xmlns:a16="http://schemas.microsoft.com/office/drawing/2014/main" id="{89914F9A-A70D-45F2-919F-84503C84E344}"/>
                </a:ext>
              </a:extLst>
            </p:cNvPr>
            <p:cNvSpPr/>
            <p:nvPr/>
          </p:nvSpPr>
          <p:spPr bwMode="auto">
            <a:xfrm flipV="1">
              <a:off x="6512894" y="2628457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梯形 94">
              <a:extLst>
                <a:ext uri="{FF2B5EF4-FFF2-40B4-BE49-F238E27FC236}">
                  <a16:creationId xmlns:a16="http://schemas.microsoft.com/office/drawing/2014/main" id="{CE9C77B6-6FF9-42B6-B995-2A2CCD0BE10E}"/>
                </a:ext>
              </a:extLst>
            </p:cNvPr>
            <p:cNvSpPr/>
            <p:nvPr/>
          </p:nvSpPr>
          <p:spPr bwMode="auto">
            <a:xfrm>
              <a:off x="6512894" y="2145114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矩形 95">
              <a:extLst>
                <a:ext uri="{FF2B5EF4-FFF2-40B4-BE49-F238E27FC236}">
                  <a16:creationId xmlns:a16="http://schemas.microsoft.com/office/drawing/2014/main" id="{5457B7B4-CF38-46AE-9248-9B4D437A38FB}"/>
                </a:ext>
              </a:extLst>
            </p:cNvPr>
            <p:cNvSpPr/>
            <p:nvPr/>
          </p:nvSpPr>
          <p:spPr bwMode="auto">
            <a:xfrm>
              <a:off x="6623372" y="2145114"/>
              <a:ext cx="552390" cy="5523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000" dirty="0">
                  <a:solidFill>
                    <a:schemeClr val="accent1"/>
                  </a:solidFill>
                  <a:cs typeface="+mn-ea"/>
                  <a:sym typeface="+mn-lt"/>
                </a:rPr>
                <a:t>01</a:t>
              </a:r>
            </a:p>
          </p:txBody>
        </p:sp>
        <p:sp>
          <p:nvSpPr>
            <p:cNvPr id="97" name="矩形: 圆角 96">
              <a:extLst>
                <a:ext uri="{FF2B5EF4-FFF2-40B4-BE49-F238E27FC236}">
                  <a16:creationId xmlns:a16="http://schemas.microsoft.com/office/drawing/2014/main" id="{F059F363-9BE5-4F2E-A8AE-725B76EDB60C}"/>
                </a:ext>
              </a:extLst>
            </p:cNvPr>
            <p:cNvSpPr/>
            <p:nvPr/>
          </p:nvSpPr>
          <p:spPr bwMode="auto">
            <a:xfrm>
              <a:off x="6319557" y="3025655"/>
              <a:ext cx="4546444" cy="414293"/>
            </a:xfrm>
            <a:prstGeom prst="round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400" b="1" dirty="0">
                  <a:cs typeface="+mn-ea"/>
                  <a:sym typeface="+mn-lt"/>
                </a:rPr>
                <a:t>课程要点</a:t>
              </a:r>
              <a:endParaRPr lang="en-US" altLang="zh-CN" sz="1400" b="1" dirty="0">
                <a:cs typeface="+mn-ea"/>
                <a:sym typeface="+mn-lt"/>
              </a:endParaRPr>
            </a:p>
          </p:txBody>
        </p:sp>
        <p:sp>
          <p:nvSpPr>
            <p:cNvPr id="98" name="梯形 97">
              <a:extLst>
                <a:ext uri="{FF2B5EF4-FFF2-40B4-BE49-F238E27FC236}">
                  <a16:creationId xmlns:a16="http://schemas.microsoft.com/office/drawing/2014/main" id="{07DBE18B-9A86-42AD-8387-52CE371CDFE1}"/>
                </a:ext>
              </a:extLst>
            </p:cNvPr>
            <p:cNvSpPr/>
            <p:nvPr/>
          </p:nvSpPr>
          <p:spPr bwMode="auto">
            <a:xfrm flipV="1">
              <a:off x="6512894" y="3439950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梯形 98">
              <a:extLst>
                <a:ext uri="{FF2B5EF4-FFF2-40B4-BE49-F238E27FC236}">
                  <a16:creationId xmlns:a16="http://schemas.microsoft.com/office/drawing/2014/main" id="{15B3B1AA-C692-4B35-A7F6-FC7472E4A6FA}"/>
                </a:ext>
              </a:extLst>
            </p:cNvPr>
            <p:cNvSpPr/>
            <p:nvPr/>
          </p:nvSpPr>
          <p:spPr bwMode="auto">
            <a:xfrm>
              <a:off x="6512894" y="2956607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矩形 99">
              <a:extLst>
                <a:ext uri="{FF2B5EF4-FFF2-40B4-BE49-F238E27FC236}">
                  <a16:creationId xmlns:a16="http://schemas.microsoft.com/office/drawing/2014/main" id="{2E315ACF-741B-4677-BF95-FDBC87360852}"/>
                </a:ext>
              </a:extLst>
            </p:cNvPr>
            <p:cNvSpPr/>
            <p:nvPr/>
          </p:nvSpPr>
          <p:spPr bwMode="auto">
            <a:xfrm>
              <a:off x="6623372" y="2956607"/>
              <a:ext cx="552390" cy="5523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000">
                  <a:solidFill>
                    <a:schemeClr val="accent1"/>
                  </a:solidFill>
                  <a:cs typeface="+mn-ea"/>
                  <a:sym typeface="+mn-lt"/>
                </a:rPr>
                <a:t>02</a:t>
              </a:r>
            </a:p>
          </p:txBody>
        </p:sp>
        <p:sp>
          <p:nvSpPr>
            <p:cNvPr id="101" name="矩形: 圆角 100">
              <a:extLst>
                <a:ext uri="{FF2B5EF4-FFF2-40B4-BE49-F238E27FC236}">
                  <a16:creationId xmlns:a16="http://schemas.microsoft.com/office/drawing/2014/main" id="{4B5AA7F0-C144-43BB-B296-B7B6AA2E3545}"/>
                </a:ext>
              </a:extLst>
            </p:cNvPr>
            <p:cNvSpPr/>
            <p:nvPr/>
          </p:nvSpPr>
          <p:spPr bwMode="auto">
            <a:xfrm>
              <a:off x="6319557" y="3837149"/>
              <a:ext cx="4546444" cy="414293"/>
            </a:xfrm>
            <a:prstGeom prst="round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400" b="1" dirty="0">
                  <a:cs typeface="+mn-ea"/>
                  <a:sym typeface="+mn-lt"/>
                </a:rPr>
                <a:t>课程亮点</a:t>
              </a:r>
              <a:endParaRPr lang="en-US" altLang="zh-CN" sz="1400" b="1" dirty="0">
                <a:cs typeface="+mn-ea"/>
                <a:sym typeface="+mn-lt"/>
              </a:endParaRPr>
            </a:p>
          </p:txBody>
        </p:sp>
        <p:sp>
          <p:nvSpPr>
            <p:cNvPr id="102" name="梯形 101">
              <a:extLst>
                <a:ext uri="{FF2B5EF4-FFF2-40B4-BE49-F238E27FC236}">
                  <a16:creationId xmlns:a16="http://schemas.microsoft.com/office/drawing/2014/main" id="{A42F85F7-C10C-43F2-8E1C-0D803481EEB6}"/>
                </a:ext>
              </a:extLst>
            </p:cNvPr>
            <p:cNvSpPr/>
            <p:nvPr/>
          </p:nvSpPr>
          <p:spPr bwMode="auto">
            <a:xfrm flipV="1">
              <a:off x="6512894" y="4251444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梯形 102">
              <a:extLst>
                <a:ext uri="{FF2B5EF4-FFF2-40B4-BE49-F238E27FC236}">
                  <a16:creationId xmlns:a16="http://schemas.microsoft.com/office/drawing/2014/main" id="{370BE7A8-C210-4AAB-9E50-EC05D28D5CA5}"/>
                </a:ext>
              </a:extLst>
            </p:cNvPr>
            <p:cNvSpPr/>
            <p:nvPr/>
          </p:nvSpPr>
          <p:spPr bwMode="auto">
            <a:xfrm>
              <a:off x="6512894" y="3768101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矩形 103">
              <a:extLst>
                <a:ext uri="{FF2B5EF4-FFF2-40B4-BE49-F238E27FC236}">
                  <a16:creationId xmlns:a16="http://schemas.microsoft.com/office/drawing/2014/main" id="{4F6BB47B-69BF-4C5A-985D-B60A1F916361}"/>
                </a:ext>
              </a:extLst>
            </p:cNvPr>
            <p:cNvSpPr/>
            <p:nvPr/>
          </p:nvSpPr>
          <p:spPr bwMode="auto">
            <a:xfrm>
              <a:off x="6623372" y="3768101"/>
              <a:ext cx="552390" cy="5523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000" dirty="0">
                  <a:solidFill>
                    <a:schemeClr val="accent1"/>
                  </a:solidFill>
                  <a:cs typeface="+mn-ea"/>
                  <a:sym typeface="+mn-lt"/>
                </a:rPr>
                <a:t>03</a:t>
              </a:r>
            </a:p>
          </p:txBody>
        </p:sp>
        <p:sp>
          <p:nvSpPr>
            <p:cNvPr id="105" name="矩形: 圆角 104">
              <a:extLst>
                <a:ext uri="{FF2B5EF4-FFF2-40B4-BE49-F238E27FC236}">
                  <a16:creationId xmlns:a16="http://schemas.microsoft.com/office/drawing/2014/main" id="{7AE835E3-31DC-4923-A67E-B1549E11682C}"/>
                </a:ext>
              </a:extLst>
            </p:cNvPr>
            <p:cNvSpPr/>
            <p:nvPr/>
          </p:nvSpPr>
          <p:spPr bwMode="auto">
            <a:xfrm>
              <a:off x="6319557" y="4648641"/>
              <a:ext cx="4546444" cy="414293"/>
            </a:xfrm>
            <a:prstGeom prst="roundRect">
              <a:avLst/>
            </a:prstGeom>
            <a:noFill/>
            <a:ln w="9525">
              <a:solidFill>
                <a:schemeClr val="bg1">
                  <a:lumMod val="75000"/>
                </a:schemeClr>
              </a:solidFill>
              <a:round/>
            </a:ln>
          </p:spPr>
          <p:txBody>
            <a:bodyPr rot="0" spcFirstLastPara="0" vert="horz" wrap="square" lIns="91440" tIns="45720" rIns="91440" bIns="45720" anchor="ctr" anchorCtr="0" forceAA="0" compatLnSpc="1">
              <a:norm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1400" b="1" dirty="0">
                  <a:cs typeface="+mn-ea"/>
                  <a:sym typeface="+mn-lt"/>
                </a:rPr>
                <a:t>课程总结</a:t>
              </a:r>
              <a:endParaRPr lang="en-US" altLang="zh-CN" sz="1400" b="1" dirty="0">
                <a:cs typeface="+mn-ea"/>
                <a:sym typeface="+mn-lt"/>
              </a:endParaRPr>
            </a:p>
          </p:txBody>
        </p:sp>
        <p:sp>
          <p:nvSpPr>
            <p:cNvPr id="106" name="梯形 105">
              <a:extLst>
                <a:ext uri="{FF2B5EF4-FFF2-40B4-BE49-F238E27FC236}">
                  <a16:creationId xmlns:a16="http://schemas.microsoft.com/office/drawing/2014/main" id="{8587B48B-C90B-468E-BBC9-3D5A05C4508A}"/>
                </a:ext>
              </a:extLst>
            </p:cNvPr>
            <p:cNvSpPr/>
            <p:nvPr/>
          </p:nvSpPr>
          <p:spPr bwMode="auto">
            <a:xfrm flipV="1">
              <a:off x="6512894" y="5062937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梯形 106">
              <a:extLst>
                <a:ext uri="{FF2B5EF4-FFF2-40B4-BE49-F238E27FC236}">
                  <a16:creationId xmlns:a16="http://schemas.microsoft.com/office/drawing/2014/main" id="{1D26B283-D946-4551-935A-7789371B5F97}"/>
                </a:ext>
              </a:extLst>
            </p:cNvPr>
            <p:cNvSpPr/>
            <p:nvPr/>
          </p:nvSpPr>
          <p:spPr bwMode="auto">
            <a:xfrm>
              <a:off x="6512894" y="4579594"/>
              <a:ext cx="773346" cy="69049"/>
            </a:xfrm>
            <a:prstGeom prst="trapezoid">
              <a:avLst>
                <a:gd name="adj" fmla="val 154634"/>
              </a:avLst>
            </a:prstGeom>
            <a:solidFill>
              <a:schemeClr val="bg1">
                <a:lumMod val="65000"/>
              </a:schemeClr>
            </a:solidFill>
            <a:ln w="19050">
              <a:noFill/>
              <a:round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矩形 107">
              <a:extLst>
                <a:ext uri="{FF2B5EF4-FFF2-40B4-BE49-F238E27FC236}">
                  <a16:creationId xmlns:a16="http://schemas.microsoft.com/office/drawing/2014/main" id="{CA294CD2-F836-4E17-A1B3-44F027FE7189}"/>
                </a:ext>
              </a:extLst>
            </p:cNvPr>
            <p:cNvSpPr/>
            <p:nvPr/>
          </p:nvSpPr>
          <p:spPr bwMode="auto">
            <a:xfrm>
              <a:off x="6623372" y="4579594"/>
              <a:ext cx="552390" cy="5523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noFill/>
              <a:round/>
            </a:ln>
          </p:spPr>
          <p:txBody>
            <a:bodyPr rot="0" spcFirstLastPara="0" vert="horz" wrap="square" lIns="91440" tIns="45720" rIns="91440" bIns="45720" anchor="ctr" anchorCtr="1" forceAA="0" compatLnSpc="1">
              <a:normAutofit/>
            </a:bodyPr>
            <a:lstStyle/>
            <a:p>
              <a:pPr algn="ctr"/>
              <a:r>
                <a:rPr lang="en-US" altLang="zh-CN" sz="2000" dirty="0">
                  <a:solidFill>
                    <a:schemeClr val="accent1"/>
                  </a:solidFill>
                  <a:cs typeface="+mn-ea"/>
                  <a:sym typeface="+mn-lt"/>
                </a:rPr>
                <a:t>04</a:t>
              </a: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2041ED69-55E8-4844-BDC2-26210E1BF0EC}"/>
                </a:ext>
              </a:extLst>
            </p:cNvPr>
            <p:cNvSpPr/>
            <p:nvPr/>
          </p:nvSpPr>
          <p:spPr bwMode="auto">
            <a:xfrm>
              <a:off x="3077558" y="2384881"/>
              <a:ext cx="903494" cy="3082466"/>
            </a:xfrm>
            <a:custGeom>
              <a:avLst/>
              <a:gdLst>
                <a:gd name="T0" fmla="*/ 1764 w 4053"/>
                <a:gd name="T1" fmla="*/ 0 h 16197"/>
                <a:gd name="T2" fmla="*/ 2323 w 4053"/>
                <a:gd name="T3" fmla="*/ 0 h 16197"/>
                <a:gd name="T4" fmla="*/ 2323 w 4053"/>
                <a:gd name="T5" fmla="*/ 892 h 16197"/>
                <a:gd name="T6" fmla="*/ 1764 w 4053"/>
                <a:gd name="T7" fmla="*/ 892 h 16197"/>
                <a:gd name="T8" fmla="*/ 1764 w 4053"/>
                <a:gd name="T9" fmla="*/ 0 h 16197"/>
                <a:gd name="T10" fmla="*/ 1831 w 4053"/>
                <a:gd name="T11" fmla="*/ 11317 h 16197"/>
                <a:gd name="T12" fmla="*/ 2256 w 4053"/>
                <a:gd name="T13" fmla="*/ 11317 h 16197"/>
                <a:gd name="T14" fmla="*/ 2256 w 4053"/>
                <a:gd name="T15" fmla="*/ 13709 h 16197"/>
                <a:gd name="T16" fmla="*/ 4053 w 4053"/>
                <a:gd name="T17" fmla="*/ 15988 h 16197"/>
                <a:gd name="T18" fmla="*/ 3787 w 4053"/>
                <a:gd name="T19" fmla="*/ 16197 h 16197"/>
                <a:gd name="T20" fmla="*/ 2256 w 4053"/>
                <a:gd name="T21" fmla="*/ 14256 h 16197"/>
                <a:gd name="T22" fmla="*/ 2256 w 4053"/>
                <a:gd name="T23" fmla="*/ 16151 h 16197"/>
                <a:gd name="T24" fmla="*/ 1831 w 4053"/>
                <a:gd name="T25" fmla="*/ 16151 h 16197"/>
                <a:gd name="T26" fmla="*/ 1831 w 4053"/>
                <a:gd name="T27" fmla="*/ 14215 h 16197"/>
                <a:gd name="T28" fmla="*/ 266 w 4053"/>
                <a:gd name="T29" fmla="*/ 16197 h 16197"/>
                <a:gd name="T30" fmla="*/ 0 w 4053"/>
                <a:gd name="T31" fmla="*/ 15988 h 16197"/>
                <a:gd name="T32" fmla="*/ 1831 w 4053"/>
                <a:gd name="T33" fmla="*/ 13668 h 16197"/>
                <a:gd name="T34" fmla="*/ 1831 w 4053"/>
                <a:gd name="T35" fmla="*/ 11317 h 16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053" h="16197">
                  <a:moveTo>
                    <a:pt x="1764" y="0"/>
                  </a:moveTo>
                  <a:lnTo>
                    <a:pt x="2323" y="0"/>
                  </a:lnTo>
                  <a:lnTo>
                    <a:pt x="2323" y="892"/>
                  </a:lnTo>
                  <a:lnTo>
                    <a:pt x="1764" y="892"/>
                  </a:lnTo>
                  <a:lnTo>
                    <a:pt x="1764" y="0"/>
                  </a:lnTo>
                  <a:close/>
                  <a:moveTo>
                    <a:pt x="1831" y="11317"/>
                  </a:moveTo>
                  <a:lnTo>
                    <a:pt x="2256" y="11317"/>
                  </a:lnTo>
                  <a:lnTo>
                    <a:pt x="2256" y="13709"/>
                  </a:lnTo>
                  <a:lnTo>
                    <a:pt x="4053" y="15988"/>
                  </a:lnTo>
                  <a:lnTo>
                    <a:pt x="3787" y="16197"/>
                  </a:lnTo>
                  <a:lnTo>
                    <a:pt x="2256" y="14256"/>
                  </a:lnTo>
                  <a:lnTo>
                    <a:pt x="2256" y="16151"/>
                  </a:lnTo>
                  <a:lnTo>
                    <a:pt x="1831" y="16151"/>
                  </a:lnTo>
                  <a:lnTo>
                    <a:pt x="1831" y="14215"/>
                  </a:lnTo>
                  <a:lnTo>
                    <a:pt x="266" y="16197"/>
                  </a:lnTo>
                  <a:lnTo>
                    <a:pt x="0" y="15988"/>
                  </a:lnTo>
                  <a:lnTo>
                    <a:pt x="1831" y="13668"/>
                  </a:lnTo>
                  <a:lnTo>
                    <a:pt x="1831" y="11317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54273F76-2F7B-4028-90F1-82E7EF6663F2}"/>
                </a:ext>
              </a:extLst>
            </p:cNvPr>
            <p:cNvSpPr/>
            <p:nvPr/>
          </p:nvSpPr>
          <p:spPr bwMode="auto">
            <a:xfrm>
              <a:off x="1839996" y="2471816"/>
              <a:ext cx="3378619" cy="2325660"/>
            </a:xfrm>
            <a:custGeom>
              <a:avLst/>
              <a:gdLst>
                <a:gd name="T0" fmla="*/ 233 w 15146"/>
                <a:gd name="T1" fmla="*/ 466 h 10425"/>
                <a:gd name="T2" fmla="*/ 186 w 15146"/>
                <a:gd name="T3" fmla="*/ 460 h 10425"/>
                <a:gd name="T4" fmla="*/ 142 w 15146"/>
                <a:gd name="T5" fmla="*/ 447 h 10425"/>
                <a:gd name="T6" fmla="*/ 68 w 15146"/>
                <a:gd name="T7" fmla="*/ 397 h 10425"/>
                <a:gd name="T8" fmla="*/ 19 w 15146"/>
                <a:gd name="T9" fmla="*/ 323 h 10425"/>
                <a:gd name="T10" fmla="*/ 5 w 15146"/>
                <a:gd name="T11" fmla="*/ 279 h 10425"/>
                <a:gd name="T12" fmla="*/ 0 w 15146"/>
                <a:gd name="T13" fmla="*/ 233 h 10425"/>
                <a:gd name="T14" fmla="*/ 3 w 15146"/>
                <a:gd name="T15" fmla="*/ 197 h 10425"/>
                <a:gd name="T16" fmla="*/ 15 w 15146"/>
                <a:gd name="T17" fmla="*/ 154 h 10425"/>
                <a:gd name="T18" fmla="*/ 54 w 15146"/>
                <a:gd name="T19" fmla="*/ 85 h 10425"/>
                <a:gd name="T20" fmla="*/ 123 w 15146"/>
                <a:gd name="T21" fmla="*/ 28 h 10425"/>
                <a:gd name="T22" fmla="*/ 175 w 15146"/>
                <a:gd name="T23" fmla="*/ 8 h 10425"/>
                <a:gd name="T24" fmla="*/ 221 w 15146"/>
                <a:gd name="T25" fmla="*/ 1 h 10425"/>
                <a:gd name="T26" fmla="*/ 14938 w 15146"/>
                <a:gd name="T27" fmla="*/ 2 h 10425"/>
                <a:gd name="T28" fmla="*/ 14983 w 15146"/>
                <a:gd name="T29" fmla="*/ 11 h 10425"/>
                <a:gd name="T30" fmla="*/ 15044 w 15146"/>
                <a:gd name="T31" fmla="*/ 40 h 10425"/>
                <a:gd name="T32" fmla="*/ 15106 w 15146"/>
                <a:gd name="T33" fmla="*/ 104 h 10425"/>
                <a:gd name="T34" fmla="*/ 15135 w 15146"/>
                <a:gd name="T35" fmla="*/ 164 h 10425"/>
                <a:gd name="T36" fmla="*/ 15145 w 15146"/>
                <a:gd name="T37" fmla="*/ 209 h 10425"/>
                <a:gd name="T38" fmla="*/ 15146 w 15146"/>
                <a:gd name="T39" fmla="*/ 245 h 10425"/>
                <a:gd name="T40" fmla="*/ 15138 w 15146"/>
                <a:gd name="T41" fmla="*/ 291 h 10425"/>
                <a:gd name="T42" fmla="*/ 15118 w 15146"/>
                <a:gd name="T43" fmla="*/ 343 h 10425"/>
                <a:gd name="T44" fmla="*/ 15061 w 15146"/>
                <a:gd name="T45" fmla="*/ 412 h 10425"/>
                <a:gd name="T46" fmla="*/ 14993 w 15146"/>
                <a:gd name="T47" fmla="*/ 451 h 10425"/>
                <a:gd name="T48" fmla="*/ 14949 w 15146"/>
                <a:gd name="T49" fmla="*/ 462 h 10425"/>
                <a:gd name="T50" fmla="*/ 14729 w 15146"/>
                <a:gd name="T51" fmla="*/ 466 h 10425"/>
                <a:gd name="T52" fmla="*/ 14938 w 15146"/>
                <a:gd name="T53" fmla="*/ 9960 h 10425"/>
                <a:gd name="T54" fmla="*/ 14983 w 15146"/>
                <a:gd name="T55" fmla="*/ 9970 h 10425"/>
                <a:gd name="T56" fmla="*/ 15044 w 15146"/>
                <a:gd name="T57" fmla="*/ 9999 h 10425"/>
                <a:gd name="T58" fmla="*/ 15106 w 15146"/>
                <a:gd name="T59" fmla="*/ 10062 h 10425"/>
                <a:gd name="T60" fmla="*/ 15135 w 15146"/>
                <a:gd name="T61" fmla="*/ 10123 h 10425"/>
                <a:gd name="T62" fmla="*/ 15145 w 15146"/>
                <a:gd name="T63" fmla="*/ 10168 h 10425"/>
                <a:gd name="T64" fmla="*/ 15146 w 15146"/>
                <a:gd name="T65" fmla="*/ 10203 h 10425"/>
                <a:gd name="T66" fmla="*/ 15138 w 15146"/>
                <a:gd name="T67" fmla="*/ 10249 h 10425"/>
                <a:gd name="T68" fmla="*/ 15118 w 15146"/>
                <a:gd name="T69" fmla="*/ 10303 h 10425"/>
                <a:gd name="T70" fmla="*/ 15061 w 15146"/>
                <a:gd name="T71" fmla="*/ 10371 h 10425"/>
                <a:gd name="T72" fmla="*/ 14993 w 15146"/>
                <a:gd name="T73" fmla="*/ 10410 h 10425"/>
                <a:gd name="T74" fmla="*/ 14949 w 15146"/>
                <a:gd name="T75" fmla="*/ 10421 h 10425"/>
                <a:gd name="T76" fmla="*/ 233 w 15146"/>
                <a:gd name="T77" fmla="*/ 10425 h 10425"/>
                <a:gd name="T78" fmla="*/ 186 w 15146"/>
                <a:gd name="T79" fmla="*/ 10419 h 10425"/>
                <a:gd name="T80" fmla="*/ 142 w 15146"/>
                <a:gd name="T81" fmla="*/ 10406 h 10425"/>
                <a:gd name="T82" fmla="*/ 68 w 15146"/>
                <a:gd name="T83" fmla="*/ 10356 h 10425"/>
                <a:gd name="T84" fmla="*/ 19 w 15146"/>
                <a:gd name="T85" fmla="*/ 10282 h 10425"/>
                <a:gd name="T86" fmla="*/ 5 w 15146"/>
                <a:gd name="T87" fmla="*/ 10238 h 10425"/>
                <a:gd name="T88" fmla="*/ 0 w 15146"/>
                <a:gd name="T89" fmla="*/ 10191 h 10425"/>
                <a:gd name="T90" fmla="*/ 3 w 15146"/>
                <a:gd name="T91" fmla="*/ 10156 h 10425"/>
                <a:gd name="T92" fmla="*/ 15 w 15146"/>
                <a:gd name="T93" fmla="*/ 10112 h 10425"/>
                <a:gd name="T94" fmla="*/ 54 w 15146"/>
                <a:gd name="T95" fmla="*/ 10044 h 10425"/>
                <a:gd name="T96" fmla="*/ 123 w 15146"/>
                <a:gd name="T97" fmla="*/ 9987 h 10425"/>
                <a:gd name="T98" fmla="*/ 175 w 15146"/>
                <a:gd name="T99" fmla="*/ 9967 h 10425"/>
                <a:gd name="T100" fmla="*/ 221 w 15146"/>
                <a:gd name="T101" fmla="*/ 9959 h 10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146" h="10425">
                  <a:moveTo>
                    <a:pt x="233" y="9959"/>
                  </a:moveTo>
                  <a:lnTo>
                    <a:pt x="418" y="9959"/>
                  </a:lnTo>
                  <a:lnTo>
                    <a:pt x="418" y="466"/>
                  </a:lnTo>
                  <a:lnTo>
                    <a:pt x="233" y="466"/>
                  </a:lnTo>
                  <a:lnTo>
                    <a:pt x="221" y="466"/>
                  </a:lnTo>
                  <a:lnTo>
                    <a:pt x="209" y="465"/>
                  </a:lnTo>
                  <a:lnTo>
                    <a:pt x="198" y="462"/>
                  </a:lnTo>
                  <a:lnTo>
                    <a:pt x="186" y="460"/>
                  </a:lnTo>
                  <a:lnTo>
                    <a:pt x="175" y="458"/>
                  </a:lnTo>
                  <a:lnTo>
                    <a:pt x="164" y="455"/>
                  </a:lnTo>
                  <a:lnTo>
                    <a:pt x="153" y="451"/>
                  </a:lnTo>
                  <a:lnTo>
                    <a:pt x="142" y="447"/>
                  </a:lnTo>
                  <a:lnTo>
                    <a:pt x="123" y="437"/>
                  </a:lnTo>
                  <a:lnTo>
                    <a:pt x="103" y="425"/>
                  </a:lnTo>
                  <a:lnTo>
                    <a:pt x="85" y="412"/>
                  </a:lnTo>
                  <a:lnTo>
                    <a:pt x="68" y="397"/>
                  </a:lnTo>
                  <a:lnTo>
                    <a:pt x="54" y="381"/>
                  </a:lnTo>
                  <a:lnTo>
                    <a:pt x="40" y="363"/>
                  </a:lnTo>
                  <a:lnTo>
                    <a:pt x="29" y="343"/>
                  </a:lnTo>
                  <a:lnTo>
                    <a:pt x="19" y="323"/>
                  </a:lnTo>
                  <a:lnTo>
                    <a:pt x="15" y="313"/>
                  </a:lnTo>
                  <a:lnTo>
                    <a:pt x="10" y="302"/>
                  </a:lnTo>
                  <a:lnTo>
                    <a:pt x="8" y="291"/>
                  </a:lnTo>
                  <a:lnTo>
                    <a:pt x="5" y="279"/>
                  </a:lnTo>
                  <a:lnTo>
                    <a:pt x="3" y="268"/>
                  </a:lnTo>
                  <a:lnTo>
                    <a:pt x="2" y="256"/>
                  </a:lnTo>
                  <a:lnTo>
                    <a:pt x="0" y="245"/>
                  </a:lnTo>
                  <a:lnTo>
                    <a:pt x="0" y="233"/>
                  </a:lnTo>
                  <a:lnTo>
                    <a:pt x="0" y="233"/>
                  </a:lnTo>
                  <a:lnTo>
                    <a:pt x="0" y="221"/>
                  </a:lnTo>
                  <a:lnTo>
                    <a:pt x="2" y="209"/>
                  </a:lnTo>
                  <a:lnTo>
                    <a:pt x="3" y="197"/>
                  </a:lnTo>
                  <a:lnTo>
                    <a:pt x="5" y="186"/>
                  </a:lnTo>
                  <a:lnTo>
                    <a:pt x="8" y="174"/>
                  </a:lnTo>
                  <a:lnTo>
                    <a:pt x="10" y="164"/>
                  </a:lnTo>
                  <a:lnTo>
                    <a:pt x="15" y="154"/>
                  </a:lnTo>
                  <a:lnTo>
                    <a:pt x="19" y="143"/>
                  </a:lnTo>
                  <a:lnTo>
                    <a:pt x="29" y="122"/>
                  </a:lnTo>
                  <a:lnTo>
                    <a:pt x="40" y="104"/>
                  </a:lnTo>
                  <a:lnTo>
                    <a:pt x="54" y="85"/>
                  </a:lnTo>
                  <a:lnTo>
                    <a:pt x="68" y="69"/>
                  </a:lnTo>
                  <a:lnTo>
                    <a:pt x="85" y="53"/>
                  </a:lnTo>
                  <a:lnTo>
                    <a:pt x="103" y="40"/>
                  </a:lnTo>
                  <a:lnTo>
                    <a:pt x="123" y="28"/>
                  </a:lnTo>
                  <a:lnTo>
                    <a:pt x="142" y="19"/>
                  </a:lnTo>
                  <a:lnTo>
                    <a:pt x="153" y="14"/>
                  </a:lnTo>
                  <a:lnTo>
                    <a:pt x="164" y="11"/>
                  </a:lnTo>
                  <a:lnTo>
                    <a:pt x="175" y="8"/>
                  </a:lnTo>
                  <a:lnTo>
                    <a:pt x="186" y="5"/>
                  </a:lnTo>
                  <a:lnTo>
                    <a:pt x="198" y="3"/>
                  </a:lnTo>
                  <a:lnTo>
                    <a:pt x="209" y="2"/>
                  </a:lnTo>
                  <a:lnTo>
                    <a:pt x="221" y="1"/>
                  </a:lnTo>
                  <a:lnTo>
                    <a:pt x="233" y="0"/>
                  </a:lnTo>
                  <a:lnTo>
                    <a:pt x="14914" y="0"/>
                  </a:lnTo>
                  <a:lnTo>
                    <a:pt x="14926" y="1"/>
                  </a:lnTo>
                  <a:lnTo>
                    <a:pt x="14938" y="2"/>
                  </a:lnTo>
                  <a:lnTo>
                    <a:pt x="14949" y="3"/>
                  </a:lnTo>
                  <a:lnTo>
                    <a:pt x="14961" y="5"/>
                  </a:lnTo>
                  <a:lnTo>
                    <a:pt x="14972" y="8"/>
                  </a:lnTo>
                  <a:lnTo>
                    <a:pt x="14983" y="11"/>
                  </a:lnTo>
                  <a:lnTo>
                    <a:pt x="14993" y="14"/>
                  </a:lnTo>
                  <a:lnTo>
                    <a:pt x="15004" y="19"/>
                  </a:lnTo>
                  <a:lnTo>
                    <a:pt x="15024" y="28"/>
                  </a:lnTo>
                  <a:lnTo>
                    <a:pt x="15044" y="40"/>
                  </a:lnTo>
                  <a:lnTo>
                    <a:pt x="15061" y="53"/>
                  </a:lnTo>
                  <a:lnTo>
                    <a:pt x="15077" y="69"/>
                  </a:lnTo>
                  <a:lnTo>
                    <a:pt x="15093" y="85"/>
                  </a:lnTo>
                  <a:lnTo>
                    <a:pt x="15106" y="104"/>
                  </a:lnTo>
                  <a:lnTo>
                    <a:pt x="15118" y="122"/>
                  </a:lnTo>
                  <a:lnTo>
                    <a:pt x="15127" y="143"/>
                  </a:lnTo>
                  <a:lnTo>
                    <a:pt x="15132" y="154"/>
                  </a:lnTo>
                  <a:lnTo>
                    <a:pt x="15135" y="164"/>
                  </a:lnTo>
                  <a:lnTo>
                    <a:pt x="15138" y="174"/>
                  </a:lnTo>
                  <a:lnTo>
                    <a:pt x="15142" y="186"/>
                  </a:lnTo>
                  <a:lnTo>
                    <a:pt x="15144" y="197"/>
                  </a:lnTo>
                  <a:lnTo>
                    <a:pt x="15145" y="209"/>
                  </a:lnTo>
                  <a:lnTo>
                    <a:pt x="15146" y="221"/>
                  </a:lnTo>
                  <a:lnTo>
                    <a:pt x="15146" y="233"/>
                  </a:lnTo>
                  <a:lnTo>
                    <a:pt x="15146" y="233"/>
                  </a:lnTo>
                  <a:lnTo>
                    <a:pt x="15146" y="245"/>
                  </a:lnTo>
                  <a:lnTo>
                    <a:pt x="15145" y="256"/>
                  </a:lnTo>
                  <a:lnTo>
                    <a:pt x="15144" y="268"/>
                  </a:lnTo>
                  <a:lnTo>
                    <a:pt x="15142" y="279"/>
                  </a:lnTo>
                  <a:lnTo>
                    <a:pt x="15138" y="291"/>
                  </a:lnTo>
                  <a:lnTo>
                    <a:pt x="15135" y="302"/>
                  </a:lnTo>
                  <a:lnTo>
                    <a:pt x="15132" y="313"/>
                  </a:lnTo>
                  <a:lnTo>
                    <a:pt x="15127" y="323"/>
                  </a:lnTo>
                  <a:lnTo>
                    <a:pt x="15118" y="343"/>
                  </a:lnTo>
                  <a:lnTo>
                    <a:pt x="15106" y="363"/>
                  </a:lnTo>
                  <a:lnTo>
                    <a:pt x="15093" y="381"/>
                  </a:lnTo>
                  <a:lnTo>
                    <a:pt x="15077" y="397"/>
                  </a:lnTo>
                  <a:lnTo>
                    <a:pt x="15061" y="412"/>
                  </a:lnTo>
                  <a:lnTo>
                    <a:pt x="15044" y="425"/>
                  </a:lnTo>
                  <a:lnTo>
                    <a:pt x="15024" y="437"/>
                  </a:lnTo>
                  <a:lnTo>
                    <a:pt x="15004" y="447"/>
                  </a:lnTo>
                  <a:lnTo>
                    <a:pt x="14993" y="451"/>
                  </a:lnTo>
                  <a:lnTo>
                    <a:pt x="14983" y="455"/>
                  </a:lnTo>
                  <a:lnTo>
                    <a:pt x="14972" y="458"/>
                  </a:lnTo>
                  <a:lnTo>
                    <a:pt x="14961" y="460"/>
                  </a:lnTo>
                  <a:lnTo>
                    <a:pt x="14949" y="462"/>
                  </a:lnTo>
                  <a:lnTo>
                    <a:pt x="14938" y="465"/>
                  </a:lnTo>
                  <a:lnTo>
                    <a:pt x="14926" y="466"/>
                  </a:lnTo>
                  <a:lnTo>
                    <a:pt x="14914" y="466"/>
                  </a:lnTo>
                  <a:lnTo>
                    <a:pt x="14729" y="466"/>
                  </a:lnTo>
                  <a:lnTo>
                    <a:pt x="14729" y="9959"/>
                  </a:lnTo>
                  <a:lnTo>
                    <a:pt x="14914" y="9959"/>
                  </a:lnTo>
                  <a:lnTo>
                    <a:pt x="14926" y="9959"/>
                  </a:lnTo>
                  <a:lnTo>
                    <a:pt x="14938" y="9960"/>
                  </a:lnTo>
                  <a:lnTo>
                    <a:pt x="14949" y="9962"/>
                  </a:lnTo>
                  <a:lnTo>
                    <a:pt x="14961" y="9964"/>
                  </a:lnTo>
                  <a:lnTo>
                    <a:pt x="14972" y="9967"/>
                  </a:lnTo>
                  <a:lnTo>
                    <a:pt x="14983" y="9970"/>
                  </a:lnTo>
                  <a:lnTo>
                    <a:pt x="14993" y="9973"/>
                  </a:lnTo>
                  <a:lnTo>
                    <a:pt x="15004" y="9978"/>
                  </a:lnTo>
                  <a:lnTo>
                    <a:pt x="15024" y="9987"/>
                  </a:lnTo>
                  <a:lnTo>
                    <a:pt x="15044" y="9999"/>
                  </a:lnTo>
                  <a:lnTo>
                    <a:pt x="15061" y="10012"/>
                  </a:lnTo>
                  <a:lnTo>
                    <a:pt x="15077" y="10028"/>
                  </a:lnTo>
                  <a:lnTo>
                    <a:pt x="15093" y="10044"/>
                  </a:lnTo>
                  <a:lnTo>
                    <a:pt x="15106" y="10062"/>
                  </a:lnTo>
                  <a:lnTo>
                    <a:pt x="15118" y="10081"/>
                  </a:lnTo>
                  <a:lnTo>
                    <a:pt x="15127" y="10102"/>
                  </a:lnTo>
                  <a:lnTo>
                    <a:pt x="15132" y="10112"/>
                  </a:lnTo>
                  <a:lnTo>
                    <a:pt x="15135" y="10123"/>
                  </a:lnTo>
                  <a:lnTo>
                    <a:pt x="15138" y="10133"/>
                  </a:lnTo>
                  <a:lnTo>
                    <a:pt x="15142" y="10145"/>
                  </a:lnTo>
                  <a:lnTo>
                    <a:pt x="15144" y="10156"/>
                  </a:lnTo>
                  <a:lnTo>
                    <a:pt x="15145" y="10168"/>
                  </a:lnTo>
                  <a:lnTo>
                    <a:pt x="15146" y="10179"/>
                  </a:lnTo>
                  <a:lnTo>
                    <a:pt x="15146" y="10191"/>
                  </a:lnTo>
                  <a:lnTo>
                    <a:pt x="15146" y="10191"/>
                  </a:lnTo>
                  <a:lnTo>
                    <a:pt x="15146" y="10203"/>
                  </a:lnTo>
                  <a:lnTo>
                    <a:pt x="15145" y="10215"/>
                  </a:lnTo>
                  <a:lnTo>
                    <a:pt x="15144" y="10227"/>
                  </a:lnTo>
                  <a:lnTo>
                    <a:pt x="15142" y="10238"/>
                  </a:lnTo>
                  <a:lnTo>
                    <a:pt x="15138" y="10249"/>
                  </a:lnTo>
                  <a:lnTo>
                    <a:pt x="15135" y="10261"/>
                  </a:lnTo>
                  <a:lnTo>
                    <a:pt x="15132" y="10271"/>
                  </a:lnTo>
                  <a:lnTo>
                    <a:pt x="15127" y="10282"/>
                  </a:lnTo>
                  <a:lnTo>
                    <a:pt x="15118" y="10303"/>
                  </a:lnTo>
                  <a:lnTo>
                    <a:pt x="15106" y="10321"/>
                  </a:lnTo>
                  <a:lnTo>
                    <a:pt x="15093" y="10340"/>
                  </a:lnTo>
                  <a:lnTo>
                    <a:pt x="15077" y="10356"/>
                  </a:lnTo>
                  <a:lnTo>
                    <a:pt x="15061" y="10371"/>
                  </a:lnTo>
                  <a:lnTo>
                    <a:pt x="15044" y="10384"/>
                  </a:lnTo>
                  <a:lnTo>
                    <a:pt x="15024" y="10396"/>
                  </a:lnTo>
                  <a:lnTo>
                    <a:pt x="15004" y="10406"/>
                  </a:lnTo>
                  <a:lnTo>
                    <a:pt x="14993" y="10410"/>
                  </a:lnTo>
                  <a:lnTo>
                    <a:pt x="14983" y="10414"/>
                  </a:lnTo>
                  <a:lnTo>
                    <a:pt x="14972" y="10417"/>
                  </a:lnTo>
                  <a:lnTo>
                    <a:pt x="14961" y="10419"/>
                  </a:lnTo>
                  <a:lnTo>
                    <a:pt x="14949" y="10421"/>
                  </a:lnTo>
                  <a:lnTo>
                    <a:pt x="14938" y="10422"/>
                  </a:lnTo>
                  <a:lnTo>
                    <a:pt x="14926" y="10424"/>
                  </a:lnTo>
                  <a:lnTo>
                    <a:pt x="14914" y="10425"/>
                  </a:lnTo>
                  <a:lnTo>
                    <a:pt x="233" y="10425"/>
                  </a:lnTo>
                  <a:lnTo>
                    <a:pt x="221" y="10424"/>
                  </a:lnTo>
                  <a:lnTo>
                    <a:pt x="209" y="10422"/>
                  </a:lnTo>
                  <a:lnTo>
                    <a:pt x="198" y="10421"/>
                  </a:lnTo>
                  <a:lnTo>
                    <a:pt x="186" y="10419"/>
                  </a:lnTo>
                  <a:lnTo>
                    <a:pt x="175" y="10417"/>
                  </a:lnTo>
                  <a:lnTo>
                    <a:pt x="164" y="10414"/>
                  </a:lnTo>
                  <a:lnTo>
                    <a:pt x="153" y="10410"/>
                  </a:lnTo>
                  <a:lnTo>
                    <a:pt x="142" y="10406"/>
                  </a:lnTo>
                  <a:lnTo>
                    <a:pt x="123" y="10396"/>
                  </a:lnTo>
                  <a:lnTo>
                    <a:pt x="103" y="10384"/>
                  </a:lnTo>
                  <a:lnTo>
                    <a:pt x="85" y="10371"/>
                  </a:lnTo>
                  <a:lnTo>
                    <a:pt x="68" y="10356"/>
                  </a:lnTo>
                  <a:lnTo>
                    <a:pt x="54" y="10340"/>
                  </a:lnTo>
                  <a:lnTo>
                    <a:pt x="40" y="10321"/>
                  </a:lnTo>
                  <a:lnTo>
                    <a:pt x="29" y="10303"/>
                  </a:lnTo>
                  <a:lnTo>
                    <a:pt x="19" y="10282"/>
                  </a:lnTo>
                  <a:lnTo>
                    <a:pt x="15" y="10271"/>
                  </a:lnTo>
                  <a:lnTo>
                    <a:pt x="10" y="10261"/>
                  </a:lnTo>
                  <a:lnTo>
                    <a:pt x="8" y="10249"/>
                  </a:lnTo>
                  <a:lnTo>
                    <a:pt x="5" y="10238"/>
                  </a:lnTo>
                  <a:lnTo>
                    <a:pt x="3" y="10227"/>
                  </a:lnTo>
                  <a:lnTo>
                    <a:pt x="2" y="10215"/>
                  </a:lnTo>
                  <a:lnTo>
                    <a:pt x="0" y="10203"/>
                  </a:lnTo>
                  <a:lnTo>
                    <a:pt x="0" y="10191"/>
                  </a:lnTo>
                  <a:lnTo>
                    <a:pt x="0" y="10191"/>
                  </a:lnTo>
                  <a:lnTo>
                    <a:pt x="0" y="10179"/>
                  </a:lnTo>
                  <a:lnTo>
                    <a:pt x="2" y="10168"/>
                  </a:lnTo>
                  <a:lnTo>
                    <a:pt x="3" y="10156"/>
                  </a:lnTo>
                  <a:lnTo>
                    <a:pt x="5" y="10145"/>
                  </a:lnTo>
                  <a:lnTo>
                    <a:pt x="8" y="10133"/>
                  </a:lnTo>
                  <a:lnTo>
                    <a:pt x="10" y="10123"/>
                  </a:lnTo>
                  <a:lnTo>
                    <a:pt x="15" y="10112"/>
                  </a:lnTo>
                  <a:lnTo>
                    <a:pt x="19" y="10102"/>
                  </a:lnTo>
                  <a:lnTo>
                    <a:pt x="29" y="10081"/>
                  </a:lnTo>
                  <a:lnTo>
                    <a:pt x="40" y="10062"/>
                  </a:lnTo>
                  <a:lnTo>
                    <a:pt x="54" y="10044"/>
                  </a:lnTo>
                  <a:lnTo>
                    <a:pt x="68" y="10028"/>
                  </a:lnTo>
                  <a:lnTo>
                    <a:pt x="85" y="10012"/>
                  </a:lnTo>
                  <a:lnTo>
                    <a:pt x="103" y="9999"/>
                  </a:lnTo>
                  <a:lnTo>
                    <a:pt x="123" y="9987"/>
                  </a:lnTo>
                  <a:lnTo>
                    <a:pt x="142" y="9978"/>
                  </a:lnTo>
                  <a:lnTo>
                    <a:pt x="153" y="9973"/>
                  </a:lnTo>
                  <a:lnTo>
                    <a:pt x="164" y="9970"/>
                  </a:lnTo>
                  <a:lnTo>
                    <a:pt x="175" y="9967"/>
                  </a:lnTo>
                  <a:lnTo>
                    <a:pt x="186" y="9964"/>
                  </a:lnTo>
                  <a:lnTo>
                    <a:pt x="198" y="9962"/>
                  </a:lnTo>
                  <a:lnTo>
                    <a:pt x="209" y="9960"/>
                  </a:lnTo>
                  <a:lnTo>
                    <a:pt x="221" y="9959"/>
                  </a:lnTo>
                  <a:lnTo>
                    <a:pt x="233" y="9959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1" name="矩形 110">
              <a:extLst>
                <a:ext uri="{FF2B5EF4-FFF2-40B4-BE49-F238E27FC236}">
                  <a16:creationId xmlns:a16="http://schemas.microsoft.com/office/drawing/2014/main" id="{D37A2A58-ECEA-4F92-B866-46F15A29859F}"/>
                </a:ext>
              </a:extLst>
            </p:cNvPr>
            <p:cNvSpPr/>
            <p:nvPr/>
          </p:nvSpPr>
          <p:spPr bwMode="auto">
            <a:xfrm>
              <a:off x="1968269" y="2576666"/>
              <a:ext cx="3122072" cy="211596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2" name="梯形 111">
              <a:extLst>
                <a:ext uri="{FF2B5EF4-FFF2-40B4-BE49-F238E27FC236}">
                  <a16:creationId xmlns:a16="http://schemas.microsoft.com/office/drawing/2014/main" id="{54A81459-19DD-4950-AAF8-153C5C60CCF7}"/>
                </a:ext>
              </a:extLst>
            </p:cNvPr>
            <p:cNvSpPr/>
            <p:nvPr/>
          </p:nvSpPr>
          <p:spPr bwMode="auto">
            <a:xfrm rot="16200000">
              <a:off x="3818268" y="3303735"/>
              <a:ext cx="3318146" cy="649058"/>
            </a:xfrm>
            <a:prstGeom prst="trapezoid">
              <a:avLst>
                <a:gd name="adj" fmla="val 101311"/>
              </a:avLst>
            </a:prstGeom>
            <a:gradFill>
              <a:gsLst>
                <a:gs pos="0">
                  <a:schemeClr val="tx2">
                    <a:lumMod val="31000"/>
                    <a:lumOff val="69000"/>
                  </a:schemeClr>
                </a:gs>
                <a:gs pos="100000">
                  <a:schemeClr val="tx2">
                    <a:alpha val="0"/>
                    <a:lumMod val="19000"/>
                    <a:lumOff val="81000"/>
                  </a:schemeClr>
                </a:gs>
              </a:gsLst>
              <a:lin ang="5400000" scaled="1"/>
            </a:gradFill>
            <a:ln w="19050">
              <a:noFill/>
              <a:round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3" name="文本框 112">
              <a:extLst>
                <a:ext uri="{FF2B5EF4-FFF2-40B4-BE49-F238E27FC236}">
                  <a16:creationId xmlns:a16="http://schemas.microsoft.com/office/drawing/2014/main" id="{CC156008-86ED-4283-8DA1-702CBC72A09F}"/>
                </a:ext>
              </a:extLst>
            </p:cNvPr>
            <p:cNvSpPr txBox="1"/>
            <p:nvPr/>
          </p:nvSpPr>
          <p:spPr>
            <a:xfrm>
              <a:off x="2449522" y="3373036"/>
              <a:ext cx="2159566" cy="52322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1">
              <a:normAutofit/>
            </a:bodyPr>
            <a:lstStyle/>
            <a:p>
              <a:pPr algn="ctr"/>
              <a:r>
                <a: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rPr>
                <a:t>CONTENT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介绍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7816C2E-E271-45F3-952E-7FC724E6740D}"/>
              </a:ext>
            </a:extLst>
          </p:cNvPr>
          <p:cNvSpPr txBox="1"/>
          <p:nvPr/>
        </p:nvSpPr>
        <p:spPr>
          <a:xfrm>
            <a:off x="5072484" y="39456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53A4E0-094A-4144-8C1C-75C6B5D58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介绍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6038584-3D8E-4BCD-AF5B-7A6EBAC6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E38F0F-2B3E-4CD9-9689-30B1CE904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0AF31FA-F520-4CA2-9467-1ECE2435B172}"/>
              </a:ext>
            </a:extLst>
          </p:cNvPr>
          <p:cNvGrpSpPr>
            <a:grpSpLocks noChangeAspect="1"/>
          </p:cNvGrpSpPr>
          <p:nvPr/>
        </p:nvGrpSpPr>
        <p:grpSpPr>
          <a:xfrm>
            <a:off x="669263" y="1138886"/>
            <a:ext cx="10280147" cy="4985847"/>
            <a:chOff x="669263" y="1138886"/>
            <a:chExt cx="10280147" cy="4985847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75DC475B-EB3B-45AF-A54A-0C184B28DD2D}"/>
                </a:ext>
              </a:extLst>
            </p:cNvPr>
            <p:cNvGrpSpPr/>
            <p:nvPr/>
          </p:nvGrpSpPr>
          <p:grpSpPr>
            <a:xfrm>
              <a:off x="1029104" y="3112560"/>
              <a:ext cx="3908781" cy="2845788"/>
              <a:chOff x="3158342" y="1290237"/>
              <a:chExt cx="5875316" cy="4277526"/>
            </a:xfrm>
          </p:grpSpPr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D606EEAB-EA65-44B7-AD3E-C6D040A20076}"/>
                  </a:ext>
                </a:extLst>
              </p:cNvPr>
              <p:cNvSpPr/>
              <p:nvPr/>
            </p:nvSpPr>
            <p:spPr bwMode="auto">
              <a:xfrm>
                <a:off x="3817034" y="4044043"/>
                <a:ext cx="1494622" cy="886192"/>
              </a:xfrm>
              <a:custGeom>
                <a:avLst/>
                <a:gdLst>
                  <a:gd name="T0" fmla="*/ 175 w 272"/>
                  <a:gd name="T1" fmla="*/ 69 h 161"/>
                  <a:gd name="T2" fmla="*/ 181 w 272"/>
                  <a:gd name="T3" fmla="*/ 69 h 161"/>
                  <a:gd name="T4" fmla="*/ 106 w 272"/>
                  <a:gd name="T5" fmla="*/ 26 h 161"/>
                  <a:gd name="T6" fmla="*/ 65 w 272"/>
                  <a:gd name="T7" fmla="*/ 33 h 161"/>
                  <a:gd name="T8" fmla="*/ 15 w 272"/>
                  <a:gd name="T9" fmla="*/ 96 h 161"/>
                  <a:gd name="T10" fmla="*/ 145 w 272"/>
                  <a:gd name="T11" fmla="*/ 158 h 161"/>
                  <a:gd name="T12" fmla="*/ 214 w 272"/>
                  <a:gd name="T13" fmla="*/ 28 h 161"/>
                  <a:gd name="T14" fmla="*/ 214 w 272"/>
                  <a:gd name="T15" fmla="*/ 33 h 161"/>
                  <a:gd name="T16" fmla="*/ 211 w 272"/>
                  <a:gd name="T17" fmla="*/ 51 h 161"/>
                  <a:gd name="T18" fmla="*/ 202 w 272"/>
                  <a:gd name="T19" fmla="*/ 115 h 161"/>
                  <a:gd name="T20" fmla="*/ 203 w 272"/>
                  <a:gd name="T21" fmla="*/ 116 h 161"/>
                  <a:gd name="T22" fmla="*/ 203 w 272"/>
                  <a:gd name="T23" fmla="*/ 117 h 161"/>
                  <a:gd name="T24" fmla="*/ 197 w 272"/>
                  <a:gd name="T25" fmla="*/ 117 h 161"/>
                  <a:gd name="T26" fmla="*/ 197 w 272"/>
                  <a:gd name="T27" fmla="*/ 115 h 161"/>
                  <a:gd name="T28" fmla="*/ 188 w 272"/>
                  <a:gd name="T29" fmla="*/ 62 h 161"/>
                  <a:gd name="T30" fmla="*/ 179 w 272"/>
                  <a:gd name="T31" fmla="*/ 74 h 161"/>
                  <a:gd name="T32" fmla="*/ 169 w 272"/>
                  <a:gd name="T33" fmla="*/ 70 h 161"/>
                  <a:gd name="T34" fmla="*/ 169 w 272"/>
                  <a:gd name="T35" fmla="*/ 135 h 161"/>
                  <a:gd name="T36" fmla="*/ 166 w 272"/>
                  <a:gd name="T37" fmla="*/ 138 h 161"/>
                  <a:gd name="T38" fmla="*/ 163 w 272"/>
                  <a:gd name="T39" fmla="*/ 135 h 161"/>
                  <a:gd name="T40" fmla="*/ 162 w 272"/>
                  <a:gd name="T41" fmla="*/ 97 h 161"/>
                  <a:gd name="T42" fmla="*/ 159 w 272"/>
                  <a:gd name="T43" fmla="*/ 93 h 161"/>
                  <a:gd name="T44" fmla="*/ 159 w 272"/>
                  <a:gd name="T45" fmla="*/ 69 h 161"/>
                  <a:gd name="T46" fmla="*/ 131 w 272"/>
                  <a:gd name="T47" fmla="*/ 111 h 161"/>
                  <a:gd name="T48" fmla="*/ 131 w 272"/>
                  <a:gd name="T49" fmla="*/ 112 h 161"/>
                  <a:gd name="T50" fmla="*/ 131 w 272"/>
                  <a:gd name="T51" fmla="*/ 114 h 161"/>
                  <a:gd name="T52" fmla="*/ 125 w 272"/>
                  <a:gd name="T53" fmla="*/ 114 h 161"/>
                  <a:gd name="T54" fmla="*/ 126 w 272"/>
                  <a:gd name="T55" fmla="*/ 111 h 161"/>
                  <a:gd name="T56" fmla="*/ 122 w 272"/>
                  <a:gd name="T57" fmla="*/ 42 h 161"/>
                  <a:gd name="T58" fmla="*/ 121 w 272"/>
                  <a:gd name="T59" fmla="*/ 42 h 161"/>
                  <a:gd name="T60" fmla="*/ 122 w 272"/>
                  <a:gd name="T61" fmla="*/ 80 h 161"/>
                  <a:gd name="T62" fmla="*/ 118 w 272"/>
                  <a:gd name="T63" fmla="*/ 99 h 161"/>
                  <a:gd name="T64" fmla="*/ 90 w 272"/>
                  <a:gd name="T65" fmla="*/ 87 h 161"/>
                  <a:gd name="T66" fmla="*/ 100 w 272"/>
                  <a:gd name="T67" fmla="*/ 83 h 161"/>
                  <a:gd name="T68" fmla="*/ 106 w 272"/>
                  <a:gd name="T69" fmla="*/ 76 h 161"/>
                  <a:gd name="T70" fmla="*/ 106 w 272"/>
                  <a:gd name="T71" fmla="*/ 70 h 161"/>
                  <a:gd name="T72" fmla="*/ 196 w 272"/>
                  <a:gd name="T73" fmla="*/ 21 h 161"/>
                  <a:gd name="T74" fmla="*/ 196 w 272"/>
                  <a:gd name="T75" fmla="*/ 33 h 161"/>
                  <a:gd name="T76" fmla="*/ 202 w 272"/>
                  <a:gd name="T77" fmla="*/ 54 h 161"/>
                  <a:gd name="T78" fmla="*/ 207 w 272"/>
                  <a:gd name="T79" fmla="*/ 51 h 161"/>
                  <a:gd name="T80" fmla="*/ 206 w 272"/>
                  <a:gd name="T81" fmla="*/ 33 h 161"/>
                  <a:gd name="T82" fmla="*/ 206 w 272"/>
                  <a:gd name="T83" fmla="*/ 24 h 161"/>
                  <a:gd name="T84" fmla="*/ 145 w 272"/>
                  <a:gd name="T85" fmla="*/ 4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72" h="161">
                    <a:moveTo>
                      <a:pt x="184" y="64"/>
                    </a:moveTo>
                    <a:cubicBezTo>
                      <a:pt x="178" y="68"/>
                      <a:pt x="178" y="68"/>
                      <a:pt x="178" y="68"/>
                    </a:cubicBezTo>
                    <a:cubicBezTo>
                      <a:pt x="177" y="68"/>
                      <a:pt x="176" y="69"/>
                      <a:pt x="175" y="69"/>
                    </a:cubicBezTo>
                    <a:cubicBezTo>
                      <a:pt x="176" y="69"/>
                      <a:pt x="176" y="69"/>
                      <a:pt x="176" y="69"/>
                    </a:cubicBezTo>
                    <a:cubicBezTo>
                      <a:pt x="177" y="70"/>
                      <a:pt x="178" y="70"/>
                      <a:pt x="179" y="70"/>
                    </a:cubicBezTo>
                    <a:cubicBezTo>
                      <a:pt x="179" y="70"/>
                      <a:pt x="180" y="70"/>
                      <a:pt x="181" y="69"/>
                    </a:cubicBezTo>
                    <a:cubicBezTo>
                      <a:pt x="183" y="68"/>
                      <a:pt x="184" y="67"/>
                      <a:pt x="184" y="65"/>
                    </a:cubicBezTo>
                    <a:cubicBezTo>
                      <a:pt x="184" y="64"/>
                      <a:pt x="184" y="64"/>
                      <a:pt x="184" y="64"/>
                    </a:cubicBezTo>
                    <a:moveTo>
                      <a:pt x="106" y="26"/>
                    </a:moveTo>
                    <a:cubicBezTo>
                      <a:pt x="93" y="33"/>
                      <a:pt x="93" y="33"/>
                      <a:pt x="93" y="33"/>
                    </a:cubicBezTo>
                    <a:cubicBezTo>
                      <a:pt x="89" y="36"/>
                      <a:pt x="84" y="37"/>
                      <a:pt x="79" y="37"/>
                    </a:cubicBezTo>
                    <a:cubicBezTo>
                      <a:pt x="74" y="37"/>
                      <a:pt x="70" y="36"/>
                      <a:pt x="65" y="33"/>
                    </a:cubicBezTo>
                    <a:cubicBezTo>
                      <a:pt x="60" y="30"/>
                      <a:pt x="60" y="30"/>
                      <a:pt x="60" y="30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0" y="65"/>
                      <a:pt x="0" y="88"/>
                      <a:pt x="15" y="96"/>
                    </a:cubicBezTo>
                    <a:cubicBezTo>
                      <a:pt x="122" y="158"/>
                      <a:pt x="122" y="158"/>
                      <a:pt x="122" y="158"/>
                    </a:cubicBezTo>
                    <a:cubicBezTo>
                      <a:pt x="126" y="160"/>
                      <a:pt x="130" y="161"/>
                      <a:pt x="134" y="161"/>
                    </a:cubicBezTo>
                    <a:cubicBezTo>
                      <a:pt x="138" y="161"/>
                      <a:pt x="142" y="160"/>
                      <a:pt x="145" y="158"/>
                    </a:cubicBezTo>
                    <a:cubicBezTo>
                      <a:pt x="257" y="93"/>
                      <a:pt x="257" y="93"/>
                      <a:pt x="257" y="93"/>
                    </a:cubicBezTo>
                    <a:cubicBezTo>
                      <a:pt x="272" y="84"/>
                      <a:pt x="272" y="62"/>
                      <a:pt x="256" y="53"/>
                    </a:cubicBezTo>
                    <a:cubicBezTo>
                      <a:pt x="214" y="28"/>
                      <a:pt x="214" y="28"/>
                      <a:pt x="214" y="28"/>
                    </a:cubicBezTo>
                    <a:cubicBezTo>
                      <a:pt x="214" y="31"/>
                      <a:pt x="214" y="31"/>
                      <a:pt x="214" y="31"/>
                    </a:cubicBezTo>
                    <a:cubicBezTo>
                      <a:pt x="214" y="32"/>
                      <a:pt x="214" y="32"/>
                      <a:pt x="214" y="32"/>
                    </a:cubicBezTo>
                    <a:cubicBezTo>
                      <a:pt x="214" y="33"/>
                      <a:pt x="214" y="33"/>
                      <a:pt x="214" y="33"/>
                    </a:cubicBezTo>
                    <a:cubicBezTo>
                      <a:pt x="214" y="35"/>
                      <a:pt x="214" y="35"/>
                      <a:pt x="214" y="35"/>
                    </a:cubicBezTo>
                    <a:cubicBezTo>
                      <a:pt x="214" y="36"/>
                      <a:pt x="213" y="37"/>
                      <a:pt x="211" y="38"/>
                    </a:cubicBezTo>
                    <a:cubicBezTo>
                      <a:pt x="211" y="51"/>
                      <a:pt x="211" y="51"/>
                      <a:pt x="211" y="51"/>
                    </a:cubicBezTo>
                    <a:cubicBezTo>
                      <a:pt x="211" y="55"/>
                      <a:pt x="209" y="58"/>
                      <a:pt x="207" y="59"/>
                    </a:cubicBezTo>
                    <a:cubicBezTo>
                      <a:pt x="205" y="60"/>
                      <a:pt x="204" y="60"/>
                      <a:pt x="202" y="60"/>
                    </a:cubicBezTo>
                    <a:cubicBezTo>
                      <a:pt x="202" y="115"/>
                      <a:pt x="202" y="115"/>
                      <a:pt x="202" y="115"/>
                    </a:cubicBezTo>
                    <a:cubicBezTo>
                      <a:pt x="203" y="115"/>
                      <a:pt x="203" y="115"/>
                      <a:pt x="203" y="116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3" y="116"/>
                      <a:pt x="203" y="116"/>
                      <a:pt x="203" y="116"/>
                    </a:cubicBezTo>
                    <a:cubicBezTo>
                      <a:pt x="203" y="117"/>
                      <a:pt x="203" y="117"/>
                      <a:pt x="203" y="117"/>
                    </a:cubicBezTo>
                    <a:cubicBezTo>
                      <a:pt x="203" y="118"/>
                      <a:pt x="201" y="119"/>
                      <a:pt x="200" y="119"/>
                    </a:cubicBezTo>
                    <a:cubicBezTo>
                      <a:pt x="200" y="119"/>
                      <a:pt x="200" y="119"/>
                      <a:pt x="200" y="119"/>
                    </a:cubicBezTo>
                    <a:cubicBezTo>
                      <a:pt x="198" y="119"/>
                      <a:pt x="197" y="118"/>
                      <a:pt x="197" y="117"/>
                    </a:cubicBezTo>
                    <a:cubicBezTo>
                      <a:pt x="197" y="116"/>
                      <a:pt x="197" y="116"/>
                      <a:pt x="197" y="116"/>
                    </a:cubicBezTo>
                    <a:cubicBezTo>
                      <a:pt x="197" y="116"/>
                      <a:pt x="197" y="116"/>
                      <a:pt x="197" y="116"/>
                    </a:cubicBezTo>
                    <a:cubicBezTo>
                      <a:pt x="197" y="115"/>
                      <a:pt x="197" y="115"/>
                      <a:pt x="197" y="115"/>
                    </a:cubicBezTo>
                    <a:cubicBezTo>
                      <a:pt x="197" y="59"/>
                      <a:pt x="197" y="59"/>
                      <a:pt x="197" y="59"/>
                    </a:cubicBezTo>
                    <a:cubicBezTo>
                      <a:pt x="195" y="58"/>
                      <a:pt x="195" y="58"/>
                      <a:pt x="195" y="58"/>
                    </a:cubicBezTo>
                    <a:cubicBezTo>
                      <a:pt x="188" y="62"/>
                      <a:pt x="188" y="62"/>
                      <a:pt x="188" y="62"/>
                    </a:cubicBezTo>
                    <a:cubicBezTo>
                      <a:pt x="188" y="65"/>
                      <a:pt x="188" y="65"/>
                      <a:pt x="188" y="65"/>
                    </a:cubicBezTo>
                    <a:cubicBezTo>
                      <a:pt x="188" y="68"/>
                      <a:pt x="186" y="71"/>
                      <a:pt x="183" y="73"/>
                    </a:cubicBezTo>
                    <a:cubicBezTo>
                      <a:pt x="182" y="73"/>
                      <a:pt x="180" y="74"/>
                      <a:pt x="179" y="74"/>
                    </a:cubicBezTo>
                    <a:cubicBezTo>
                      <a:pt x="177" y="74"/>
                      <a:pt x="175" y="73"/>
                      <a:pt x="174" y="73"/>
                    </a:cubicBezTo>
                    <a:cubicBezTo>
                      <a:pt x="170" y="70"/>
                      <a:pt x="170" y="70"/>
                      <a:pt x="170" y="70"/>
                    </a:cubicBezTo>
                    <a:cubicBezTo>
                      <a:pt x="170" y="70"/>
                      <a:pt x="169" y="70"/>
                      <a:pt x="169" y="70"/>
                    </a:cubicBezTo>
                    <a:cubicBezTo>
                      <a:pt x="169" y="134"/>
                      <a:pt x="169" y="134"/>
                      <a:pt x="169" y="134"/>
                    </a:cubicBezTo>
                    <a:cubicBezTo>
                      <a:pt x="169" y="134"/>
                      <a:pt x="169" y="134"/>
                      <a:pt x="169" y="135"/>
                    </a:cubicBezTo>
                    <a:cubicBezTo>
                      <a:pt x="169" y="135"/>
                      <a:pt x="169" y="135"/>
                      <a:pt x="169" y="135"/>
                    </a:cubicBezTo>
                    <a:cubicBezTo>
                      <a:pt x="169" y="136"/>
                      <a:pt x="169" y="136"/>
                      <a:pt x="169" y="136"/>
                    </a:cubicBezTo>
                    <a:cubicBezTo>
                      <a:pt x="169" y="137"/>
                      <a:pt x="168" y="138"/>
                      <a:pt x="166" y="138"/>
                    </a:cubicBezTo>
                    <a:cubicBezTo>
                      <a:pt x="166" y="138"/>
                      <a:pt x="166" y="138"/>
                      <a:pt x="166" y="138"/>
                    </a:cubicBezTo>
                    <a:cubicBezTo>
                      <a:pt x="164" y="138"/>
                      <a:pt x="163" y="137"/>
                      <a:pt x="163" y="136"/>
                    </a:cubicBezTo>
                    <a:cubicBezTo>
                      <a:pt x="163" y="135"/>
                      <a:pt x="163" y="135"/>
                      <a:pt x="163" y="135"/>
                    </a:cubicBezTo>
                    <a:cubicBezTo>
                      <a:pt x="163" y="135"/>
                      <a:pt x="163" y="135"/>
                      <a:pt x="163" y="135"/>
                    </a:cubicBezTo>
                    <a:cubicBezTo>
                      <a:pt x="163" y="134"/>
                      <a:pt x="163" y="134"/>
                      <a:pt x="163" y="134"/>
                    </a:cubicBezTo>
                    <a:cubicBezTo>
                      <a:pt x="163" y="96"/>
                      <a:pt x="163" y="96"/>
                      <a:pt x="163" y="96"/>
                    </a:cubicBezTo>
                    <a:cubicBezTo>
                      <a:pt x="163" y="97"/>
                      <a:pt x="162" y="97"/>
                      <a:pt x="162" y="97"/>
                    </a:cubicBezTo>
                    <a:cubicBezTo>
                      <a:pt x="162" y="97"/>
                      <a:pt x="162" y="97"/>
                      <a:pt x="162" y="97"/>
                    </a:cubicBezTo>
                    <a:cubicBezTo>
                      <a:pt x="160" y="97"/>
                      <a:pt x="159" y="96"/>
                      <a:pt x="159" y="95"/>
                    </a:cubicBezTo>
                    <a:cubicBezTo>
                      <a:pt x="159" y="93"/>
                      <a:pt x="159" y="93"/>
                      <a:pt x="159" y="93"/>
                    </a:cubicBezTo>
                    <a:cubicBezTo>
                      <a:pt x="159" y="93"/>
                      <a:pt x="159" y="93"/>
                      <a:pt x="159" y="93"/>
                    </a:cubicBezTo>
                    <a:cubicBezTo>
                      <a:pt x="159" y="93"/>
                      <a:pt x="159" y="93"/>
                      <a:pt x="159" y="92"/>
                    </a:cubicBezTo>
                    <a:cubicBezTo>
                      <a:pt x="159" y="69"/>
                      <a:pt x="159" y="69"/>
                      <a:pt x="159" y="69"/>
                    </a:cubicBezTo>
                    <a:cubicBezTo>
                      <a:pt x="158" y="69"/>
                      <a:pt x="157" y="68"/>
                      <a:pt x="156" y="68"/>
                    </a:cubicBezTo>
                    <a:cubicBezTo>
                      <a:pt x="131" y="53"/>
                      <a:pt x="131" y="53"/>
                      <a:pt x="131" y="53"/>
                    </a:cubicBezTo>
                    <a:cubicBezTo>
                      <a:pt x="131" y="111"/>
                      <a:pt x="131" y="111"/>
                      <a:pt x="131" y="111"/>
                    </a:cubicBezTo>
                    <a:cubicBezTo>
                      <a:pt x="131" y="111"/>
                      <a:pt x="131" y="112"/>
                      <a:pt x="131" y="112"/>
                    </a:cubicBezTo>
                    <a:cubicBezTo>
                      <a:pt x="131" y="112"/>
                      <a:pt x="131" y="112"/>
                      <a:pt x="131" y="112"/>
                    </a:cubicBezTo>
                    <a:cubicBezTo>
                      <a:pt x="131" y="112"/>
                      <a:pt x="131" y="112"/>
                      <a:pt x="131" y="112"/>
                    </a:cubicBezTo>
                    <a:cubicBezTo>
                      <a:pt x="131" y="112"/>
                      <a:pt x="131" y="112"/>
                      <a:pt x="131" y="112"/>
                    </a:cubicBezTo>
                    <a:cubicBezTo>
                      <a:pt x="131" y="112"/>
                      <a:pt x="131" y="112"/>
                      <a:pt x="131" y="112"/>
                    </a:cubicBezTo>
                    <a:cubicBezTo>
                      <a:pt x="131" y="114"/>
                      <a:pt x="131" y="114"/>
                      <a:pt x="131" y="114"/>
                    </a:cubicBezTo>
                    <a:cubicBezTo>
                      <a:pt x="131" y="115"/>
                      <a:pt x="130" y="116"/>
                      <a:pt x="128" y="116"/>
                    </a:cubicBezTo>
                    <a:cubicBezTo>
                      <a:pt x="128" y="116"/>
                      <a:pt x="128" y="116"/>
                      <a:pt x="128" y="116"/>
                    </a:cubicBezTo>
                    <a:cubicBezTo>
                      <a:pt x="127" y="116"/>
                      <a:pt x="125" y="115"/>
                      <a:pt x="125" y="114"/>
                    </a:cubicBezTo>
                    <a:cubicBezTo>
                      <a:pt x="125" y="112"/>
                      <a:pt x="125" y="112"/>
                      <a:pt x="125" y="112"/>
                    </a:cubicBezTo>
                    <a:cubicBezTo>
                      <a:pt x="125" y="112"/>
                      <a:pt x="125" y="112"/>
                      <a:pt x="125" y="112"/>
                    </a:cubicBezTo>
                    <a:cubicBezTo>
                      <a:pt x="125" y="112"/>
                      <a:pt x="125" y="112"/>
                      <a:pt x="126" y="111"/>
                    </a:cubicBezTo>
                    <a:cubicBezTo>
                      <a:pt x="126" y="50"/>
                      <a:pt x="126" y="50"/>
                      <a:pt x="126" y="50"/>
                    </a:cubicBezTo>
                    <a:cubicBezTo>
                      <a:pt x="125" y="50"/>
                      <a:pt x="125" y="50"/>
                      <a:pt x="125" y="50"/>
                    </a:cubicBezTo>
                    <a:cubicBezTo>
                      <a:pt x="122" y="48"/>
                      <a:pt x="121" y="45"/>
                      <a:pt x="122" y="42"/>
                    </a:cubicBezTo>
                    <a:cubicBezTo>
                      <a:pt x="121" y="40"/>
                      <a:pt x="122" y="38"/>
                      <a:pt x="123" y="37"/>
                    </a:cubicBezTo>
                    <a:cubicBezTo>
                      <a:pt x="122" y="36"/>
                      <a:pt x="121" y="36"/>
                      <a:pt x="121" y="36"/>
                    </a:cubicBezTo>
                    <a:cubicBezTo>
                      <a:pt x="121" y="36"/>
                      <a:pt x="121" y="40"/>
                      <a:pt x="121" y="42"/>
                    </a:cubicBezTo>
                    <a:cubicBezTo>
                      <a:pt x="121" y="45"/>
                      <a:pt x="121" y="63"/>
                      <a:pt x="121" y="74"/>
                    </a:cubicBezTo>
                    <a:cubicBezTo>
                      <a:pt x="122" y="74"/>
                      <a:pt x="122" y="74"/>
                      <a:pt x="122" y="75"/>
                    </a:cubicBezTo>
                    <a:cubicBezTo>
                      <a:pt x="122" y="80"/>
                      <a:pt x="122" y="80"/>
                      <a:pt x="122" y="80"/>
                    </a:cubicBezTo>
                    <a:cubicBezTo>
                      <a:pt x="122" y="81"/>
                      <a:pt x="121" y="82"/>
                      <a:pt x="120" y="82"/>
                    </a:cubicBezTo>
                    <a:cubicBezTo>
                      <a:pt x="120" y="85"/>
                      <a:pt x="120" y="87"/>
                      <a:pt x="120" y="88"/>
                    </a:cubicBezTo>
                    <a:cubicBezTo>
                      <a:pt x="120" y="88"/>
                      <a:pt x="124" y="96"/>
                      <a:pt x="118" y="99"/>
                    </a:cubicBezTo>
                    <a:cubicBezTo>
                      <a:pt x="117" y="100"/>
                      <a:pt x="116" y="100"/>
                      <a:pt x="115" y="100"/>
                    </a:cubicBezTo>
                    <a:cubicBezTo>
                      <a:pt x="112" y="100"/>
                      <a:pt x="108" y="99"/>
                      <a:pt x="104" y="96"/>
                    </a:cubicBezTo>
                    <a:cubicBezTo>
                      <a:pt x="98" y="93"/>
                      <a:pt x="91" y="88"/>
                      <a:pt x="90" y="87"/>
                    </a:cubicBezTo>
                    <a:cubicBezTo>
                      <a:pt x="89" y="86"/>
                      <a:pt x="90" y="84"/>
                      <a:pt x="93" y="83"/>
                    </a:cubicBezTo>
                    <a:cubicBezTo>
                      <a:pt x="94" y="83"/>
                      <a:pt x="95" y="83"/>
                      <a:pt x="97" y="83"/>
                    </a:cubicBezTo>
                    <a:cubicBezTo>
                      <a:pt x="98" y="83"/>
                      <a:pt x="99" y="83"/>
                      <a:pt x="100" y="83"/>
                    </a:cubicBezTo>
                    <a:cubicBezTo>
                      <a:pt x="102" y="83"/>
                      <a:pt x="106" y="83"/>
                      <a:pt x="109" y="83"/>
                    </a:cubicBezTo>
                    <a:cubicBezTo>
                      <a:pt x="109" y="82"/>
                      <a:pt x="109" y="81"/>
                      <a:pt x="109" y="81"/>
                    </a:cubicBezTo>
                    <a:cubicBezTo>
                      <a:pt x="107" y="80"/>
                      <a:pt x="106" y="78"/>
                      <a:pt x="106" y="76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70"/>
                      <a:pt x="106" y="70"/>
                      <a:pt x="106" y="70"/>
                    </a:cubicBezTo>
                    <a:cubicBezTo>
                      <a:pt x="106" y="60"/>
                      <a:pt x="106" y="37"/>
                      <a:pt x="106" y="26"/>
                    </a:cubicBezTo>
                    <a:moveTo>
                      <a:pt x="199" y="19"/>
                    </a:moveTo>
                    <a:cubicBezTo>
                      <a:pt x="196" y="21"/>
                      <a:pt x="196" y="21"/>
                      <a:pt x="196" y="21"/>
                    </a:cubicBezTo>
                    <a:cubicBezTo>
                      <a:pt x="196" y="23"/>
                      <a:pt x="196" y="25"/>
                      <a:pt x="196" y="27"/>
                    </a:cubicBezTo>
                    <a:cubicBezTo>
                      <a:pt x="196" y="27"/>
                      <a:pt x="195" y="28"/>
                      <a:pt x="195" y="28"/>
                    </a:cubicBezTo>
                    <a:cubicBezTo>
                      <a:pt x="196" y="30"/>
                      <a:pt x="196" y="32"/>
                      <a:pt x="196" y="33"/>
                    </a:cubicBezTo>
                    <a:cubicBezTo>
                      <a:pt x="202" y="37"/>
                      <a:pt x="202" y="37"/>
                      <a:pt x="202" y="37"/>
                    </a:cubicBezTo>
                    <a:cubicBezTo>
                      <a:pt x="205" y="39"/>
                      <a:pt x="207" y="42"/>
                      <a:pt x="206" y="45"/>
                    </a:cubicBezTo>
                    <a:cubicBezTo>
                      <a:pt x="207" y="48"/>
                      <a:pt x="205" y="52"/>
                      <a:pt x="202" y="54"/>
                    </a:cubicBezTo>
                    <a:cubicBezTo>
                      <a:pt x="202" y="56"/>
                      <a:pt x="202" y="56"/>
                      <a:pt x="202" y="56"/>
                    </a:cubicBezTo>
                    <a:cubicBezTo>
                      <a:pt x="203" y="56"/>
                      <a:pt x="204" y="56"/>
                      <a:pt x="205" y="56"/>
                    </a:cubicBezTo>
                    <a:cubicBezTo>
                      <a:pt x="206" y="55"/>
                      <a:pt x="207" y="53"/>
                      <a:pt x="207" y="51"/>
                    </a:cubicBezTo>
                    <a:cubicBezTo>
                      <a:pt x="207" y="37"/>
                      <a:pt x="207" y="37"/>
                      <a:pt x="207" y="37"/>
                    </a:cubicBezTo>
                    <a:cubicBezTo>
                      <a:pt x="206" y="36"/>
                      <a:pt x="206" y="36"/>
                      <a:pt x="206" y="35"/>
                    </a:cubicBezTo>
                    <a:cubicBezTo>
                      <a:pt x="206" y="33"/>
                      <a:pt x="206" y="33"/>
                      <a:pt x="206" y="33"/>
                    </a:cubicBezTo>
                    <a:cubicBezTo>
                      <a:pt x="206" y="33"/>
                      <a:pt x="206" y="33"/>
                      <a:pt x="206" y="33"/>
                    </a:cubicBezTo>
                    <a:cubicBezTo>
                      <a:pt x="206" y="32"/>
                      <a:pt x="206" y="32"/>
                      <a:pt x="206" y="31"/>
                    </a:cubicBezTo>
                    <a:cubicBezTo>
                      <a:pt x="206" y="24"/>
                      <a:pt x="206" y="24"/>
                      <a:pt x="206" y="24"/>
                    </a:cubicBezTo>
                    <a:cubicBezTo>
                      <a:pt x="199" y="19"/>
                      <a:pt x="199" y="19"/>
                      <a:pt x="199" y="19"/>
                    </a:cubicBezTo>
                    <a:moveTo>
                      <a:pt x="151" y="0"/>
                    </a:moveTo>
                    <a:cubicBezTo>
                      <a:pt x="145" y="4"/>
                      <a:pt x="145" y="4"/>
                      <a:pt x="145" y="4"/>
                    </a:cubicBezTo>
                    <a:cubicBezTo>
                      <a:pt x="147" y="4"/>
                      <a:pt x="149" y="5"/>
                      <a:pt x="151" y="6"/>
                    </a:cubicBezTo>
                    <a:cubicBezTo>
                      <a:pt x="151" y="4"/>
                      <a:pt x="151" y="2"/>
                      <a:pt x="151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D86C73F9-4158-457D-9940-16941FA18BE2}"/>
                  </a:ext>
                </a:extLst>
              </p:cNvPr>
              <p:cNvSpPr/>
              <p:nvPr/>
            </p:nvSpPr>
            <p:spPr bwMode="auto">
              <a:xfrm>
                <a:off x="4811685" y="1692330"/>
                <a:ext cx="2412556" cy="1449650"/>
              </a:xfrm>
              <a:custGeom>
                <a:avLst/>
                <a:gdLst>
                  <a:gd name="T0" fmla="*/ 139 w 439"/>
                  <a:gd name="T1" fmla="*/ 0 h 264"/>
                  <a:gd name="T2" fmla="*/ 127 w 439"/>
                  <a:gd name="T3" fmla="*/ 3 h 264"/>
                  <a:gd name="T4" fmla="*/ 16 w 439"/>
                  <a:gd name="T5" fmla="*/ 68 h 264"/>
                  <a:gd name="T6" fmla="*/ 16 w 439"/>
                  <a:gd name="T7" fmla="*/ 108 h 264"/>
                  <a:gd name="T8" fmla="*/ 289 w 439"/>
                  <a:gd name="T9" fmla="*/ 260 h 264"/>
                  <a:gd name="T10" fmla="*/ 300 w 439"/>
                  <a:gd name="T11" fmla="*/ 264 h 264"/>
                  <a:gd name="T12" fmla="*/ 312 w 439"/>
                  <a:gd name="T13" fmla="*/ 260 h 264"/>
                  <a:gd name="T14" fmla="*/ 423 w 439"/>
                  <a:gd name="T15" fmla="*/ 195 h 264"/>
                  <a:gd name="T16" fmla="*/ 423 w 439"/>
                  <a:gd name="T17" fmla="*/ 155 h 264"/>
                  <a:gd name="T18" fmla="*/ 150 w 439"/>
                  <a:gd name="T19" fmla="*/ 3 h 264"/>
                  <a:gd name="T20" fmla="*/ 139 w 439"/>
                  <a:gd name="T21" fmla="*/ 0 h 2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39" h="264">
                    <a:moveTo>
                      <a:pt x="139" y="0"/>
                    </a:moveTo>
                    <a:cubicBezTo>
                      <a:pt x="134" y="0"/>
                      <a:pt x="130" y="1"/>
                      <a:pt x="127" y="3"/>
                    </a:cubicBezTo>
                    <a:cubicBezTo>
                      <a:pt x="16" y="68"/>
                      <a:pt x="16" y="68"/>
                      <a:pt x="16" y="68"/>
                    </a:cubicBezTo>
                    <a:cubicBezTo>
                      <a:pt x="0" y="77"/>
                      <a:pt x="0" y="99"/>
                      <a:pt x="16" y="108"/>
                    </a:cubicBezTo>
                    <a:cubicBezTo>
                      <a:pt x="289" y="260"/>
                      <a:pt x="289" y="260"/>
                      <a:pt x="289" y="260"/>
                    </a:cubicBezTo>
                    <a:cubicBezTo>
                      <a:pt x="292" y="262"/>
                      <a:pt x="296" y="264"/>
                      <a:pt x="300" y="264"/>
                    </a:cubicBezTo>
                    <a:cubicBezTo>
                      <a:pt x="304" y="264"/>
                      <a:pt x="308" y="262"/>
                      <a:pt x="312" y="260"/>
                    </a:cubicBezTo>
                    <a:cubicBezTo>
                      <a:pt x="423" y="195"/>
                      <a:pt x="423" y="195"/>
                      <a:pt x="423" y="195"/>
                    </a:cubicBezTo>
                    <a:cubicBezTo>
                      <a:pt x="439" y="186"/>
                      <a:pt x="439" y="164"/>
                      <a:pt x="423" y="155"/>
                    </a:cubicBezTo>
                    <a:cubicBezTo>
                      <a:pt x="150" y="3"/>
                      <a:pt x="150" y="3"/>
                      <a:pt x="150" y="3"/>
                    </a:cubicBezTo>
                    <a:cubicBezTo>
                      <a:pt x="147" y="1"/>
                      <a:pt x="143" y="0"/>
                      <a:pt x="139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CB636659-5ADB-4293-9E12-FAA2C932E250}"/>
                  </a:ext>
                </a:extLst>
              </p:cNvPr>
              <p:cNvSpPr/>
              <p:nvPr/>
            </p:nvSpPr>
            <p:spPr bwMode="auto">
              <a:xfrm>
                <a:off x="5168806" y="4467299"/>
                <a:ext cx="1737994" cy="1100464"/>
              </a:xfrm>
              <a:custGeom>
                <a:avLst/>
                <a:gdLst>
                  <a:gd name="T0" fmla="*/ 182 w 316"/>
                  <a:gd name="T1" fmla="*/ 0 h 200"/>
                  <a:gd name="T2" fmla="*/ 170 w 316"/>
                  <a:gd name="T3" fmla="*/ 3 h 200"/>
                  <a:gd name="T4" fmla="*/ 15 w 316"/>
                  <a:gd name="T5" fmla="*/ 95 h 200"/>
                  <a:gd name="T6" fmla="*/ 15 w 316"/>
                  <a:gd name="T7" fmla="*/ 135 h 200"/>
                  <a:gd name="T8" fmla="*/ 122 w 316"/>
                  <a:gd name="T9" fmla="*/ 196 h 200"/>
                  <a:gd name="T10" fmla="*/ 134 w 316"/>
                  <a:gd name="T11" fmla="*/ 200 h 200"/>
                  <a:gd name="T12" fmla="*/ 146 w 316"/>
                  <a:gd name="T13" fmla="*/ 196 h 200"/>
                  <a:gd name="T14" fmla="*/ 301 w 316"/>
                  <a:gd name="T15" fmla="*/ 105 h 200"/>
                  <a:gd name="T16" fmla="*/ 301 w 316"/>
                  <a:gd name="T17" fmla="*/ 64 h 200"/>
                  <a:gd name="T18" fmla="*/ 194 w 316"/>
                  <a:gd name="T19" fmla="*/ 3 h 200"/>
                  <a:gd name="T20" fmla="*/ 182 w 316"/>
                  <a:gd name="T21" fmla="*/ 0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6" h="200">
                    <a:moveTo>
                      <a:pt x="182" y="0"/>
                    </a:moveTo>
                    <a:cubicBezTo>
                      <a:pt x="178" y="0"/>
                      <a:pt x="174" y="1"/>
                      <a:pt x="170" y="3"/>
                    </a:cubicBezTo>
                    <a:cubicBezTo>
                      <a:pt x="15" y="95"/>
                      <a:pt x="15" y="95"/>
                      <a:pt x="15" y="95"/>
                    </a:cubicBezTo>
                    <a:cubicBezTo>
                      <a:pt x="0" y="104"/>
                      <a:pt x="0" y="126"/>
                      <a:pt x="15" y="135"/>
                    </a:cubicBezTo>
                    <a:cubicBezTo>
                      <a:pt x="122" y="196"/>
                      <a:pt x="122" y="196"/>
                      <a:pt x="122" y="196"/>
                    </a:cubicBezTo>
                    <a:cubicBezTo>
                      <a:pt x="126" y="199"/>
                      <a:pt x="130" y="200"/>
                      <a:pt x="134" y="200"/>
                    </a:cubicBezTo>
                    <a:cubicBezTo>
                      <a:pt x="138" y="200"/>
                      <a:pt x="142" y="199"/>
                      <a:pt x="146" y="196"/>
                    </a:cubicBezTo>
                    <a:cubicBezTo>
                      <a:pt x="301" y="105"/>
                      <a:pt x="301" y="105"/>
                      <a:pt x="301" y="105"/>
                    </a:cubicBezTo>
                    <a:cubicBezTo>
                      <a:pt x="316" y="96"/>
                      <a:pt x="316" y="73"/>
                      <a:pt x="301" y="64"/>
                    </a:cubicBezTo>
                    <a:cubicBezTo>
                      <a:pt x="194" y="3"/>
                      <a:pt x="194" y="3"/>
                      <a:pt x="194" y="3"/>
                    </a:cubicBezTo>
                    <a:cubicBezTo>
                      <a:pt x="190" y="1"/>
                      <a:pt x="186" y="0"/>
                      <a:pt x="182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B80BAED3-8A1E-4C3C-8A8D-A8316017D3CE}"/>
                  </a:ext>
                </a:extLst>
              </p:cNvPr>
              <p:cNvSpPr/>
              <p:nvPr/>
            </p:nvSpPr>
            <p:spPr bwMode="auto">
              <a:xfrm>
                <a:off x="3343516" y="3059975"/>
                <a:ext cx="1253894" cy="814767"/>
              </a:xfrm>
              <a:custGeom>
                <a:avLst/>
                <a:gdLst>
                  <a:gd name="T0" fmla="*/ 183 w 228"/>
                  <a:gd name="T1" fmla="*/ 0 h 148"/>
                  <a:gd name="T2" fmla="*/ 171 w 228"/>
                  <a:gd name="T3" fmla="*/ 4 h 148"/>
                  <a:gd name="T4" fmla="*/ 16 w 228"/>
                  <a:gd name="T5" fmla="*/ 95 h 148"/>
                  <a:gd name="T6" fmla="*/ 16 w 228"/>
                  <a:gd name="T7" fmla="*/ 136 h 148"/>
                  <a:gd name="T8" fmla="*/ 34 w 228"/>
                  <a:gd name="T9" fmla="*/ 145 h 148"/>
                  <a:gd name="T10" fmla="*/ 45 w 228"/>
                  <a:gd name="T11" fmla="*/ 148 h 148"/>
                  <a:gd name="T12" fmla="*/ 57 w 228"/>
                  <a:gd name="T13" fmla="*/ 145 h 148"/>
                  <a:gd name="T14" fmla="*/ 212 w 228"/>
                  <a:gd name="T15" fmla="*/ 53 h 148"/>
                  <a:gd name="T16" fmla="*/ 212 w 228"/>
                  <a:gd name="T17" fmla="*/ 13 h 148"/>
                  <a:gd name="T18" fmla="*/ 194 w 228"/>
                  <a:gd name="T19" fmla="*/ 4 h 148"/>
                  <a:gd name="T20" fmla="*/ 183 w 228"/>
                  <a:gd name="T21" fmla="*/ 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28" h="148">
                    <a:moveTo>
                      <a:pt x="183" y="0"/>
                    </a:moveTo>
                    <a:cubicBezTo>
                      <a:pt x="179" y="0"/>
                      <a:pt x="175" y="1"/>
                      <a:pt x="171" y="4"/>
                    </a:cubicBezTo>
                    <a:cubicBezTo>
                      <a:pt x="16" y="95"/>
                      <a:pt x="16" y="95"/>
                      <a:pt x="16" y="95"/>
                    </a:cubicBezTo>
                    <a:cubicBezTo>
                      <a:pt x="0" y="104"/>
                      <a:pt x="1" y="127"/>
                      <a:pt x="16" y="136"/>
                    </a:cubicBezTo>
                    <a:cubicBezTo>
                      <a:pt x="34" y="145"/>
                      <a:pt x="34" y="145"/>
                      <a:pt x="34" y="145"/>
                    </a:cubicBezTo>
                    <a:cubicBezTo>
                      <a:pt x="37" y="147"/>
                      <a:pt x="41" y="148"/>
                      <a:pt x="45" y="148"/>
                    </a:cubicBezTo>
                    <a:cubicBezTo>
                      <a:pt x="49" y="148"/>
                      <a:pt x="54" y="147"/>
                      <a:pt x="57" y="145"/>
                    </a:cubicBezTo>
                    <a:cubicBezTo>
                      <a:pt x="212" y="53"/>
                      <a:pt x="212" y="53"/>
                      <a:pt x="212" y="53"/>
                    </a:cubicBezTo>
                    <a:cubicBezTo>
                      <a:pt x="228" y="44"/>
                      <a:pt x="228" y="22"/>
                      <a:pt x="212" y="13"/>
                    </a:cubicBezTo>
                    <a:cubicBezTo>
                      <a:pt x="194" y="4"/>
                      <a:pt x="194" y="4"/>
                      <a:pt x="194" y="4"/>
                    </a:cubicBezTo>
                    <a:cubicBezTo>
                      <a:pt x="191" y="1"/>
                      <a:pt x="187" y="0"/>
                      <a:pt x="183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5080DE7D-2F0D-4F1F-ADD7-FB1178ADD126}"/>
                  </a:ext>
                </a:extLst>
              </p:cNvPr>
              <p:cNvSpPr/>
              <p:nvPr/>
            </p:nvSpPr>
            <p:spPr bwMode="auto">
              <a:xfrm>
                <a:off x="6219009" y="3864160"/>
                <a:ext cx="1576627" cy="984069"/>
              </a:xfrm>
              <a:custGeom>
                <a:avLst/>
                <a:gdLst>
                  <a:gd name="T0" fmla="*/ 45 w 287"/>
                  <a:gd name="T1" fmla="*/ 0 h 179"/>
                  <a:gd name="T2" fmla="*/ 34 w 287"/>
                  <a:gd name="T3" fmla="*/ 3 h 179"/>
                  <a:gd name="T4" fmla="*/ 15 w 287"/>
                  <a:gd name="T5" fmla="*/ 14 h 179"/>
                  <a:gd name="T6" fmla="*/ 15 w 287"/>
                  <a:gd name="T7" fmla="*/ 54 h 179"/>
                  <a:gd name="T8" fmla="*/ 229 w 287"/>
                  <a:gd name="T9" fmla="*/ 175 h 179"/>
                  <a:gd name="T10" fmla="*/ 241 w 287"/>
                  <a:gd name="T11" fmla="*/ 179 h 179"/>
                  <a:gd name="T12" fmla="*/ 253 w 287"/>
                  <a:gd name="T13" fmla="*/ 175 h 179"/>
                  <a:gd name="T14" fmla="*/ 271 w 287"/>
                  <a:gd name="T15" fmla="*/ 165 h 179"/>
                  <a:gd name="T16" fmla="*/ 271 w 287"/>
                  <a:gd name="T17" fmla="*/ 124 h 179"/>
                  <a:gd name="T18" fmla="*/ 57 w 287"/>
                  <a:gd name="T19" fmla="*/ 3 h 179"/>
                  <a:gd name="T20" fmla="*/ 45 w 287"/>
                  <a:gd name="T21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7" h="179">
                    <a:moveTo>
                      <a:pt x="45" y="0"/>
                    </a:moveTo>
                    <a:cubicBezTo>
                      <a:pt x="41" y="0"/>
                      <a:pt x="37" y="1"/>
                      <a:pt x="34" y="3"/>
                    </a:cubicBezTo>
                    <a:cubicBezTo>
                      <a:pt x="15" y="14"/>
                      <a:pt x="15" y="14"/>
                      <a:pt x="15" y="14"/>
                    </a:cubicBezTo>
                    <a:cubicBezTo>
                      <a:pt x="0" y="23"/>
                      <a:pt x="0" y="45"/>
                      <a:pt x="15" y="54"/>
                    </a:cubicBezTo>
                    <a:cubicBezTo>
                      <a:pt x="229" y="175"/>
                      <a:pt x="229" y="175"/>
                      <a:pt x="229" y="175"/>
                    </a:cubicBezTo>
                    <a:cubicBezTo>
                      <a:pt x="233" y="177"/>
                      <a:pt x="237" y="179"/>
                      <a:pt x="241" y="179"/>
                    </a:cubicBezTo>
                    <a:cubicBezTo>
                      <a:pt x="245" y="179"/>
                      <a:pt x="249" y="177"/>
                      <a:pt x="253" y="175"/>
                    </a:cubicBezTo>
                    <a:cubicBezTo>
                      <a:pt x="271" y="165"/>
                      <a:pt x="271" y="165"/>
                      <a:pt x="271" y="165"/>
                    </a:cubicBezTo>
                    <a:cubicBezTo>
                      <a:pt x="287" y="156"/>
                      <a:pt x="286" y="133"/>
                      <a:pt x="271" y="124"/>
                    </a:cubicBezTo>
                    <a:cubicBezTo>
                      <a:pt x="57" y="3"/>
                      <a:pt x="57" y="3"/>
                      <a:pt x="57" y="3"/>
                    </a:cubicBezTo>
                    <a:cubicBezTo>
                      <a:pt x="54" y="1"/>
                      <a:pt x="49" y="0"/>
                      <a:pt x="45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5841C99A-1299-4D36-828E-88840BD7779E}"/>
                  </a:ext>
                </a:extLst>
              </p:cNvPr>
              <p:cNvSpPr/>
              <p:nvPr/>
            </p:nvSpPr>
            <p:spPr bwMode="auto">
              <a:xfrm>
                <a:off x="4917498" y="3528200"/>
                <a:ext cx="1327964" cy="878255"/>
              </a:xfrm>
              <a:custGeom>
                <a:avLst/>
                <a:gdLst>
                  <a:gd name="T0" fmla="*/ 141 w 242"/>
                  <a:gd name="T1" fmla="*/ 69 h 160"/>
                  <a:gd name="T2" fmla="*/ 144 w 242"/>
                  <a:gd name="T3" fmla="*/ 67 h 160"/>
                  <a:gd name="T4" fmla="*/ 145 w 242"/>
                  <a:gd name="T5" fmla="*/ 70 h 160"/>
                  <a:gd name="T6" fmla="*/ 150 w 242"/>
                  <a:gd name="T7" fmla="*/ 64 h 160"/>
                  <a:gd name="T8" fmla="*/ 0 w 242"/>
                  <a:gd name="T9" fmla="*/ 67 h 160"/>
                  <a:gd name="T10" fmla="*/ 6 w 242"/>
                  <a:gd name="T11" fmla="*/ 62 h 160"/>
                  <a:gd name="T12" fmla="*/ 180 w 242"/>
                  <a:gd name="T13" fmla="*/ 32 h 160"/>
                  <a:gd name="T14" fmla="*/ 180 w 242"/>
                  <a:gd name="T15" fmla="*/ 32 h 160"/>
                  <a:gd name="T16" fmla="*/ 177 w 242"/>
                  <a:gd name="T17" fmla="*/ 51 h 160"/>
                  <a:gd name="T18" fmla="*/ 168 w 242"/>
                  <a:gd name="T19" fmla="*/ 115 h 160"/>
                  <a:gd name="T20" fmla="*/ 169 w 242"/>
                  <a:gd name="T21" fmla="*/ 117 h 160"/>
                  <a:gd name="T22" fmla="*/ 163 w 242"/>
                  <a:gd name="T23" fmla="*/ 117 h 160"/>
                  <a:gd name="T24" fmla="*/ 163 w 242"/>
                  <a:gd name="T25" fmla="*/ 115 h 160"/>
                  <a:gd name="T26" fmla="*/ 163 w 242"/>
                  <a:gd name="T27" fmla="*/ 56 h 160"/>
                  <a:gd name="T28" fmla="*/ 149 w 242"/>
                  <a:gd name="T29" fmla="*/ 72 h 160"/>
                  <a:gd name="T30" fmla="*/ 136 w 242"/>
                  <a:gd name="T31" fmla="*/ 70 h 160"/>
                  <a:gd name="T32" fmla="*/ 135 w 242"/>
                  <a:gd name="T33" fmla="*/ 134 h 160"/>
                  <a:gd name="T34" fmla="*/ 135 w 242"/>
                  <a:gd name="T35" fmla="*/ 134 h 160"/>
                  <a:gd name="T36" fmla="*/ 132 w 242"/>
                  <a:gd name="T37" fmla="*/ 138 h 160"/>
                  <a:gd name="T38" fmla="*/ 129 w 242"/>
                  <a:gd name="T39" fmla="*/ 134 h 160"/>
                  <a:gd name="T40" fmla="*/ 129 w 242"/>
                  <a:gd name="T41" fmla="*/ 96 h 160"/>
                  <a:gd name="T42" fmla="*/ 125 w 242"/>
                  <a:gd name="T43" fmla="*/ 95 h 160"/>
                  <a:gd name="T44" fmla="*/ 125 w 242"/>
                  <a:gd name="T45" fmla="*/ 92 h 160"/>
                  <a:gd name="T46" fmla="*/ 97 w 242"/>
                  <a:gd name="T47" fmla="*/ 53 h 160"/>
                  <a:gd name="T48" fmla="*/ 97 w 242"/>
                  <a:gd name="T49" fmla="*/ 112 h 160"/>
                  <a:gd name="T50" fmla="*/ 94 w 242"/>
                  <a:gd name="T51" fmla="*/ 115 h 160"/>
                  <a:gd name="T52" fmla="*/ 91 w 242"/>
                  <a:gd name="T53" fmla="*/ 112 h 160"/>
                  <a:gd name="T54" fmla="*/ 91 w 242"/>
                  <a:gd name="T55" fmla="*/ 49 h 160"/>
                  <a:gd name="T56" fmla="*/ 87 w 242"/>
                  <a:gd name="T57" fmla="*/ 35 h 160"/>
                  <a:gd name="T58" fmla="*/ 88 w 242"/>
                  <a:gd name="T59" fmla="*/ 75 h 160"/>
                  <a:gd name="T60" fmla="*/ 86 w 242"/>
                  <a:gd name="T61" fmla="*/ 88 h 160"/>
                  <a:gd name="T62" fmla="*/ 70 w 242"/>
                  <a:gd name="T63" fmla="*/ 96 h 160"/>
                  <a:gd name="T64" fmla="*/ 63 w 242"/>
                  <a:gd name="T65" fmla="*/ 82 h 160"/>
                  <a:gd name="T66" fmla="*/ 75 w 242"/>
                  <a:gd name="T67" fmla="*/ 80 h 160"/>
                  <a:gd name="T68" fmla="*/ 72 w 242"/>
                  <a:gd name="T69" fmla="*/ 70 h 160"/>
                  <a:gd name="T70" fmla="*/ 59 w 242"/>
                  <a:gd name="T71" fmla="*/ 33 h 160"/>
                  <a:gd name="T72" fmla="*/ 27 w 242"/>
                  <a:gd name="T73" fmla="*/ 31 h 160"/>
                  <a:gd name="T74" fmla="*/ 20 w 242"/>
                  <a:gd name="T75" fmla="*/ 42 h 160"/>
                  <a:gd name="T76" fmla="*/ 20 w 242"/>
                  <a:gd name="T77" fmla="*/ 48 h 160"/>
                  <a:gd name="T78" fmla="*/ 14 w 242"/>
                  <a:gd name="T79" fmla="*/ 58 h 160"/>
                  <a:gd name="T80" fmla="*/ 15 w 242"/>
                  <a:gd name="T81" fmla="*/ 65 h 160"/>
                  <a:gd name="T82" fmla="*/ 17 w 242"/>
                  <a:gd name="T83" fmla="*/ 69 h 160"/>
                  <a:gd name="T84" fmla="*/ 14 w 242"/>
                  <a:gd name="T85" fmla="*/ 111 h 160"/>
                  <a:gd name="T86" fmla="*/ 116 w 242"/>
                  <a:gd name="T87" fmla="*/ 157 h 160"/>
                  <a:gd name="T88" fmla="*/ 180 w 242"/>
                  <a:gd name="T89" fmla="*/ 24 h 160"/>
                  <a:gd name="T90" fmla="*/ 162 w 242"/>
                  <a:gd name="T91" fmla="*/ 26 h 160"/>
                  <a:gd name="T92" fmla="*/ 168 w 242"/>
                  <a:gd name="T93" fmla="*/ 37 h 160"/>
                  <a:gd name="T94" fmla="*/ 168 w 242"/>
                  <a:gd name="T95" fmla="*/ 56 h 160"/>
                  <a:gd name="T96" fmla="*/ 173 w 242"/>
                  <a:gd name="T97" fmla="*/ 37 h 160"/>
                  <a:gd name="T98" fmla="*/ 172 w 242"/>
                  <a:gd name="T99" fmla="*/ 32 h 160"/>
                  <a:gd name="T100" fmla="*/ 168 w 242"/>
                  <a:gd name="T101" fmla="*/ 17 h 160"/>
                  <a:gd name="T102" fmla="*/ 117 w 242"/>
                  <a:gd name="T103" fmla="*/ 6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42" h="160">
                    <a:moveTo>
                      <a:pt x="141" y="69"/>
                    </a:moveTo>
                    <a:cubicBezTo>
                      <a:pt x="141" y="69"/>
                      <a:pt x="141" y="69"/>
                      <a:pt x="141" y="69"/>
                    </a:cubicBezTo>
                    <a:cubicBezTo>
                      <a:pt x="141" y="69"/>
                      <a:pt x="141" y="69"/>
                      <a:pt x="141" y="69"/>
                    </a:cubicBezTo>
                    <a:cubicBezTo>
                      <a:pt x="141" y="69"/>
                      <a:pt x="141" y="69"/>
                      <a:pt x="141" y="69"/>
                    </a:cubicBezTo>
                    <a:moveTo>
                      <a:pt x="150" y="64"/>
                    </a:moveTo>
                    <a:cubicBezTo>
                      <a:pt x="144" y="67"/>
                      <a:pt x="144" y="67"/>
                      <a:pt x="144" y="67"/>
                    </a:cubicBezTo>
                    <a:cubicBezTo>
                      <a:pt x="143" y="68"/>
                      <a:pt x="142" y="68"/>
                      <a:pt x="141" y="69"/>
                    </a:cubicBezTo>
                    <a:cubicBezTo>
                      <a:pt x="142" y="69"/>
                      <a:pt x="142" y="69"/>
                      <a:pt x="142" y="69"/>
                    </a:cubicBezTo>
                    <a:cubicBezTo>
                      <a:pt x="143" y="70"/>
                      <a:pt x="144" y="70"/>
                      <a:pt x="145" y="70"/>
                    </a:cubicBezTo>
                    <a:cubicBezTo>
                      <a:pt x="145" y="70"/>
                      <a:pt x="146" y="70"/>
                      <a:pt x="147" y="69"/>
                    </a:cubicBezTo>
                    <a:cubicBezTo>
                      <a:pt x="149" y="68"/>
                      <a:pt x="150" y="66"/>
                      <a:pt x="150" y="65"/>
                    </a:cubicBezTo>
                    <a:cubicBezTo>
                      <a:pt x="150" y="64"/>
                      <a:pt x="150" y="64"/>
                      <a:pt x="150" y="64"/>
                    </a:cubicBezTo>
                    <a:moveTo>
                      <a:pt x="6" y="62"/>
                    </a:moveTo>
                    <a:cubicBezTo>
                      <a:pt x="0" y="66"/>
                      <a:pt x="0" y="66"/>
                      <a:pt x="0" y="66"/>
                    </a:cubicBezTo>
                    <a:cubicBezTo>
                      <a:pt x="0" y="66"/>
                      <a:pt x="0" y="66"/>
                      <a:pt x="0" y="67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62"/>
                      <a:pt x="6" y="62"/>
                      <a:pt x="6" y="62"/>
                    </a:cubicBezTo>
                    <a:moveTo>
                      <a:pt x="180" y="24"/>
                    </a:moveTo>
                    <a:cubicBezTo>
                      <a:pt x="180" y="31"/>
                      <a:pt x="180" y="31"/>
                      <a:pt x="180" y="31"/>
                    </a:cubicBezTo>
                    <a:cubicBezTo>
                      <a:pt x="180" y="31"/>
                      <a:pt x="180" y="32"/>
                      <a:pt x="180" y="32"/>
                    </a:cubicBezTo>
                    <a:cubicBezTo>
                      <a:pt x="180" y="32"/>
                      <a:pt x="180" y="32"/>
                      <a:pt x="180" y="32"/>
                    </a:cubicBezTo>
                    <a:cubicBezTo>
                      <a:pt x="180" y="32"/>
                      <a:pt x="180" y="32"/>
                      <a:pt x="180" y="32"/>
                    </a:cubicBezTo>
                    <a:cubicBezTo>
                      <a:pt x="180" y="32"/>
                      <a:pt x="180" y="32"/>
                      <a:pt x="180" y="32"/>
                    </a:cubicBezTo>
                    <a:cubicBezTo>
                      <a:pt x="180" y="35"/>
                      <a:pt x="180" y="35"/>
                      <a:pt x="180" y="35"/>
                    </a:cubicBezTo>
                    <a:cubicBezTo>
                      <a:pt x="180" y="36"/>
                      <a:pt x="179" y="37"/>
                      <a:pt x="177" y="37"/>
                    </a:cubicBezTo>
                    <a:cubicBezTo>
                      <a:pt x="177" y="51"/>
                      <a:pt x="177" y="51"/>
                      <a:pt x="177" y="51"/>
                    </a:cubicBezTo>
                    <a:cubicBezTo>
                      <a:pt x="177" y="54"/>
                      <a:pt x="175" y="57"/>
                      <a:pt x="173" y="59"/>
                    </a:cubicBezTo>
                    <a:cubicBezTo>
                      <a:pt x="171" y="60"/>
                      <a:pt x="170" y="60"/>
                      <a:pt x="168" y="60"/>
                    </a:cubicBezTo>
                    <a:cubicBezTo>
                      <a:pt x="168" y="115"/>
                      <a:pt x="168" y="115"/>
                      <a:pt x="168" y="115"/>
                    </a:cubicBezTo>
                    <a:cubicBezTo>
                      <a:pt x="169" y="115"/>
                      <a:pt x="169" y="115"/>
                      <a:pt x="169" y="115"/>
                    </a:cubicBezTo>
                    <a:cubicBezTo>
                      <a:pt x="169" y="115"/>
                      <a:pt x="169" y="116"/>
                      <a:pt x="169" y="116"/>
                    </a:cubicBezTo>
                    <a:cubicBezTo>
                      <a:pt x="169" y="117"/>
                      <a:pt x="169" y="117"/>
                      <a:pt x="169" y="117"/>
                    </a:cubicBezTo>
                    <a:cubicBezTo>
                      <a:pt x="169" y="118"/>
                      <a:pt x="167" y="119"/>
                      <a:pt x="166" y="119"/>
                    </a:cubicBezTo>
                    <a:cubicBezTo>
                      <a:pt x="166" y="119"/>
                      <a:pt x="166" y="119"/>
                      <a:pt x="166" y="119"/>
                    </a:cubicBezTo>
                    <a:cubicBezTo>
                      <a:pt x="164" y="119"/>
                      <a:pt x="163" y="118"/>
                      <a:pt x="163" y="117"/>
                    </a:cubicBezTo>
                    <a:cubicBezTo>
                      <a:pt x="163" y="116"/>
                      <a:pt x="163" y="116"/>
                      <a:pt x="163" y="116"/>
                    </a:cubicBezTo>
                    <a:cubicBezTo>
                      <a:pt x="163" y="116"/>
                      <a:pt x="163" y="116"/>
                      <a:pt x="163" y="116"/>
                    </a:cubicBezTo>
                    <a:cubicBezTo>
                      <a:pt x="163" y="115"/>
                      <a:pt x="163" y="115"/>
                      <a:pt x="163" y="115"/>
                    </a:cubicBezTo>
                    <a:cubicBezTo>
                      <a:pt x="163" y="59"/>
                      <a:pt x="163" y="59"/>
                      <a:pt x="163" y="59"/>
                    </a:cubicBezTo>
                    <a:cubicBezTo>
                      <a:pt x="161" y="58"/>
                      <a:pt x="161" y="58"/>
                      <a:pt x="161" y="58"/>
                    </a:cubicBezTo>
                    <a:cubicBezTo>
                      <a:pt x="163" y="56"/>
                      <a:pt x="163" y="56"/>
                      <a:pt x="163" y="56"/>
                    </a:cubicBezTo>
                    <a:cubicBezTo>
                      <a:pt x="154" y="62"/>
                      <a:pt x="154" y="62"/>
                      <a:pt x="154" y="62"/>
                    </a:cubicBezTo>
                    <a:cubicBezTo>
                      <a:pt x="154" y="65"/>
                      <a:pt x="154" y="65"/>
                      <a:pt x="154" y="65"/>
                    </a:cubicBezTo>
                    <a:cubicBezTo>
                      <a:pt x="154" y="68"/>
                      <a:pt x="152" y="71"/>
                      <a:pt x="149" y="72"/>
                    </a:cubicBezTo>
                    <a:cubicBezTo>
                      <a:pt x="148" y="73"/>
                      <a:pt x="146" y="74"/>
                      <a:pt x="145" y="74"/>
                    </a:cubicBezTo>
                    <a:cubicBezTo>
                      <a:pt x="143" y="74"/>
                      <a:pt x="142" y="73"/>
                      <a:pt x="140" y="72"/>
                    </a:cubicBezTo>
                    <a:cubicBezTo>
                      <a:pt x="136" y="70"/>
                      <a:pt x="136" y="70"/>
                      <a:pt x="136" y="70"/>
                    </a:cubicBezTo>
                    <a:cubicBezTo>
                      <a:pt x="136" y="70"/>
                      <a:pt x="135" y="70"/>
                      <a:pt x="135" y="70"/>
                    </a:cubicBezTo>
                    <a:cubicBezTo>
                      <a:pt x="135" y="133"/>
                      <a:pt x="135" y="133"/>
                      <a:pt x="135" y="133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5" y="134"/>
                      <a:pt x="135" y="134"/>
                      <a:pt x="135" y="134"/>
                    </a:cubicBezTo>
                    <a:cubicBezTo>
                      <a:pt x="135" y="136"/>
                      <a:pt x="135" y="136"/>
                      <a:pt x="135" y="136"/>
                    </a:cubicBezTo>
                    <a:cubicBezTo>
                      <a:pt x="135" y="137"/>
                      <a:pt x="134" y="138"/>
                      <a:pt x="132" y="138"/>
                    </a:cubicBezTo>
                    <a:cubicBezTo>
                      <a:pt x="132" y="138"/>
                      <a:pt x="132" y="138"/>
                      <a:pt x="132" y="138"/>
                    </a:cubicBezTo>
                    <a:cubicBezTo>
                      <a:pt x="130" y="138"/>
                      <a:pt x="129" y="137"/>
                      <a:pt x="129" y="136"/>
                    </a:cubicBezTo>
                    <a:cubicBezTo>
                      <a:pt x="129" y="134"/>
                      <a:pt x="129" y="134"/>
                      <a:pt x="129" y="134"/>
                    </a:cubicBezTo>
                    <a:cubicBezTo>
                      <a:pt x="129" y="134"/>
                      <a:pt x="129" y="134"/>
                      <a:pt x="129" y="134"/>
                    </a:cubicBezTo>
                    <a:cubicBezTo>
                      <a:pt x="129" y="134"/>
                      <a:pt x="129" y="134"/>
                      <a:pt x="129" y="133"/>
                    </a:cubicBezTo>
                    <a:cubicBezTo>
                      <a:pt x="129" y="96"/>
                      <a:pt x="129" y="96"/>
                      <a:pt x="129" y="96"/>
                    </a:cubicBezTo>
                    <a:cubicBezTo>
                      <a:pt x="129" y="96"/>
                      <a:pt x="129" y="97"/>
                      <a:pt x="128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126" y="97"/>
                      <a:pt x="125" y="96"/>
                      <a:pt x="125" y="95"/>
                    </a:cubicBezTo>
                    <a:cubicBezTo>
                      <a:pt x="125" y="93"/>
                      <a:pt x="125" y="93"/>
                      <a:pt x="125" y="93"/>
                    </a:cubicBezTo>
                    <a:cubicBezTo>
                      <a:pt x="125" y="93"/>
                      <a:pt x="125" y="93"/>
                      <a:pt x="125" y="93"/>
                    </a:cubicBezTo>
                    <a:cubicBezTo>
                      <a:pt x="125" y="93"/>
                      <a:pt x="125" y="93"/>
                      <a:pt x="125" y="92"/>
                    </a:cubicBezTo>
                    <a:cubicBezTo>
                      <a:pt x="125" y="69"/>
                      <a:pt x="125" y="69"/>
                      <a:pt x="125" y="69"/>
                    </a:cubicBezTo>
                    <a:cubicBezTo>
                      <a:pt x="124" y="68"/>
                      <a:pt x="123" y="68"/>
                      <a:pt x="122" y="67"/>
                    </a:cubicBezTo>
                    <a:cubicBezTo>
                      <a:pt x="97" y="53"/>
                      <a:pt x="97" y="53"/>
                      <a:pt x="97" y="53"/>
                    </a:cubicBezTo>
                    <a:cubicBezTo>
                      <a:pt x="97" y="111"/>
                      <a:pt x="97" y="111"/>
                      <a:pt x="97" y="111"/>
                    </a:cubicBezTo>
                    <a:cubicBezTo>
                      <a:pt x="97" y="111"/>
                      <a:pt x="97" y="112"/>
                      <a:pt x="97" y="112"/>
                    </a:cubicBezTo>
                    <a:cubicBezTo>
                      <a:pt x="97" y="112"/>
                      <a:pt x="97" y="112"/>
                      <a:pt x="97" y="112"/>
                    </a:cubicBezTo>
                    <a:cubicBezTo>
                      <a:pt x="97" y="113"/>
                      <a:pt x="97" y="113"/>
                      <a:pt x="97" y="113"/>
                    </a:cubicBezTo>
                    <a:cubicBezTo>
                      <a:pt x="97" y="115"/>
                      <a:pt x="96" y="115"/>
                      <a:pt x="94" y="115"/>
                    </a:cubicBezTo>
                    <a:cubicBezTo>
                      <a:pt x="94" y="115"/>
                      <a:pt x="94" y="115"/>
                      <a:pt x="94" y="115"/>
                    </a:cubicBezTo>
                    <a:cubicBezTo>
                      <a:pt x="93" y="115"/>
                      <a:pt x="91" y="115"/>
                      <a:pt x="91" y="114"/>
                    </a:cubicBezTo>
                    <a:cubicBezTo>
                      <a:pt x="91" y="112"/>
                      <a:pt x="91" y="112"/>
                      <a:pt x="91" y="112"/>
                    </a:cubicBezTo>
                    <a:cubicBezTo>
                      <a:pt x="91" y="112"/>
                      <a:pt x="91" y="112"/>
                      <a:pt x="91" y="112"/>
                    </a:cubicBezTo>
                    <a:cubicBezTo>
                      <a:pt x="91" y="112"/>
                      <a:pt x="91" y="111"/>
                      <a:pt x="92" y="111"/>
                    </a:cubicBezTo>
                    <a:cubicBezTo>
                      <a:pt x="92" y="50"/>
                      <a:pt x="92" y="50"/>
                      <a:pt x="92" y="50"/>
                    </a:cubicBezTo>
                    <a:cubicBezTo>
                      <a:pt x="91" y="49"/>
                      <a:pt x="91" y="49"/>
                      <a:pt x="91" y="49"/>
                    </a:cubicBezTo>
                    <a:cubicBezTo>
                      <a:pt x="88" y="48"/>
                      <a:pt x="87" y="45"/>
                      <a:pt x="88" y="42"/>
                    </a:cubicBezTo>
                    <a:cubicBezTo>
                      <a:pt x="87" y="40"/>
                      <a:pt x="88" y="38"/>
                      <a:pt x="89" y="37"/>
                    </a:cubicBezTo>
                    <a:cubicBezTo>
                      <a:pt x="88" y="36"/>
                      <a:pt x="87" y="35"/>
                      <a:pt x="87" y="35"/>
                    </a:cubicBezTo>
                    <a:cubicBezTo>
                      <a:pt x="87" y="35"/>
                      <a:pt x="87" y="40"/>
                      <a:pt x="87" y="42"/>
                    </a:cubicBezTo>
                    <a:cubicBezTo>
                      <a:pt x="87" y="44"/>
                      <a:pt x="87" y="63"/>
                      <a:pt x="87" y="73"/>
                    </a:cubicBezTo>
                    <a:cubicBezTo>
                      <a:pt x="88" y="74"/>
                      <a:pt x="88" y="74"/>
                      <a:pt x="88" y="75"/>
                    </a:cubicBezTo>
                    <a:cubicBezTo>
                      <a:pt x="88" y="80"/>
                      <a:pt x="88" y="80"/>
                      <a:pt x="88" y="80"/>
                    </a:cubicBezTo>
                    <a:cubicBezTo>
                      <a:pt x="88" y="81"/>
                      <a:pt x="87" y="82"/>
                      <a:pt x="86" y="82"/>
                    </a:cubicBezTo>
                    <a:cubicBezTo>
                      <a:pt x="86" y="85"/>
                      <a:pt x="86" y="87"/>
                      <a:pt x="86" y="88"/>
                    </a:cubicBezTo>
                    <a:cubicBezTo>
                      <a:pt x="86" y="88"/>
                      <a:pt x="90" y="96"/>
                      <a:pt x="84" y="99"/>
                    </a:cubicBezTo>
                    <a:cubicBezTo>
                      <a:pt x="83" y="100"/>
                      <a:pt x="82" y="100"/>
                      <a:pt x="81" y="100"/>
                    </a:cubicBezTo>
                    <a:cubicBezTo>
                      <a:pt x="78" y="100"/>
                      <a:pt x="75" y="98"/>
                      <a:pt x="70" y="96"/>
                    </a:cubicBezTo>
                    <a:cubicBezTo>
                      <a:pt x="64" y="92"/>
                      <a:pt x="57" y="88"/>
                      <a:pt x="56" y="87"/>
                    </a:cubicBezTo>
                    <a:cubicBezTo>
                      <a:pt x="55" y="86"/>
                      <a:pt x="56" y="84"/>
                      <a:pt x="59" y="83"/>
                    </a:cubicBezTo>
                    <a:cubicBezTo>
                      <a:pt x="60" y="83"/>
                      <a:pt x="61" y="82"/>
                      <a:pt x="63" y="82"/>
                    </a:cubicBezTo>
                    <a:cubicBezTo>
                      <a:pt x="64" y="82"/>
                      <a:pt x="65" y="82"/>
                      <a:pt x="66" y="82"/>
                    </a:cubicBezTo>
                    <a:cubicBezTo>
                      <a:pt x="68" y="82"/>
                      <a:pt x="72" y="83"/>
                      <a:pt x="75" y="83"/>
                    </a:cubicBezTo>
                    <a:cubicBezTo>
                      <a:pt x="75" y="82"/>
                      <a:pt x="75" y="81"/>
                      <a:pt x="75" y="80"/>
                    </a:cubicBezTo>
                    <a:cubicBezTo>
                      <a:pt x="73" y="79"/>
                      <a:pt x="72" y="78"/>
                      <a:pt x="72" y="76"/>
                    </a:cubicBezTo>
                    <a:cubicBezTo>
                      <a:pt x="72" y="70"/>
                      <a:pt x="72" y="70"/>
                      <a:pt x="72" y="70"/>
                    </a:cubicBezTo>
                    <a:cubicBezTo>
                      <a:pt x="72" y="70"/>
                      <a:pt x="72" y="70"/>
                      <a:pt x="72" y="70"/>
                    </a:cubicBezTo>
                    <a:cubicBezTo>
                      <a:pt x="72" y="70"/>
                      <a:pt x="72" y="70"/>
                      <a:pt x="72" y="70"/>
                    </a:cubicBezTo>
                    <a:cubicBezTo>
                      <a:pt x="72" y="60"/>
                      <a:pt x="72" y="36"/>
                      <a:pt x="72" y="26"/>
                    </a:cubicBezTo>
                    <a:cubicBezTo>
                      <a:pt x="59" y="33"/>
                      <a:pt x="59" y="33"/>
                      <a:pt x="59" y="33"/>
                    </a:cubicBezTo>
                    <a:cubicBezTo>
                      <a:pt x="55" y="36"/>
                      <a:pt x="50" y="37"/>
                      <a:pt x="45" y="37"/>
                    </a:cubicBezTo>
                    <a:cubicBezTo>
                      <a:pt x="40" y="37"/>
                      <a:pt x="36" y="36"/>
                      <a:pt x="31" y="33"/>
                    </a:cubicBezTo>
                    <a:cubicBezTo>
                      <a:pt x="27" y="31"/>
                      <a:pt x="27" y="31"/>
                      <a:pt x="27" y="31"/>
                    </a:cubicBezTo>
                    <a:cubicBezTo>
                      <a:pt x="18" y="36"/>
                      <a:pt x="18" y="36"/>
                      <a:pt x="18" y="36"/>
                    </a:cubicBezTo>
                    <a:cubicBezTo>
                      <a:pt x="20" y="38"/>
                      <a:pt x="20" y="40"/>
                      <a:pt x="20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2"/>
                      <a:pt x="20" y="42"/>
                      <a:pt x="20" y="42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20" y="51"/>
                      <a:pt x="19" y="55"/>
                      <a:pt x="15" y="57"/>
                    </a:cubicBezTo>
                    <a:cubicBezTo>
                      <a:pt x="14" y="58"/>
                      <a:pt x="14" y="58"/>
                      <a:pt x="14" y="58"/>
                    </a:cubicBezTo>
                    <a:cubicBezTo>
                      <a:pt x="14" y="64"/>
                      <a:pt x="14" y="64"/>
                      <a:pt x="14" y="64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4" y="65"/>
                      <a:pt x="14" y="65"/>
                      <a:pt x="15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5" y="65"/>
                      <a:pt x="15" y="65"/>
                      <a:pt x="15" y="65"/>
                    </a:cubicBezTo>
                    <a:cubicBezTo>
                      <a:pt x="16" y="66"/>
                      <a:pt x="17" y="67"/>
                      <a:pt x="17" y="69"/>
                    </a:cubicBezTo>
                    <a:cubicBezTo>
                      <a:pt x="17" y="95"/>
                      <a:pt x="17" y="95"/>
                      <a:pt x="17" y="95"/>
                    </a:cubicBezTo>
                    <a:cubicBezTo>
                      <a:pt x="17" y="98"/>
                      <a:pt x="16" y="101"/>
                      <a:pt x="14" y="104"/>
                    </a:cubicBezTo>
                    <a:cubicBezTo>
                      <a:pt x="14" y="111"/>
                      <a:pt x="14" y="111"/>
                      <a:pt x="14" y="111"/>
                    </a:cubicBezTo>
                    <a:cubicBezTo>
                      <a:pt x="92" y="157"/>
                      <a:pt x="92" y="157"/>
                      <a:pt x="92" y="157"/>
                    </a:cubicBezTo>
                    <a:cubicBezTo>
                      <a:pt x="96" y="159"/>
                      <a:pt x="100" y="160"/>
                      <a:pt x="104" y="160"/>
                    </a:cubicBezTo>
                    <a:cubicBezTo>
                      <a:pt x="108" y="160"/>
                      <a:pt x="112" y="159"/>
                      <a:pt x="116" y="157"/>
                    </a:cubicBezTo>
                    <a:cubicBezTo>
                      <a:pt x="227" y="92"/>
                      <a:pt x="227" y="92"/>
                      <a:pt x="227" y="92"/>
                    </a:cubicBezTo>
                    <a:cubicBezTo>
                      <a:pt x="242" y="83"/>
                      <a:pt x="242" y="60"/>
                      <a:pt x="227" y="51"/>
                    </a:cubicBezTo>
                    <a:cubicBezTo>
                      <a:pt x="180" y="24"/>
                      <a:pt x="180" y="24"/>
                      <a:pt x="180" y="24"/>
                    </a:cubicBezTo>
                    <a:moveTo>
                      <a:pt x="168" y="17"/>
                    </a:moveTo>
                    <a:cubicBezTo>
                      <a:pt x="162" y="21"/>
                      <a:pt x="162" y="21"/>
                      <a:pt x="162" y="21"/>
                    </a:cubicBezTo>
                    <a:cubicBezTo>
                      <a:pt x="162" y="23"/>
                      <a:pt x="162" y="25"/>
                      <a:pt x="162" y="26"/>
                    </a:cubicBezTo>
                    <a:cubicBezTo>
                      <a:pt x="162" y="27"/>
                      <a:pt x="161" y="27"/>
                      <a:pt x="161" y="28"/>
                    </a:cubicBezTo>
                    <a:cubicBezTo>
                      <a:pt x="162" y="30"/>
                      <a:pt x="162" y="31"/>
                      <a:pt x="162" y="33"/>
                    </a:cubicBezTo>
                    <a:cubicBezTo>
                      <a:pt x="168" y="37"/>
                      <a:pt x="168" y="37"/>
                      <a:pt x="168" y="37"/>
                    </a:cubicBezTo>
                    <a:cubicBezTo>
                      <a:pt x="171" y="39"/>
                      <a:pt x="173" y="42"/>
                      <a:pt x="172" y="45"/>
                    </a:cubicBezTo>
                    <a:cubicBezTo>
                      <a:pt x="173" y="48"/>
                      <a:pt x="171" y="52"/>
                      <a:pt x="168" y="53"/>
                    </a:cubicBezTo>
                    <a:cubicBezTo>
                      <a:pt x="168" y="56"/>
                      <a:pt x="168" y="56"/>
                      <a:pt x="168" y="56"/>
                    </a:cubicBezTo>
                    <a:cubicBezTo>
                      <a:pt x="169" y="56"/>
                      <a:pt x="170" y="56"/>
                      <a:pt x="171" y="56"/>
                    </a:cubicBezTo>
                    <a:cubicBezTo>
                      <a:pt x="172" y="55"/>
                      <a:pt x="173" y="53"/>
                      <a:pt x="173" y="51"/>
                    </a:cubicBezTo>
                    <a:cubicBezTo>
                      <a:pt x="173" y="37"/>
                      <a:pt x="173" y="37"/>
                      <a:pt x="173" y="37"/>
                    </a:cubicBezTo>
                    <a:cubicBezTo>
                      <a:pt x="172" y="36"/>
                      <a:pt x="172" y="36"/>
                      <a:pt x="172" y="35"/>
                    </a:cubicBezTo>
                    <a:cubicBezTo>
                      <a:pt x="172" y="32"/>
                      <a:pt x="172" y="32"/>
                      <a:pt x="172" y="32"/>
                    </a:cubicBezTo>
                    <a:cubicBezTo>
                      <a:pt x="172" y="32"/>
                      <a:pt x="172" y="32"/>
                      <a:pt x="172" y="32"/>
                    </a:cubicBezTo>
                    <a:cubicBezTo>
                      <a:pt x="172" y="32"/>
                      <a:pt x="172" y="31"/>
                      <a:pt x="172" y="31"/>
                    </a:cubicBezTo>
                    <a:cubicBezTo>
                      <a:pt x="172" y="20"/>
                      <a:pt x="172" y="20"/>
                      <a:pt x="172" y="20"/>
                    </a:cubicBezTo>
                    <a:cubicBezTo>
                      <a:pt x="168" y="17"/>
                      <a:pt x="168" y="17"/>
                      <a:pt x="168" y="17"/>
                    </a:cubicBezTo>
                    <a:moveTo>
                      <a:pt x="117" y="0"/>
                    </a:moveTo>
                    <a:cubicBezTo>
                      <a:pt x="111" y="3"/>
                      <a:pt x="111" y="3"/>
                      <a:pt x="111" y="3"/>
                    </a:cubicBezTo>
                    <a:cubicBezTo>
                      <a:pt x="113" y="4"/>
                      <a:pt x="115" y="5"/>
                      <a:pt x="117" y="6"/>
                    </a:cubicBezTo>
                    <a:cubicBezTo>
                      <a:pt x="117" y="4"/>
                      <a:pt x="117" y="2"/>
                      <a:pt x="117" y="0"/>
                    </a:cubicBezTo>
                  </a:path>
                </a:pathLst>
              </a:cu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8C0B6AE3-BE02-4EAC-B11A-CE29DDE4211C}"/>
                  </a:ext>
                </a:extLst>
              </p:cNvPr>
              <p:cNvSpPr/>
              <p:nvPr/>
            </p:nvSpPr>
            <p:spPr bwMode="auto">
              <a:xfrm>
                <a:off x="7406769" y="3324509"/>
                <a:ext cx="1044913" cy="605785"/>
              </a:xfrm>
              <a:prstGeom prst="ellipse">
                <a:avLst/>
              </a:prstGeom>
              <a:solidFill>
                <a:srgbClr val="DEE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47079D69-B94E-4FE3-98DD-A85BB75D8249}"/>
                  </a:ext>
                </a:extLst>
              </p:cNvPr>
              <p:cNvSpPr/>
              <p:nvPr/>
            </p:nvSpPr>
            <p:spPr bwMode="auto">
              <a:xfrm>
                <a:off x="3695348" y="3181661"/>
                <a:ext cx="732762" cy="462936"/>
              </a:xfrm>
              <a:custGeom>
                <a:avLst/>
                <a:gdLst>
                  <a:gd name="T0" fmla="*/ 133 w 133"/>
                  <a:gd name="T1" fmla="*/ 22 h 84"/>
                  <a:gd name="T2" fmla="*/ 133 w 133"/>
                  <a:gd name="T3" fmla="*/ 22 h 84"/>
                  <a:gd name="T4" fmla="*/ 133 w 133"/>
                  <a:gd name="T5" fmla="*/ 14 h 84"/>
                  <a:gd name="T6" fmla="*/ 132 w 133"/>
                  <a:gd name="T7" fmla="*/ 16 h 84"/>
                  <a:gd name="T8" fmla="*/ 126 w 133"/>
                  <a:gd name="T9" fmla="*/ 9 h 84"/>
                  <a:gd name="T10" fmla="*/ 76 w 133"/>
                  <a:gd name="T11" fmla="*/ 9 h 84"/>
                  <a:gd name="T12" fmla="*/ 8 w 133"/>
                  <a:gd name="T13" fmla="*/ 49 h 84"/>
                  <a:gd name="T14" fmla="*/ 2 w 133"/>
                  <a:gd name="T15" fmla="*/ 55 h 84"/>
                  <a:gd name="T16" fmla="*/ 0 w 133"/>
                  <a:gd name="T17" fmla="*/ 55 h 84"/>
                  <a:gd name="T18" fmla="*/ 0 w 133"/>
                  <a:gd name="T19" fmla="*/ 62 h 84"/>
                  <a:gd name="T20" fmla="*/ 0 w 133"/>
                  <a:gd name="T21" fmla="*/ 62 h 84"/>
                  <a:gd name="T22" fmla="*/ 8 w 133"/>
                  <a:gd name="T23" fmla="*/ 75 h 84"/>
                  <a:gd name="T24" fmla="*/ 55 w 133"/>
                  <a:gd name="T25" fmla="*/ 75 h 84"/>
                  <a:gd name="T26" fmla="*/ 126 w 133"/>
                  <a:gd name="T27" fmla="*/ 34 h 84"/>
                  <a:gd name="T28" fmla="*/ 133 w 133"/>
                  <a:gd name="T29" fmla="*/ 22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3" h="84">
                    <a:moveTo>
                      <a:pt x="133" y="22"/>
                    </a:moveTo>
                    <a:cubicBezTo>
                      <a:pt x="133" y="22"/>
                      <a:pt x="133" y="22"/>
                      <a:pt x="133" y="22"/>
                    </a:cubicBezTo>
                    <a:cubicBezTo>
                      <a:pt x="133" y="14"/>
                      <a:pt x="133" y="14"/>
                      <a:pt x="133" y="14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0" y="13"/>
                      <a:pt x="128" y="11"/>
                      <a:pt x="126" y="9"/>
                    </a:cubicBezTo>
                    <a:cubicBezTo>
                      <a:pt x="110" y="0"/>
                      <a:pt x="92" y="0"/>
                      <a:pt x="76" y="9"/>
                    </a:cubicBezTo>
                    <a:cubicBezTo>
                      <a:pt x="8" y="49"/>
                      <a:pt x="8" y="49"/>
                      <a:pt x="8" y="49"/>
                    </a:cubicBezTo>
                    <a:cubicBezTo>
                      <a:pt x="5" y="50"/>
                      <a:pt x="3" y="53"/>
                      <a:pt x="2" y="55"/>
                    </a:cubicBezTo>
                    <a:cubicBezTo>
                      <a:pt x="0" y="55"/>
                      <a:pt x="0" y="55"/>
                      <a:pt x="0" y="55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7"/>
                      <a:pt x="2" y="72"/>
                      <a:pt x="8" y="75"/>
                    </a:cubicBezTo>
                    <a:cubicBezTo>
                      <a:pt x="22" y="84"/>
                      <a:pt x="40" y="84"/>
                      <a:pt x="55" y="75"/>
                    </a:cubicBezTo>
                    <a:cubicBezTo>
                      <a:pt x="126" y="34"/>
                      <a:pt x="126" y="34"/>
                      <a:pt x="126" y="34"/>
                    </a:cubicBezTo>
                    <a:cubicBezTo>
                      <a:pt x="131" y="32"/>
                      <a:pt x="133" y="27"/>
                      <a:pt x="133" y="22"/>
                    </a:cubicBez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886B52A0-5BA7-4E8C-A787-D7CA6486B652}"/>
                  </a:ext>
                </a:extLst>
              </p:cNvPr>
              <p:cNvSpPr/>
              <p:nvPr/>
            </p:nvSpPr>
            <p:spPr bwMode="auto">
              <a:xfrm>
                <a:off x="3679476" y="3136689"/>
                <a:ext cx="748634" cy="462936"/>
              </a:xfrm>
              <a:custGeom>
                <a:avLst/>
                <a:gdLst>
                  <a:gd name="T0" fmla="*/ 129 w 136"/>
                  <a:gd name="T1" fmla="*/ 9 h 84"/>
                  <a:gd name="T2" fmla="*/ 129 w 136"/>
                  <a:gd name="T3" fmla="*/ 9 h 84"/>
                  <a:gd name="T4" fmla="*/ 136 w 136"/>
                  <a:gd name="T5" fmla="*/ 22 h 84"/>
                  <a:gd name="T6" fmla="*/ 129 w 136"/>
                  <a:gd name="T7" fmla="*/ 35 h 84"/>
                  <a:gd name="T8" fmla="*/ 58 w 136"/>
                  <a:gd name="T9" fmla="*/ 76 h 84"/>
                  <a:gd name="T10" fmla="*/ 11 w 136"/>
                  <a:gd name="T11" fmla="*/ 76 h 84"/>
                  <a:gd name="T12" fmla="*/ 11 w 136"/>
                  <a:gd name="T13" fmla="*/ 49 h 84"/>
                  <a:gd name="T14" fmla="*/ 79 w 136"/>
                  <a:gd name="T15" fmla="*/ 9 h 84"/>
                  <a:gd name="T16" fmla="*/ 129 w 136"/>
                  <a:gd name="T17" fmla="*/ 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6" h="84">
                    <a:moveTo>
                      <a:pt x="129" y="9"/>
                    </a:moveTo>
                    <a:cubicBezTo>
                      <a:pt x="129" y="9"/>
                      <a:pt x="129" y="9"/>
                      <a:pt x="129" y="9"/>
                    </a:cubicBezTo>
                    <a:cubicBezTo>
                      <a:pt x="133" y="12"/>
                      <a:pt x="136" y="17"/>
                      <a:pt x="136" y="22"/>
                    </a:cubicBezTo>
                    <a:cubicBezTo>
                      <a:pt x="136" y="27"/>
                      <a:pt x="134" y="32"/>
                      <a:pt x="129" y="35"/>
                    </a:cubicBezTo>
                    <a:cubicBezTo>
                      <a:pt x="58" y="76"/>
                      <a:pt x="58" y="76"/>
                      <a:pt x="58" y="76"/>
                    </a:cubicBezTo>
                    <a:cubicBezTo>
                      <a:pt x="43" y="84"/>
                      <a:pt x="25" y="84"/>
                      <a:pt x="11" y="76"/>
                    </a:cubicBezTo>
                    <a:cubicBezTo>
                      <a:pt x="0" y="70"/>
                      <a:pt x="0" y="55"/>
                      <a:pt x="11" y="49"/>
                    </a:cubicBezTo>
                    <a:cubicBezTo>
                      <a:pt x="79" y="9"/>
                      <a:pt x="79" y="9"/>
                      <a:pt x="79" y="9"/>
                    </a:cubicBezTo>
                    <a:cubicBezTo>
                      <a:pt x="95" y="0"/>
                      <a:pt x="113" y="0"/>
                      <a:pt x="129" y="9"/>
                    </a:cubicBez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2901C81E-62E9-4834-9BB6-A65542F89827}"/>
                  </a:ext>
                </a:extLst>
              </p:cNvPr>
              <p:cNvSpPr/>
              <p:nvPr/>
            </p:nvSpPr>
            <p:spPr bwMode="auto">
              <a:xfrm>
                <a:off x="3975755" y="2835119"/>
                <a:ext cx="243372" cy="626948"/>
              </a:xfrm>
              <a:custGeom>
                <a:avLst/>
                <a:gdLst>
                  <a:gd name="T0" fmla="*/ 0 w 92"/>
                  <a:gd name="T1" fmla="*/ 237 h 237"/>
                  <a:gd name="T2" fmla="*/ 0 w 92"/>
                  <a:gd name="T3" fmla="*/ 52 h 237"/>
                  <a:gd name="T4" fmla="*/ 92 w 92"/>
                  <a:gd name="T5" fmla="*/ 0 h 237"/>
                  <a:gd name="T6" fmla="*/ 92 w 92"/>
                  <a:gd name="T7" fmla="*/ 185 h 237"/>
                  <a:gd name="T8" fmla="*/ 0 w 92"/>
                  <a:gd name="T9" fmla="*/ 237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237">
                    <a:moveTo>
                      <a:pt x="0" y="237"/>
                    </a:moveTo>
                    <a:lnTo>
                      <a:pt x="0" y="52"/>
                    </a:lnTo>
                    <a:lnTo>
                      <a:pt x="92" y="0"/>
                    </a:lnTo>
                    <a:lnTo>
                      <a:pt x="92" y="185"/>
                    </a:lnTo>
                    <a:lnTo>
                      <a:pt x="0" y="237"/>
                    </a:lnTo>
                    <a:close/>
                  </a:path>
                </a:pathLst>
              </a:custGeom>
              <a:solidFill>
                <a:srgbClr val="79AFE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BBFAC8BD-62A3-43D5-8509-09EA1EF8F4D0}"/>
                  </a:ext>
                </a:extLst>
              </p:cNvPr>
              <p:cNvSpPr/>
              <p:nvPr/>
            </p:nvSpPr>
            <p:spPr bwMode="auto">
              <a:xfrm>
                <a:off x="3975755" y="2835119"/>
                <a:ext cx="243372" cy="224855"/>
              </a:xfrm>
              <a:custGeom>
                <a:avLst/>
                <a:gdLst>
                  <a:gd name="T0" fmla="*/ 0 w 92"/>
                  <a:gd name="T1" fmla="*/ 85 h 85"/>
                  <a:gd name="T2" fmla="*/ 0 w 92"/>
                  <a:gd name="T3" fmla="*/ 52 h 85"/>
                  <a:gd name="T4" fmla="*/ 92 w 92"/>
                  <a:gd name="T5" fmla="*/ 0 h 85"/>
                  <a:gd name="T6" fmla="*/ 92 w 92"/>
                  <a:gd name="T7" fmla="*/ 31 h 85"/>
                  <a:gd name="T8" fmla="*/ 0 w 92"/>
                  <a:gd name="T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" h="85">
                    <a:moveTo>
                      <a:pt x="0" y="85"/>
                    </a:moveTo>
                    <a:lnTo>
                      <a:pt x="0" y="52"/>
                    </a:lnTo>
                    <a:lnTo>
                      <a:pt x="92" y="0"/>
                    </a:lnTo>
                    <a:lnTo>
                      <a:pt x="92" y="31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2D8D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4C647929-3ED1-45C3-82CE-3A230338B18D}"/>
                  </a:ext>
                </a:extLst>
              </p:cNvPr>
              <p:cNvSpPr/>
              <p:nvPr/>
            </p:nvSpPr>
            <p:spPr bwMode="auto">
              <a:xfrm>
                <a:off x="3899039" y="2922417"/>
                <a:ext cx="76716" cy="539651"/>
              </a:xfrm>
              <a:custGeom>
                <a:avLst/>
                <a:gdLst>
                  <a:gd name="T0" fmla="*/ 29 w 29"/>
                  <a:gd name="T1" fmla="*/ 204 h 204"/>
                  <a:gd name="T2" fmla="*/ 0 w 29"/>
                  <a:gd name="T3" fmla="*/ 185 h 204"/>
                  <a:gd name="T4" fmla="*/ 0 w 29"/>
                  <a:gd name="T5" fmla="*/ 0 h 204"/>
                  <a:gd name="T6" fmla="*/ 29 w 29"/>
                  <a:gd name="T7" fmla="*/ 19 h 204"/>
                  <a:gd name="T8" fmla="*/ 29 w 29"/>
                  <a:gd name="T9" fmla="*/ 204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204">
                    <a:moveTo>
                      <a:pt x="29" y="204"/>
                    </a:moveTo>
                    <a:lnTo>
                      <a:pt x="0" y="185"/>
                    </a:lnTo>
                    <a:lnTo>
                      <a:pt x="0" y="0"/>
                    </a:lnTo>
                    <a:lnTo>
                      <a:pt x="29" y="19"/>
                    </a:lnTo>
                    <a:lnTo>
                      <a:pt x="29" y="204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3A6892E3-E3B8-4FCA-8587-FE6F50C390B2}"/>
                  </a:ext>
                </a:extLst>
              </p:cNvPr>
              <p:cNvSpPr/>
              <p:nvPr/>
            </p:nvSpPr>
            <p:spPr bwMode="auto">
              <a:xfrm>
                <a:off x="3899039" y="2922417"/>
                <a:ext cx="76716" cy="137558"/>
              </a:xfrm>
              <a:custGeom>
                <a:avLst/>
                <a:gdLst>
                  <a:gd name="T0" fmla="*/ 29 w 29"/>
                  <a:gd name="T1" fmla="*/ 52 h 52"/>
                  <a:gd name="T2" fmla="*/ 0 w 29"/>
                  <a:gd name="T3" fmla="*/ 33 h 52"/>
                  <a:gd name="T4" fmla="*/ 0 w 29"/>
                  <a:gd name="T5" fmla="*/ 0 h 52"/>
                  <a:gd name="T6" fmla="*/ 29 w 29"/>
                  <a:gd name="T7" fmla="*/ 19 h 52"/>
                  <a:gd name="T8" fmla="*/ 29 w 29"/>
                  <a:gd name="T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52">
                    <a:moveTo>
                      <a:pt x="29" y="52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29" y="19"/>
                    </a:lnTo>
                    <a:lnTo>
                      <a:pt x="29" y="52"/>
                    </a:lnTo>
                    <a:close/>
                  </a:path>
                </a:pathLst>
              </a:custGeom>
              <a:solidFill>
                <a:srgbClr val="006DA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BEA0335A-7E41-4DBA-B5BA-5A09722926C6}"/>
                  </a:ext>
                </a:extLst>
              </p:cNvPr>
              <p:cNvSpPr/>
              <p:nvPr/>
            </p:nvSpPr>
            <p:spPr bwMode="auto">
              <a:xfrm>
                <a:off x="3899039" y="2784859"/>
                <a:ext cx="320088" cy="187820"/>
              </a:xfrm>
              <a:custGeom>
                <a:avLst/>
                <a:gdLst>
                  <a:gd name="T0" fmla="*/ 0 w 121"/>
                  <a:gd name="T1" fmla="*/ 52 h 71"/>
                  <a:gd name="T2" fmla="*/ 91 w 121"/>
                  <a:gd name="T3" fmla="*/ 0 h 71"/>
                  <a:gd name="T4" fmla="*/ 121 w 121"/>
                  <a:gd name="T5" fmla="*/ 19 h 71"/>
                  <a:gd name="T6" fmla="*/ 29 w 121"/>
                  <a:gd name="T7" fmla="*/ 71 h 71"/>
                  <a:gd name="T8" fmla="*/ 0 w 121"/>
                  <a:gd name="T9" fmla="*/ 5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71">
                    <a:moveTo>
                      <a:pt x="0" y="52"/>
                    </a:moveTo>
                    <a:lnTo>
                      <a:pt x="91" y="0"/>
                    </a:lnTo>
                    <a:lnTo>
                      <a:pt x="121" y="19"/>
                    </a:lnTo>
                    <a:lnTo>
                      <a:pt x="29" y="71"/>
                    </a:lnTo>
                    <a:lnTo>
                      <a:pt x="0" y="52"/>
                    </a:lnTo>
                    <a:close/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64191F35-0075-469D-915A-99A94C18C922}"/>
                  </a:ext>
                </a:extLst>
              </p:cNvPr>
              <p:cNvSpPr/>
              <p:nvPr/>
            </p:nvSpPr>
            <p:spPr bwMode="auto">
              <a:xfrm>
                <a:off x="3205958" y="1321981"/>
                <a:ext cx="1529010" cy="2100405"/>
              </a:xfrm>
              <a:custGeom>
                <a:avLst/>
                <a:gdLst>
                  <a:gd name="T0" fmla="*/ 0 w 578"/>
                  <a:gd name="T1" fmla="*/ 333 h 794"/>
                  <a:gd name="T2" fmla="*/ 578 w 578"/>
                  <a:gd name="T3" fmla="*/ 0 h 794"/>
                  <a:gd name="T4" fmla="*/ 578 w 578"/>
                  <a:gd name="T5" fmla="*/ 462 h 794"/>
                  <a:gd name="T6" fmla="*/ 0 w 578"/>
                  <a:gd name="T7" fmla="*/ 794 h 794"/>
                  <a:gd name="T8" fmla="*/ 0 w 578"/>
                  <a:gd name="T9" fmla="*/ 333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8" h="794">
                    <a:moveTo>
                      <a:pt x="0" y="333"/>
                    </a:moveTo>
                    <a:lnTo>
                      <a:pt x="578" y="0"/>
                    </a:lnTo>
                    <a:lnTo>
                      <a:pt x="578" y="462"/>
                    </a:lnTo>
                    <a:lnTo>
                      <a:pt x="0" y="794"/>
                    </a:lnTo>
                    <a:lnTo>
                      <a:pt x="0" y="333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C94C2D9A-8E96-429B-B33E-2BA0FFA8D799}"/>
                  </a:ext>
                </a:extLst>
              </p:cNvPr>
              <p:cNvSpPr/>
              <p:nvPr/>
            </p:nvSpPr>
            <p:spPr bwMode="auto">
              <a:xfrm>
                <a:off x="3205958" y="1321981"/>
                <a:ext cx="1529010" cy="2100405"/>
              </a:xfrm>
              <a:custGeom>
                <a:avLst/>
                <a:gdLst>
                  <a:gd name="T0" fmla="*/ 0 w 578"/>
                  <a:gd name="T1" fmla="*/ 333 h 794"/>
                  <a:gd name="T2" fmla="*/ 578 w 578"/>
                  <a:gd name="T3" fmla="*/ 0 h 794"/>
                  <a:gd name="T4" fmla="*/ 578 w 578"/>
                  <a:gd name="T5" fmla="*/ 462 h 794"/>
                  <a:gd name="T6" fmla="*/ 0 w 578"/>
                  <a:gd name="T7" fmla="*/ 794 h 794"/>
                  <a:gd name="T8" fmla="*/ 0 w 578"/>
                  <a:gd name="T9" fmla="*/ 333 h 7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8" h="794">
                    <a:moveTo>
                      <a:pt x="0" y="333"/>
                    </a:moveTo>
                    <a:lnTo>
                      <a:pt x="578" y="0"/>
                    </a:lnTo>
                    <a:lnTo>
                      <a:pt x="578" y="462"/>
                    </a:lnTo>
                    <a:lnTo>
                      <a:pt x="0" y="794"/>
                    </a:lnTo>
                    <a:lnTo>
                      <a:pt x="0" y="333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256EB67C-3475-4C93-8742-C1E8DE85BA6C}"/>
                  </a:ext>
                </a:extLst>
              </p:cNvPr>
              <p:cNvSpPr/>
              <p:nvPr/>
            </p:nvSpPr>
            <p:spPr bwMode="auto">
              <a:xfrm>
                <a:off x="3240349" y="1382825"/>
                <a:ext cx="1460231" cy="1986656"/>
              </a:xfrm>
              <a:custGeom>
                <a:avLst/>
                <a:gdLst>
                  <a:gd name="T0" fmla="*/ 0 w 552"/>
                  <a:gd name="T1" fmla="*/ 318 h 751"/>
                  <a:gd name="T2" fmla="*/ 552 w 552"/>
                  <a:gd name="T3" fmla="*/ 0 h 751"/>
                  <a:gd name="T4" fmla="*/ 552 w 552"/>
                  <a:gd name="T5" fmla="*/ 433 h 751"/>
                  <a:gd name="T6" fmla="*/ 0 w 552"/>
                  <a:gd name="T7" fmla="*/ 751 h 751"/>
                  <a:gd name="T8" fmla="*/ 0 w 552"/>
                  <a:gd name="T9" fmla="*/ 318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751">
                    <a:moveTo>
                      <a:pt x="0" y="318"/>
                    </a:moveTo>
                    <a:lnTo>
                      <a:pt x="552" y="0"/>
                    </a:lnTo>
                    <a:lnTo>
                      <a:pt x="552" y="433"/>
                    </a:lnTo>
                    <a:lnTo>
                      <a:pt x="0" y="751"/>
                    </a:lnTo>
                    <a:lnTo>
                      <a:pt x="0" y="318"/>
                    </a:lnTo>
                    <a:close/>
                  </a:path>
                </a:pathLst>
              </a:custGeom>
              <a:solidFill>
                <a:srgbClr val="DC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727B01EE-1C06-4F66-8164-2EB8B4D412CF}"/>
                  </a:ext>
                </a:extLst>
              </p:cNvPr>
              <p:cNvSpPr/>
              <p:nvPr/>
            </p:nvSpPr>
            <p:spPr bwMode="auto">
              <a:xfrm>
                <a:off x="3240349" y="1382825"/>
                <a:ext cx="1460231" cy="1986656"/>
              </a:xfrm>
              <a:custGeom>
                <a:avLst/>
                <a:gdLst>
                  <a:gd name="T0" fmla="*/ 0 w 552"/>
                  <a:gd name="T1" fmla="*/ 318 h 751"/>
                  <a:gd name="T2" fmla="*/ 552 w 552"/>
                  <a:gd name="T3" fmla="*/ 0 h 751"/>
                  <a:gd name="T4" fmla="*/ 552 w 552"/>
                  <a:gd name="T5" fmla="*/ 433 h 751"/>
                  <a:gd name="T6" fmla="*/ 0 w 552"/>
                  <a:gd name="T7" fmla="*/ 751 h 751"/>
                  <a:gd name="T8" fmla="*/ 0 w 552"/>
                  <a:gd name="T9" fmla="*/ 318 h 7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751">
                    <a:moveTo>
                      <a:pt x="0" y="318"/>
                    </a:moveTo>
                    <a:lnTo>
                      <a:pt x="552" y="0"/>
                    </a:lnTo>
                    <a:lnTo>
                      <a:pt x="552" y="433"/>
                    </a:lnTo>
                    <a:lnTo>
                      <a:pt x="0" y="751"/>
                    </a:lnTo>
                    <a:lnTo>
                      <a:pt x="0" y="31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2DBB5F82-F296-4E6E-92CB-73903DCE65CA}"/>
                  </a:ext>
                </a:extLst>
              </p:cNvPr>
              <p:cNvSpPr/>
              <p:nvPr/>
            </p:nvSpPr>
            <p:spPr bwMode="auto">
              <a:xfrm>
                <a:off x="3158342" y="2176429"/>
                <a:ext cx="47616" cy="1245959"/>
              </a:xfrm>
              <a:custGeom>
                <a:avLst/>
                <a:gdLst>
                  <a:gd name="T0" fmla="*/ 18 w 18"/>
                  <a:gd name="T1" fmla="*/ 10 h 471"/>
                  <a:gd name="T2" fmla="*/ 0 w 18"/>
                  <a:gd name="T3" fmla="*/ 0 h 471"/>
                  <a:gd name="T4" fmla="*/ 0 w 18"/>
                  <a:gd name="T5" fmla="*/ 461 h 471"/>
                  <a:gd name="T6" fmla="*/ 18 w 18"/>
                  <a:gd name="T7" fmla="*/ 471 h 471"/>
                  <a:gd name="T8" fmla="*/ 18 w 18"/>
                  <a:gd name="T9" fmla="*/ 10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71">
                    <a:moveTo>
                      <a:pt x="18" y="10"/>
                    </a:moveTo>
                    <a:lnTo>
                      <a:pt x="0" y="0"/>
                    </a:lnTo>
                    <a:lnTo>
                      <a:pt x="0" y="461"/>
                    </a:lnTo>
                    <a:lnTo>
                      <a:pt x="18" y="471"/>
                    </a:lnTo>
                    <a:lnTo>
                      <a:pt x="18" y="10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01D48EEC-A0D5-4EAF-8631-6FB162E39297}"/>
                  </a:ext>
                </a:extLst>
              </p:cNvPr>
              <p:cNvSpPr/>
              <p:nvPr/>
            </p:nvSpPr>
            <p:spPr bwMode="auto">
              <a:xfrm>
                <a:off x="3158342" y="1290237"/>
                <a:ext cx="1576627" cy="912645"/>
              </a:xfrm>
              <a:custGeom>
                <a:avLst/>
                <a:gdLst>
                  <a:gd name="T0" fmla="*/ 0 w 596"/>
                  <a:gd name="T1" fmla="*/ 335 h 345"/>
                  <a:gd name="T2" fmla="*/ 577 w 596"/>
                  <a:gd name="T3" fmla="*/ 0 h 345"/>
                  <a:gd name="T4" fmla="*/ 596 w 596"/>
                  <a:gd name="T5" fmla="*/ 12 h 345"/>
                  <a:gd name="T6" fmla="*/ 18 w 596"/>
                  <a:gd name="T7" fmla="*/ 345 h 345"/>
                  <a:gd name="T8" fmla="*/ 0 w 596"/>
                  <a:gd name="T9" fmla="*/ 335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6" h="345">
                    <a:moveTo>
                      <a:pt x="0" y="335"/>
                    </a:moveTo>
                    <a:lnTo>
                      <a:pt x="577" y="0"/>
                    </a:lnTo>
                    <a:lnTo>
                      <a:pt x="596" y="12"/>
                    </a:lnTo>
                    <a:lnTo>
                      <a:pt x="18" y="345"/>
                    </a:lnTo>
                    <a:lnTo>
                      <a:pt x="0" y="335"/>
                    </a:lnTo>
                    <a:close/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7A1FFA0B-767D-48A6-89D6-3AA214BF6BAF}"/>
                  </a:ext>
                </a:extLst>
              </p:cNvPr>
              <p:cNvSpPr/>
              <p:nvPr/>
            </p:nvSpPr>
            <p:spPr bwMode="auto">
              <a:xfrm>
                <a:off x="3459912" y="2448899"/>
                <a:ext cx="531716" cy="854448"/>
              </a:xfrm>
              <a:custGeom>
                <a:avLst/>
                <a:gdLst>
                  <a:gd name="T0" fmla="*/ 7 w 97"/>
                  <a:gd name="T1" fmla="*/ 50 h 155"/>
                  <a:gd name="T2" fmla="*/ 21 w 97"/>
                  <a:gd name="T3" fmla="*/ 21 h 155"/>
                  <a:gd name="T4" fmla="*/ 73 w 97"/>
                  <a:gd name="T5" fmla="*/ 0 h 155"/>
                  <a:gd name="T6" fmla="*/ 95 w 97"/>
                  <a:gd name="T7" fmla="*/ 33 h 155"/>
                  <a:gd name="T8" fmla="*/ 92 w 97"/>
                  <a:gd name="T9" fmla="*/ 112 h 155"/>
                  <a:gd name="T10" fmla="*/ 11 w 97"/>
                  <a:gd name="T11" fmla="*/ 133 h 155"/>
                  <a:gd name="T12" fmla="*/ 7 w 97"/>
                  <a:gd name="T13" fmla="*/ 5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" h="155">
                    <a:moveTo>
                      <a:pt x="7" y="50"/>
                    </a:moveTo>
                    <a:cubicBezTo>
                      <a:pt x="6" y="37"/>
                      <a:pt x="9" y="27"/>
                      <a:pt x="21" y="21"/>
                    </a:cubicBezTo>
                    <a:cubicBezTo>
                      <a:pt x="39" y="11"/>
                      <a:pt x="64" y="0"/>
                      <a:pt x="73" y="0"/>
                    </a:cubicBezTo>
                    <a:cubicBezTo>
                      <a:pt x="87" y="0"/>
                      <a:pt x="93" y="11"/>
                      <a:pt x="95" y="33"/>
                    </a:cubicBezTo>
                    <a:cubicBezTo>
                      <a:pt x="97" y="57"/>
                      <a:pt x="92" y="93"/>
                      <a:pt x="92" y="112"/>
                    </a:cubicBezTo>
                    <a:cubicBezTo>
                      <a:pt x="92" y="128"/>
                      <a:pt x="39" y="155"/>
                      <a:pt x="11" y="133"/>
                    </a:cubicBezTo>
                    <a:cubicBezTo>
                      <a:pt x="0" y="121"/>
                      <a:pt x="9" y="76"/>
                      <a:pt x="7" y="50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F08AC7C5-33D3-4780-8197-D425CA33370E}"/>
                  </a:ext>
                </a:extLst>
              </p:cNvPr>
              <p:cNvSpPr/>
              <p:nvPr/>
            </p:nvSpPr>
            <p:spPr bwMode="auto">
              <a:xfrm>
                <a:off x="3602760" y="2049452"/>
                <a:ext cx="330669" cy="460290"/>
              </a:xfrm>
              <a:custGeom>
                <a:avLst/>
                <a:gdLst>
                  <a:gd name="T0" fmla="*/ 59 w 60"/>
                  <a:gd name="T1" fmla="*/ 33 h 84"/>
                  <a:gd name="T2" fmla="*/ 51 w 60"/>
                  <a:gd name="T3" fmla="*/ 77 h 84"/>
                  <a:gd name="T4" fmla="*/ 11 w 60"/>
                  <a:gd name="T5" fmla="*/ 61 h 84"/>
                  <a:gd name="T6" fmla="*/ 1 w 60"/>
                  <a:gd name="T7" fmla="*/ 20 h 84"/>
                  <a:gd name="T8" fmla="*/ 39 w 60"/>
                  <a:gd name="T9" fmla="*/ 12 h 84"/>
                  <a:gd name="T10" fmla="*/ 59 w 60"/>
                  <a:gd name="T11" fmla="*/ 33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0" h="84">
                    <a:moveTo>
                      <a:pt x="59" y="33"/>
                    </a:moveTo>
                    <a:cubicBezTo>
                      <a:pt x="59" y="33"/>
                      <a:pt x="60" y="71"/>
                      <a:pt x="51" y="77"/>
                    </a:cubicBezTo>
                    <a:cubicBezTo>
                      <a:pt x="42" y="84"/>
                      <a:pt x="21" y="77"/>
                      <a:pt x="11" y="61"/>
                    </a:cubicBezTo>
                    <a:cubicBezTo>
                      <a:pt x="9" y="54"/>
                      <a:pt x="0" y="39"/>
                      <a:pt x="1" y="20"/>
                    </a:cubicBezTo>
                    <a:cubicBezTo>
                      <a:pt x="2" y="0"/>
                      <a:pt x="25" y="5"/>
                      <a:pt x="39" y="12"/>
                    </a:cubicBezTo>
                    <a:cubicBezTo>
                      <a:pt x="52" y="19"/>
                      <a:pt x="59" y="19"/>
                      <a:pt x="59" y="33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C295DA7D-BDB8-44C4-ADFB-E56F777BB4EA}"/>
                  </a:ext>
                </a:extLst>
              </p:cNvPr>
              <p:cNvSpPr/>
              <p:nvPr/>
            </p:nvSpPr>
            <p:spPr bwMode="auto">
              <a:xfrm>
                <a:off x="3668895" y="2340440"/>
                <a:ext cx="126977" cy="235437"/>
              </a:xfrm>
              <a:custGeom>
                <a:avLst/>
                <a:gdLst>
                  <a:gd name="T0" fmla="*/ 1 w 23"/>
                  <a:gd name="T1" fmla="*/ 2 h 43"/>
                  <a:gd name="T2" fmla="*/ 1 w 23"/>
                  <a:gd name="T3" fmla="*/ 31 h 43"/>
                  <a:gd name="T4" fmla="*/ 21 w 23"/>
                  <a:gd name="T5" fmla="*/ 37 h 43"/>
                  <a:gd name="T6" fmla="*/ 23 w 23"/>
                  <a:gd name="T7" fmla="*/ 7 h 43"/>
                  <a:gd name="T8" fmla="*/ 1 w 23"/>
                  <a:gd name="T9" fmla="*/ 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43">
                    <a:moveTo>
                      <a:pt x="1" y="2"/>
                    </a:moveTo>
                    <a:cubicBezTo>
                      <a:pt x="1" y="2"/>
                      <a:pt x="1" y="27"/>
                      <a:pt x="1" y="31"/>
                    </a:cubicBezTo>
                    <a:cubicBezTo>
                      <a:pt x="0" y="39"/>
                      <a:pt x="19" y="43"/>
                      <a:pt x="21" y="37"/>
                    </a:cubicBezTo>
                    <a:cubicBezTo>
                      <a:pt x="22" y="31"/>
                      <a:pt x="23" y="7"/>
                      <a:pt x="23" y="7"/>
                    </a:cubicBezTo>
                    <a:cubicBezTo>
                      <a:pt x="23" y="7"/>
                      <a:pt x="19" y="0"/>
                      <a:pt x="1" y="2"/>
                    </a:cubicBezTo>
                    <a:close/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CD20D1CC-DB4F-49E6-9FD5-FD1DAA0ADF47}"/>
                  </a:ext>
                </a:extLst>
              </p:cNvPr>
              <p:cNvSpPr/>
              <p:nvPr/>
            </p:nvSpPr>
            <p:spPr bwMode="auto">
              <a:xfrm>
                <a:off x="3531337" y="2044162"/>
                <a:ext cx="449709" cy="439128"/>
              </a:xfrm>
              <a:custGeom>
                <a:avLst/>
                <a:gdLst>
                  <a:gd name="T0" fmla="*/ 26 w 82"/>
                  <a:gd name="T1" fmla="*/ 80 h 80"/>
                  <a:gd name="T2" fmla="*/ 7 w 82"/>
                  <a:gd name="T3" fmla="*/ 58 h 80"/>
                  <a:gd name="T4" fmla="*/ 12 w 82"/>
                  <a:gd name="T5" fmla="*/ 12 h 80"/>
                  <a:gd name="T6" fmla="*/ 57 w 82"/>
                  <a:gd name="T7" fmla="*/ 6 h 80"/>
                  <a:gd name="T8" fmla="*/ 71 w 82"/>
                  <a:gd name="T9" fmla="*/ 33 h 80"/>
                  <a:gd name="T10" fmla="*/ 29 w 82"/>
                  <a:gd name="T11" fmla="*/ 29 h 80"/>
                  <a:gd name="T12" fmla="*/ 32 w 82"/>
                  <a:gd name="T13" fmla="*/ 52 h 80"/>
                  <a:gd name="T14" fmla="*/ 26 w 82"/>
                  <a:gd name="T15" fmla="*/ 46 h 80"/>
                  <a:gd name="T16" fmla="*/ 26 w 82"/>
                  <a:gd name="T17" fmla="*/ 59 h 80"/>
                  <a:gd name="T18" fmla="*/ 26 w 82"/>
                  <a:gd name="T19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0">
                    <a:moveTo>
                      <a:pt x="26" y="80"/>
                    </a:moveTo>
                    <a:cubicBezTo>
                      <a:pt x="26" y="80"/>
                      <a:pt x="12" y="67"/>
                      <a:pt x="7" y="58"/>
                    </a:cubicBezTo>
                    <a:cubicBezTo>
                      <a:pt x="2" y="48"/>
                      <a:pt x="0" y="22"/>
                      <a:pt x="12" y="12"/>
                    </a:cubicBezTo>
                    <a:cubicBezTo>
                      <a:pt x="24" y="3"/>
                      <a:pt x="41" y="0"/>
                      <a:pt x="57" y="6"/>
                    </a:cubicBezTo>
                    <a:cubicBezTo>
                      <a:pt x="74" y="12"/>
                      <a:pt x="82" y="29"/>
                      <a:pt x="71" y="33"/>
                    </a:cubicBezTo>
                    <a:cubicBezTo>
                      <a:pt x="43" y="40"/>
                      <a:pt x="38" y="28"/>
                      <a:pt x="29" y="29"/>
                    </a:cubicBezTo>
                    <a:cubicBezTo>
                      <a:pt x="29" y="29"/>
                      <a:pt x="34" y="46"/>
                      <a:pt x="32" y="52"/>
                    </a:cubicBezTo>
                    <a:cubicBezTo>
                      <a:pt x="29" y="49"/>
                      <a:pt x="28" y="45"/>
                      <a:pt x="26" y="46"/>
                    </a:cubicBezTo>
                    <a:cubicBezTo>
                      <a:pt x="26" y="59"/>
                      <a:pt x="26" y="59"/>
                      <a:pt x="26" y="59"/>
                    </a:cubicBezTo>
                    <a:lnTo>
                      <a:pt x="26" y="80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E35E4C04-3DC0-4930-AB54-551B55B4A32D}"/>
                  </a:ext>
                </a:extLst>
              </p:cNvPr>
              <p:cNvSpPr/>
              <p:nvPr/>
            </p:nvSpPr>
            <p:spPr bwMode="auto">
              <a:xfrm>
                <a:off x="3613342" y="2263724"/>
                <a:ext cx="82007" cy="126977"/>
              </a:xfrm>
              <a:custGeom>
                <a:avLst/>
                <a:gdLst>
                  <a:gd name="T0" fmla="*/ 15 w 15"/>
                  <a:gd name="T1" fmla="*/ 23 h 23"/>
                  <a:gd name="T2" fmla="*/ 4 w 15"/>
                  <a:gd name="T3" fmla="*/ 11 h 23"/>
                  <a:gd name="T4" fmla="*/ 15 w 15"/>
                  <a:gd name="T5" fmla="*/ 9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23">
                    <a:moveTo>
                      <a:pt x="15" y="23"/>
                    </a:moveTo>
                    <a:cubicBezTo>
                      <a:pt x="15" y="23"/>
                      <a:pt x="9" y="21"/>
                      <a:pt x="4" y="11"/>
                    </a:cubicBezTo>
                    <a:cubicBezTo>
                      <a:pt x="0" y="1"/>
                      <a:pt x="10" y="0"/>
                      <a:pt x="15" y="9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B2D8A48B-0B72-45F2-BAB7-E366C99854EB}"/>
                  </a:ext>
                </a:extLst>
              </p:cNvPr>
              <p:cNvSpPr/>
              <p:nvPr/>
            </p:nvSpPr>
            <p:spPr bwMode="auto">
              <a:xfrm>
                <a:off x="3772062" y="2599684"/>
                <a:ext cx="111105" cy="484099"/>
              </a:xfrm>
              <a:custGeom>
                <a:avLst/>
                <a:gdLst>
                  <a:gd name="T0" fmla="*/ 0 w 20"/>
                  <a:gd name="T1" fmla="*/ 2 h 88"/>
                  <a:gd name="T2" fmla="*/ 0 w 20"/>
                  <a:gd name="T3" fmla="*/ 76 h 88"/>
                  <a:gd name="T4" fmla="*/ 11 w 20"/>
                  <a:gd name="T5" fmla="*/ 88 h 88"/>
                  <a:gd name="T6" fmla="*/ 20 w 20"/>
                  <a:gd name="T7" fmla="*/ 72 h 88"/>
                  <a:gd name="T8" fmla="*/ 4 w 20"/>
                  <a:gd name="T9" fmla="*/ 0 h 88"/>
                  <a:gd name="T10" fmla="*/ 0 w 20"/>
                  <a:gd name="T11" fmla="*/ 2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0" h="88">
                    <a:moveTo>
                      <a:pt x="0" y="2"/>
                    </a:moveTo>
                    <a:cubicBezTo>
                      <a:pt x="0" y="2"/>
                      <a:pt x="4" y="37"/>
                      <a:pt x="0" y="76"/>
                    </a:cubicBezTo>
                    <a:cubicBezTo>
                      <a:pt x="11" y="88"/>
                      <a:pt x="11" y="88"/>
                      <a:pt x="11" y="88"/>
                    </a:cubicBezTo>
                    <a:cubicBezTo>
                      <a:pt x="20" y="72"/>
                      <a:pt x="20" y="72"/>
                      <a:pt x="20" y="72"/>
                    </a:cubicBezTo>
                    <a:cubicBezTo>
                      <a:pt x="20" y="72"/>
                      <a:pt x="14" y="18"/>
                      <a:pt x="4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232D5BE-38A9-42B4-ABA3-4CC6DB83EB14}"/>
                  </a:ext>
                </a:extLst>
              </p:cNvPr>
              <p:cNvSpPr/>
              <p:nvPr/>
            </p:nvSpPr>
            <p:spPr bwMode="auto">
              <a:xfrm>
                <a:off x="3740318" y="2554713"/>
                <a:ext cx="60844" cy="55553"/>
              </a:xfrm>
              <a:custGeom>
                <a:avLst/>
                <a:gdLst>
                  <a:gd name="T0" fmla="*/ 1 w 11"/>
                  <a:gd name="T1" fmla="*/ 6 h 10"/>
                  <a:gd name="T2" fmla="*/ 6 w 11"/>
                  <a:gd name="T3" fmla="*/ 10 h 10"/>
                  <a:gd name="T4" fmla="*/ 10 w 11"/>
                  <a:gd name="T5" fmla="*/ 8 h 10"/>
                  <a:gd name="T6" fmla="*/ 9 w 11"/>
                  <a:gd name="T7" fmla="*/ 2 h 10"/>
                  <a:gd name="T8" fmla="*/ 5 w 11"/>
                  <a:gd name="T9" fmla="*/ 0 h 10"/>
                  <a:gd name="T10" fmla="*/ 5 w 11"/>
                  <a:gd name="T11" fmla="*/ 0 h 10"/>
                  <a:gd name="T12" fmla="*/ 4 w 11"/>
                  <a:gd name="T13" fmla="*/ 0 h 10"/>
                  <a:gd name="T14" fmla="*/ 0 w 11"/>
                  <a:gd name="T15" fmla="*/ 4 h 10"/>
                  <a:gd name="T16" fmla="*/ 1 w 11"/>
                  <a:gd name="T1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0">
                    <a:moveTo>
                      <a:pt x="1" y="6"/>
                    </a:moveTo>
                    <a:cubicBezTo>
                      <a:pt x="1" y="8"/>
                      <a:pt x="5" y="10"/>
                      <a:pt x="6" y="10"/>
                    </a:cubicBezTo>
                    <a:cubicBezTo>
                      <a:pt x="8" y="10"/>
                      <a:pt x="10" y="8"/>
                      <a:pt x="10" y="8"/>
                    </a:cubicBezTo>
                    <a:cubicBezTo>
                      <a:pt x="10" y="8"/>
                      <a:pt x="11" y="5"/>
                      <a:pt x="9" y="2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5" y="0"/>
                      <a:pt x="5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0" y="4"/>
                      <a:pt x="0" y="4"/>
                      <a:pt x="0" y="4"/>
                    </a:cubicBezTo>
                    <a:lnTo>
                      <a:pt x="1" y="6"/>
                    </a:ln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E5EE98A7-2039-4940-ADFE-E843775A7C23}"/>
                  </a:ext>
                </a:extLst>
              </p:cNvPr>
              <p:cNvSpPr/>
              <p:nvPr/>
            </p:nvSpPr>
            <p:spPr bwMode="auto">
              <a:xfrm>
                <a:off x="3639795" y="2504452"/>
                <a:ext cx="126977" cy="111105"/>
              </a:xfrm>
              <a:custGeom>
                <a:avLst/>
                <a:gdLst>
                  <a:gd name="T0" fmla="*/ 23 w 23"/>
                  <a:gd name="T1" fmla="*/ 9 h 20"/>
                  <a:gd name="T2" fmla="*/ 19 w 23"/>
                  <a:gd name="T3" fmla="*/ 20 h 20"/>
                  <a:gd name="T4" fmla="*/ 0 w 23"/>
                  <a:gd name="T5" fmla="*/ 4 h 20"/>
                  <a:gd name="T6" fmla="*/ 6 w 23"/>
                  <a:gd name="T7" fmla="*/ 0 h 20"/>
                  <a:gd name="T8" fmla="*/ 23 w 23"/>
                  <a:gd name="T9" fmla="*/ 9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0">
                    <a:moveTo>
                      <a:pt x="23" y="9"/>
                    </a:moveTo>
                    <a:cubicBezTo>
                      <a:pt x="23" y="9"/>
                      <a:pt x="19" y="13"/>
                      <a:pt x="19" y="20"/>
                    </a:cubicBezTo>
                    <a:cubicBezTo>
                      <a:pt x="15" y="20"/>
                      <a:pt x="0" y="14"/>
                      <a:pt x="0" y="4"/>
                    </a:cubicBezTo>
                    <a:cubicBezTo>
                      <a:pt x="0" y="4"/>
                      <a:pt x="3" y="2"/>
                      <a:pt x="6" y="0"/>
                    </a:cubicBezTo>
                    <a:cubicBezTo>
                      <a:pt x="6" y="0"/>
                      <a:pt x="11" y="10"/>
                      <a:pt x="23" y="9"/>
                    </a:cubicBezTo>
                    <a:close/>
                  </a:path>
                </a:pathLst>
              </a:custGeom>
              <a:solidFill>
                <a:srgbClr val="7FB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766A3D9A-9121-4276-964F-F741ABA5326D}"/>
                  </a:ext>
                </a:extLst>
              </p:cNvPr>
              <p:cNvSpPr/>
              <p:nvPr/>
            </p:nvSpPr>
            <p:spPr bwMode="auto">
              <a:xfrm>
                <a:off x="3766772" y="2483289"/>
                <a:ext cx="60844" cy="97879"/>
              </a:xfrm>
              <a:custGeom>
                <a:avLst/>
                <a:gdLst>
                  <a:gd name="T0" fmla="*/ 0 w 11"/>
                  <a:gd name="T1" fmla="*/ 13 h 18"/>
                  <a:gd name="T2" fmla="*/ 7 w 11"/>
                  <a:gd name="T3" fmla="*/ 18 h 18"/>
                  <a:gd name="T4" fmla="*/ 4 w 11"/>
                  <a:gd name="T5" fmla="*/ 0 h 18"/>
                  <a:gd name="T6" fmla="*/ 3 w 11"/>
                  <a:gd name="T7" fmla="*/ 10 h 18"/>
                  <a:gd name="T8" fmla="*/ 0 w 11"/>
                  <a:gd name="T9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8">
                    <a:moveTo>
                      <a:pt x="0" y="13"/>
                    </a:moveTo>
                    <a:cubicBezTo>
                      <a:pt x="0" y="13"/>
                      <a:pt x="4" y="14"/>
                      <a:pt x="7" y="18"/>
                    </a:cubicBezTo>
                    <a:cubicBezTo>
                      <a:pt x="9" y="17"/>
                      <a:pt x="11" y="5"/>
                      <a:pt x="4" y="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3" y="11"/>
                      <a:pt x="2" y="13"/>
                      <a:pt x="0" y="13"/>
                    </a:cubicBezTo>
                    <a:close/>
                  </a:path>
                </a:pathLst>
              </a:custGeom>
              <a:solidFill>
                <a:srgbClr val="7FB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962078D2-C44D-4216-855D-F3D2BCB5F697}"/>
                  </a:ext>
                </a:extLst>
              </p:cNvPr>
              <p:cNvSpPr/>
              <p:nvPr/>
            </p:nvSpPr>
            <p:spPr bwMode="auto">
              <a:xfrm>
                <a:off x="3795871" y="2290178"/>
                <a:ext cx="66135" cy="87297"/>
              </a:xfrm>
              <a:custGeom>
                <a:avLst/>
                <a:gdLst>
                  <a:gd name="T0" fmla="*/ 3 w 12"/>
                  <a:gd name="T1" fmla="*/ 7 h 16"/>
                  <a:gd name="T2" fmla="*/ 12 w 12"/>
                  <a:gd name="T3" fmla="*/ 2 h 16"/>
                  <a:gd name="T4" fmla="*/ 12 w 12"/>
                  <a:gd name="T5" fmla="*/ 2 h 16"/>
                  <a:gd name="T6" fmla="*/ 3 w 12"/>
                  <a:gd name="T7" fmla="*/ 6 h 16"/>
                  <a:gd name="T8" fmla="*/ 3 w 12"/>
                  <a:gd name="T9" fmla="*/ 16 h 16"/>
                  <a:gd name="T10" fmla="*/ 4 w 12"/>
                  <a:gd name="T11" fmla="*/ 16 h 16"/>
                  <a:gd name="T12" fmla="*/ 3 w 12"/>
                  <a:gd name="T13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6">
                    <a:moveTo>
                      <a:pt x="3" y="7"/>
                    </a:moveTo>
                    <a:cubicBezTo>
                      <a:pt x="6" y="3"/>
                      <a:pt x="10" y="1"/>
                      <a:pt x="12" y="2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9" y="0"/>
                      <a:pt x="5" y="2"/>
                      <a:pt x="3" y="6"/>
                    </a:cubicBezTo>
                    <a:cubicBezTo>
                      <a:pt x="0" y="10"/>
                      <a:pt x="1" y="15"/>
                      <a:pt x="3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1" y="15"/>
                      <a:pt x="1" y="11"/>
                      <a:pt x="3" y="7"/>
                    </a:cubicBezTo>
                  </a:path>
                </a:pathLst>
              </a:custGeom>
              <a:solidFill>
                <a:srgbClr val="7FB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5A01EFEF-2447-4640-B818-7F710D4AE775}"/>
                  </a:ext>
                </a:extLst>
              </p:cNvPr>
              <p:cNvSpPr/>
              <p:nvPr/>
            </p:nvSpPr>
            <p:spPr bwMode="auto">
              <a:xfrm>
                <a:off x="3801162" y="2295469"/>
                <a:ext cx="76716" cy="95232"/>
              </a:xfrm>
              <a:custGeom>
                <a:avLst/>
                <a:gdLst>
                  <a:gd name="T0" fmla="*/ 11 w 14"/>
                  <a:gd name="T1" fmla="*/ 1 h 17"/>
                  <a:gd name="T2" fmla="*/ 2 w 14"/>
                  <a:gd name="T3" fmla="*/ 6 h 17"/>
                  <a:gd name="T4" fmla="*/ 3 w 14"/>
                  <a:gd name="T5" fmla="*/ 15 h 17"/>
                  <a:gd name="T6" fmla="*/ 12 w 14"/>
                  <a:gd name="T7" fmla="*/ 11 h 17"/>
                  <a:gd name="T8" fmla="*/ 11 w 14"/>
                  <a:gd name="T9" fmla="*/ 1 h 17"/>
                  <a:gd name="T10" fmla="*/ 11 w 14"/>
                  <a:gd name="T11" fmla="*/ 11 h 17"/>
                  <a:gd name="T12" fmla="*/ 3 w 14"/>
                  <a:gd name="T13" fmla="*/ 15 h 17"/>
                  <a:gd name="T14" fmla="*/ 3 w 14"/>
                  <a:gd name="T15" fmla="*/ 6 h 17"/>
                  <a:gd name="T16" fmla="*/ 11 w 14"/>
                  <a:gd name="T17" fmla="*/ 1 h 17"/>
                  <a:gd name="T18" fmla="*/ 11 w 14"/>
                  <a:gd name="T1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7">
                    <a:moveTo>
                      <a:pt x="11" y="1"/>
                    </a:moveTo>
                    <a:cubicBezTo>
                      <a:pt x="9" y="0"/>
                      <a:pt x="5" y="2"/>
                      <a:pt x="2" y="6"/>
                    </a:cubicBezTo>
                    <a:cubicBezTo>
                      <a:pt x="0" y="10"/>
                      <a:pt x="0" y="14"/>
                      <a:pt x="3" y="15"/>
                    </a:cubicBezTo>
                    <a:cubicBezTo>
                      <a:pt x="5" y="17"/>
                      <a:pt x="9" y="15"/>
                      <a:pt x="12" y="11"/>
                    </a:cubicBezTo>
                    <a:cubicBezTo>
                      <a:pt x="14" y="7"/>
                      <a:pt x="14" y="3"/>
                      <a:pt x="11" y="1"/>
                    </a:cubicBezTo>
                    <a:moveTo>
                      <a:pt x="11" y="11"/>
                    </a:moveTo>
                    <a:cubicBezTo>
                      <a:pt x="9" y="15"/>
                      <a:pt x="5" y="17"/>
                      <a:pt x="3" y="15"/>
                    </a:cubicBezTo>
                    <a:cubicBezTo>
                      <a:pt x="1" y="14"/>
                      <a:pt x="0" y="9"/>
                      <a:pt x="3" y="6"/>
                    </a:cubicBezTo>
                    <a:cubicBezTo>
                      <a:pt x="5" y="2"/>
                      <a:pt x="9" y="0"/>
                      <a:pt x="11" y="1"/>
                    </a:cubicBezTo>
                    <a:cubicBezTo>
                      <a:pt x="14" y="3"/>
                      <a:pt x="14" y="7"/>
                      <a:pt x="11" y="11"/>
                    </a:cubicBezTo>
                  </a:path>
                </a:pathLst>
              </a:custGeom>
              <a:solidFill>
                <a:srgbClr val="4690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9F0E0470-0B7A-4489-AB40-7F6E4E3D6277}"/>
                  </a:ext>
                </a:extLst>
              </p:cNvPr>
              <p:cNvSpPr/>
              <p:nvPr/>
            </p:nvSpPr>
            <p:spPr bwMode="auto">
              <a:xfrm>
                <a:off x="3827616" y="2300759"/>
                <a:ext cx="50262" cy="84651"/>
              </a:xfrm>
              <a:custGeom>
                <a:avLst/>
                <a:gdLst>
                  <a:gd name="T0" fmla="*/ 6 w 9"/>
                  <a:gd name="T1" fmla="*/ 0 h 15"/>
                  <a:gd name="T2" fmla="*/ 4 w 9"/>
                  <a:gd name="T3" fmla="*/ 0 h 15"/>
                  <a:gd name="T4" fmla="*/ 6 w 9"/>
                  <a:gd name="T5" fmla="*/ 0 h 15"/>
                  <a:gd name="T6" fmla="*/ 6 w 9"/>
                  <a:gd name="T7" fmla="*/ 10 h 15"/>
                  <a:gd name="T8" fmla="*/ 0 w 9"/>
                  <a:gd name="T9" fmla="*/ 15 h 15"/>
                  <a:gd name="T10" fmla="*/ 6 w 9"/>
                  <a:gd name="T11" fmla="*/ 10 h 15"/>
                  <a:gd name="T12" fmla="*/ 6 w 9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5">
                    <a:moveTo>
                      <a:pt x="6" y="0"/>
                    </a:moveTo>
                    <a:cubicBezTo>
                      <a:pt x="5" y="0"/>
                      <a:pt x="5" y="0"/>
                      <a:pt x="4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8" y="2"/>
                      <a:pt x="8" y="6"/>
                      <a:pt x="6" y="10"/>
                    </a:cubicBezTo>
                    <a:cubicBezTo>
                      <a:pt x="4" y="13"/>
                      <a:pt x="2" y="14"/>
                      <a:pt x="0" y="15"/>
                    </a:cubicBezTo>
                    <a:cubicBezTo>
                      <a:pt x="2" y="15"/>
                      <a:pt x="5" y="13"/>
                      <a:pt x="6" y="10"/>
                    </a:cubicBezTo>
                    <a:cubicBezTo>
                      <a:pt x="9" y="6"/>
                      <a:pt x="9" y="2"/>
                      <a:pt x="6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63A945BB-9B1D-4FD0-AC64-85A8D189D0E1}"/>
                  </a:ext>
                </a:extLst>
              </p:cNvPr>
              <p:cNvSpPr/>
              <p:nvPr/>
            </p:nvSpPr>
            <p:spPr bwMode="auto">
              <a:xfrm>
                <a:off x="3888458" y="2242562"/>
                <a:ext cx="66135" cy="87297"/>
              </a:xfrm>
              <a:custGeom>
                <a:avLst/>
                <a:gdLst>
                  <a:gd name="T0" fmla="*/ 3 w 12"/>
                  <a:gd name="T1" fmla="*/ 6 h 16"/>
                  <a:gd name="T2" fmla="*/ 12 w 12"/>
                  <a:gd name="T3" fmla="*/ 1 h 16"/>
                  <a:gd name="T4" fmla="*/ 12 w 12"/>
                  <a:gd name="T5" fmla="*/ 1 h 16"/>
                  <a:gd name="T6" fmla="*/ 3 w 12"/>
                  <a:gd name="T7" fmla="*/ 6 h 16"/>
                  <a:gd name="T8" fmla="*/ 3 w 12"/>
                  <a:gd name="T9" fmla="*/ 15 h 16"/>
                  <a:gd name="T10" fmla="*/ 4 w 12"/>
                  <a:gd name="T11" fmla="*/ 16 h 16"/>
                  <a:gd name="T12" fmla="*/ 3 w 12"/>
                  <a:gd name="T13" fmla="*/ 6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" h="16">
                    <a:moveTo>
                      <a:pt x="3" y="6"/>
                    </a:moveTo>
                    <a:cubicBezTo>
                      <a:pt x="6" y="2"/>
                      <a:pt x="10" y="0"/>
                      <a:pt x="12" y="1"/>
                    </a:cubicBezTo>
                    <a:cubicBezTo>
                      <a:pt x="12" y="1"/>
                      <a:pt x="12" y="1"/>
                      <a:pt x="12" y="1"/>
                    </a:cubicBezTo>
                    <a:cubicBezTo>
                      <a:pt x="9" y="0"/>
                      <a:pt x="5" y="2"/>
                      <a:pt x="3" y="6"/>
                    </a:cubicBezTo>
                    <a:cubicBezTo>
                      <a:pt x="0" y="10"/>
                      <a:pt x="0" y="14"/>
                      <a:pt x="3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1" y="14"/>
                      <a:pt x="1" y="10"/>
                      <a:pt x="3" y="6"/>
                    </a:cubicBezTo>
                  </a:path>
                </a:pathLst>
              </a:custGeom>
              <a:solidFill>
                <a:srgbClr val="7FB2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C16626C-D677-4D9B-BDDC-4512A8A0A070}"/>
                  </a:ext>
                </a:extLst>
              </p:cNvPr>
              <p:cNvSpPr/>
              <p:nvPr/>
            </p:nvSpPr>
            <p:spPr bwMode="auto">
              <a:xfrm>
                <a:off x="3893748" y="2242562"/>
                <a:ext cx="76716" cy="92588"/>
              </a:xfrm>
              <a:custGeom>
                <a:avLst/>
                <a:gdLst>
                  <a:gd name="T0" fmla="*/ 11 w 14"/>
                  <a:gd name="T1" fmla="*/ 1 h 17"/>
                  <a:gd name="T2" fmla="*/ 2 w 14"/>
                  <a:gd name="T3" fmla="*/ 6 h 17"/>
                  <a:gd name="T4" fmla="*/ 3 w 14"/>
                  <a:gd name="T5" fmla="*/ 16 h 17"/>
                  <a:gd name="T6" fmla="*/ 11 w 14"/>
                  <a:gd name="T7" fmla="*/ 11 h 17"/>
                  <a:gd name="T8" fmla="*/ 11 w 14"/>
                  <a:gd name="T9" fmla="*/ 1 h 17"/>
                  <a:gd name="T10" fmla="*/ 11 w 14"/>
                  <a:gd name="T11" fmla="*/ 11 h 17"/>
                  <a:gd name="T12" fmla="*/ 3 w 14"/>
                  <a:gd name="T13" fmla="*/ 15 h 17"/>
                  <a:gd name="T14" fmla="*/ 2 w 14"/>
                  <a:gd name="T15" fmla="*/ 6 h 17"/>
                  <a:gd name="T16" fmla="*/ 11 w 14"/>
                  <a:gd name="T17" fmla="*/ 2 h 17"/>
                  <a:gd name="T18" fmla="*/ 11 w 14"/>
                  <a:gd name="T1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7">
                    <a:moveTo>
                      <a:pt x="11" y="1"/>
                    </a:moveTo>
                    <a:cubicBezTo>
                      <a:pt x="9" y="0"/>
                      <a:pt x="5" y="2"/>
                      <a:pt x="2" y="6"/>
                    </a:cubicBezTo>
                    <a:cubicBezTo>
                      <a:pt x="0" y="10"/>
                      <a:pt x="0" y="14"/>
                      <a:pt x="3" y="16"/>
                    </a:cubicBezTo>
                    <a:cubicBezTo>
                      <a:pt x="5" y="17"/>
                      <a:pt x="9" y="15"/>
                      <a:pt x="11" y="11"/>
                    </a:cubicBezTo>
                    <a:cubicBezTo>
                      <a:pt x="14" y="7"/>
                      <a:pt x="14" y="3"/>
                      <a:pt x="11" y="1"/>
                    </a:cubicBezTo>
                    <a:moveTo>
                      <a:pt x="11" y="11"/>
                    </a:moveTo>
                    <a:cubicBezTo>
                      <a:pt x="9" y="15"/>
                      <a:pt x="5" y="17"/>
                      <a:pt x="3" y="15"/>
                    </a:cubicBezTo>
                    <a:cubicBezTo>
                      <a:pt x="0" y="14"/>
                      <a:pt x="0" y="10"/>
                      <a:pt x="2" y="6"/>
                    </a:cubicBezTo>
                    <a:cubicBezTo>
                      <a:pt x="5" y="2"/>
                      <a:pt x="9" y="0"/>
                      <a:pt x="11" y="2"/>
                    </a:cubicBezTo>
                    <a:cubicBezTo>
                      <a:pt x="13" y="3"/>
                      <a:pt x="13" y="7"/>
                      <a:pt x="11" y="11"/>
                    </a:cubicBezTo>
                  </a:path>
                </a:pathLst>
              </a:custGeom>
              <a:solidFill>
                <a:srgbClr val="4690E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D99DC133-C682-49CF-BC30-7FA77FD41A60}"/>
                  </a:ext>
                </a:extLst>
              </p:cNvPr>
              <p:cNvSpPr/>
              <p:nvPr/>
            </p:nvSpPr>
            <p:spPr bwMode="auto">
              <a:xfrm>
                <a:off x="3914911" y="2247852"/>
                <a:ext cx="50262" cy="82007"/>
              </a:xfrm>
              <a:custGeom>
                <a:avLst/>
                <a:gdLst>
                  <a:gd name="T0" fmla="*/ 7 w 9"/>
                  <a:gd name="T1" fmla="*/ 1 h 15"/>
                  <a:gd name="T2" fmla="*/ 5 w 9"/>
                  <a:gd name="T3" fmla="*/ 0 h 15"/>
                  <a:gd name="T4" fmla="*/ 7 w 9"/>
                  <a:gd name="T5" fmla="*/ 1 h 15"/>
                  <a:gd name="T6" fmla="*/ 7 w 9"/>
                  <a:gd name="T7" fmla="*/ 10 h 15"/>
                  <a:gd name="T8" fmla="*/ 0 w 9"/>
                  <a:gd name="T9" fmla="*/ 15 h 15"/>
                  <a:gd name="T10" fmla="*/ 7 w 9"/>
                  <a:gd name="T11" fmla="*/ 10 h 15"/>
                  <a:gd name="T12" fmla="*/ 7 w 9"/>
                  <a:gd name="T13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5">
                    <a:moveTo>
                      <a:pt x="7" y="1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9" y="2"/>
                      <a:pt x="9" y="6"/>
                      <a:pt x="7" y="10"/>
                    </a:cubicBezTo>
                    <a:cubicBezTo>
                      <a:pt x="5" y="13"/>
                      <a:pt x="3" y="15"/>
                      <a:pt x="0" y="15"/>
                    </a:cubicBezTo>
                    <a:cubicBezTo>
                      <a:pt x="3" y="15"/>
                      <a:pt x="5" y="13"/>
                      <a:pt x="7" y="10"/>
                    </a:cubicBezTo>
                    <a:cubicBezTo>
                      <a:pt x="9" y="6"/>
                      <a:pt x="9" y="2"/>
                      <a:pt x="7" y="1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D0BC36CF-B8FB-438D-9907-4248798263E2}"/>
                  </a:ext>
                </a:extLst>
              </p:cNvPr>
              <p:cNvSpPr/>
              <p:nvPr/>
            </p:nvSpPr>
            <p:spPr bwMode="auto">
              <a:xfrm>
                <a:off x="3806453" y="2300759"/>
                <a:ext cx="66135" cy="84651"/>
              </a:xfrm>
              <a:custGeom>
                <a:avLst/>
                <a:gdLst>
                  <a:gd name="T0" fmla="*/ 8 w 12"/>
                  <a:gd name="T1" fmla="*/ 0 h 15"/>
                  <a:gd name="T2" fmla="*/ 2 w 12"/>
                  <a:gd name="T3" fmla="*/ 5 h 15"/>
                  <a:gd name="T4" fmla="*/ 0 w 12"/>
                  <a:gd name="T5" fmla="*/ 10 h 15"/>
                  <a:gd name="T6" fmla="*/ 2 w 12"/>
                  <a:gd name="T7" fmla="*/ 14 h 15"/>
                  <a:gd name="T8" fmla="*/ 4 w 12"/>
                  <a:gd name="T9" fmla="*/ 15 h 15"/>
                  <a:gd name="T10" fmla="*/ 10 w 12"/>
                  <a:gd name="T11" fmla="*/ 10 h 15"/>
                  <a:gd name="T12" fmla="*/ 4 w 12"/>
                  <a:gd name="T13" fmla="*/ 15 h 15"/>
                  <a:gd name="T14" fmla="*/ 4 w 12"/>
                  <a:gd name="T15" fmla="*/ 15 h 15"/>
                  <a:gd name="T16" fmla="*/ 10 w 12"/>
                  <a:gd name="T17" fmla="*/ 10 h 15"/>
                  <a:gd name="T18" fmla="*/ 10 w 12"/>
                  <a:gd name="T19" fmla="*/ 0 h 15"/>
                  <a:gd name="T20" fmla="*/ 8 w 12"/>
                  <a:gd name="T21" fmla="*/ 0 h 15"/>
                  <a:gd name="T22" fmla="*/ 8 w 12"/>
                  <a:gd name="T23" fmla="*/ 0 h 15"/>
                  <a:gd name="T24" fmla="*/ 10 w 12"/>
                  <a:gd name="T25" fmla="*/ 0 h 15"/>
                  <a:gd name="T26" fmla="*/ 8 w 12"/>
                  <a:gd name="T2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" h="15">
                    <a:moveTo>
                      <a:pt x="8" y="0"/>
                    </a:moveTo>
                    <a:cubicBezTo>
                      <a:pt x="6" y="0"/>
                      <a:pt x="3" y="2"/>
                      <a:pt x="2" y="5"/>
                    </a:cubicBezTo>
                    <a:cubicBezTo>
                      <a:pt x="1" y="7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cubicBezTo>
                      <a:pt x="3" y="14"/>
                      <a:pt x="3" y="15"/>
                      <a:pt x="4" y="15"/>
                    </a:cubicBezTo>
                    <a:cubicBezTo>
                      <a:pt x="6" y="15"/>
                      <a:pt x="9" y="13"/>
                      <a:pt x="10" y="10"/>
                    </a:cubicBezTo>
                    <a:cubicBezTo>
                      <a:pt x="9" y="13"/>
                      <a:pt x="6" y="15"/>
                      <a:pt x="4" y="15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6" y="14"/>
                      <a:pt x="8" y="13"/>
                      <a:pt x="10" y="10"/>
                    </a:cubicBezTo>
                    <a:cubicBezTo>
                      <a:pt x="12" y="6"/>
                      <a:pt x="12" y="2"/>
                      <a:pt x="10" y="0"/>
                    </a:cubicBezTo>
                    <a:cubicBezTo>
                      <a:pt x="9" y="0"/>
                      <a:pt x="9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9" y="0"/>
                      <a:pt x="10" y="0"/>
                      <a:pt x="10" y="0"/>
                    </a:cubicBezTo>
                    <a:cubicBezTo>
                      <a:pt x="10" y="0"/>
                      <a:pt x="9" y="0"/>
                      <a:pt x="8" y="0"/>
                    </a:cubicBezTo>
                  </a:path>
                </a:pathLst>
              </a:custGeom>
              <a:solidFill>
                <a:srgbClr val="C0B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E85CBBDE-57FC-4E18-8785-664C5A6C18E8}"/>
                  </a:ext>
                </a:extLst>
              </p:cNvPr>
              <p:cNvSpPr/>
              <p:nvPr/>
            </p:nvSpPr>
            <p:spPr bwMode="auto">
              <a:xfrm>
                <a:off x="3827616" y="2300759"/>
                <a:ext cx="44972" cy="84651"/>
              </a:xfrm>
              <a:custGeom>
                <a:avLst/>
                <a:gdLst>
                  <a:gd name="T0" fmla="*/ 4 w 8"/>
                  <a:gd name="T1" fmla="*/ 0 h 15"/>
                  <a:gd name="T2" fmla="*/ 4 w 8"/>
                  <a:gd name="T3" fmla="*/ 0 h 15"/>
                  <a:gd name="T4" fmla="*/ 6 w 8"/>
                  <a:gd name="T5" fmla="*/ 0 h 15"/>
                  <a:gd name="T6" fmla="*/ 6 w 8"/>
                  <a:gd name="T7" fmla="*/ 10 h 15"/>
                  <a:gd name="T8" fmla="*/ 0 w 8"/>
                  <a:gd name="T9" fmla="*/ 15 h 15"/>
                  <a:gd name="T10" fmla="*/ 0 w 8"/>
                  <a:gd name="T11" fmla="*/ 15 h 15"/>
                  <a:gd name="T12" fmla="*/ 6 w 8"/>
                  <a:gd name="T13" fmla="*/ 10 h 15"/>
                  <a:gd name="T14" fmla="*/ 6 w 8"/>
                  <a:gd name="T15" fmla="*/ 10 h 15"/>
                  <a:gd name="T16" fmla="*/ 8 w 8"/>
                  <a:gd name="T17" fmla="*/ 5 h 15"/>
                  <a:gd name="T18" fmla="*/ 6 w 8"/>
                  <a:gd name="T19" fmla="*/ 0 h 15"/>
                  <a:gd name="T20" fmla="*/ 6 w 8"/>
                  <a:gd name="T21" fmla="*/ 0 h 15"/>
                  <a:gd name="T22" fmla="*/ 4 w 8"/>
                  <a:gd name="T2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5">
                    <a:moveTo>
                      <a:pt x="4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5" y="0"/>
                      <a:pt x="5" y="0"/>
                      <a:pt x="6" y="0"/>
                    </a:cubicBezTo>
                    <a:cubicBezTo>
                      <a:pt x="8" y="2"/>
                      <a:pt x="8" y="6"/>
                      <a:pt x="6" y="10"/>
                    </a:cubicBezTo>
                    <a:cubicBezTo>
                      <a:pt x="4" y="13"/>
                      <a:pt x="2" y="14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" y="15"/>
                      <a:pt x="5" y="13"/>
                      <a:pt x="6" y="10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7" y="8"/>
                      <a:pt x="8" y="6"/>
                      <a:pt x="8" y="5"/>
                    </a:cubicBezTo>
                    <a:cubicBezTo>
                      <a:pt x="8" y="3"/>
                      <a:pt x="7" y="1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5" y="0"/>
                      <a:pt x="4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09E6D18-77E2-4D61-BE7D-5E65622E99AE}"/>
                  </a:ext>
                </a:extLst>
              </p:cNvPr>
              <p:cNvSpPr/>
              <p:nvPr/>
            </p:nvSpPr>
            <p:spPr bwMode="auto">
              <a:xfrm>
                <a:off x="3925493" y="2247852"/>
                <a:ext cx="39681" cy="82007"/>
              </a:xfrm>
              <a:custGeom>
                <a:avLst/>
                <a:gdLst>
                  <a:gd name="T0" fmla="*/ 3 w 7"/>
                  <a:gd name="T1" fmla="*/ 13 h 15"/>
                  <a:gd name="T2" fmla="*/ 0 w 7"/>
                  <a:gd name="T3" fmla="*/ 15 h 15"/>
                  <a:gd name="T4" fmla="*/ 0 w 7"/>
                  <a:gd name="T5" fmla="*/ 15 h 15"/>
                  <a:gd name="T6" fmla="*/ 3 w 7"/>
                  <a:gd name="T7" fmla="*/ 13 h 15"/>
                  <a:gd name="T8" fmla="*/ 3 w 7"/>
                  <a:gd name="T9" fmla="*/ 0 h 15"/>
                  <a:gd name="T10" fmla="*/ 0 w 7"/>
                  <a:gd name="T11" fmla="*/ 1 h 15"/>
                  <a:gd name="T12" fmla="*/ 0 w 7"/>
                  <a:gd name="T13" fmla="*/ 15 h 15"/>
                  <a:gd name="T14" fmla="*/ 5 w 7"/>
                  <a:gd name="T15" fmla="*/ 10 h 15"/>
                  <a:gd name="T16" fmla="*/ 5 w 7"/>
                  <a:gd name="T17" fmla="*/ 1 h 15"/>
                  <a:gd name="T18" fmla="*/ 3 w 7"/>
                  <a:gd name="T19" fmla="*/ 0 h 15"/>
                  <a:gd name="T20" fmla="*/ 3 w 7"/>
                  <a:gd name="T21" fmla="*/ 0 h 15"/>
                  <a:gd name="T22" fmla="*/ 5 w 7"/>
                  <a:gd name="T23" fmla="*/ 1 h 15"/>
                  <a:gd name="T24" fmla="*/ 3 w 7"/>
                  <a:gd name="T2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15">
                    <a:moveTo>
                      <a:pt x="3" y="13"/>
                    </a:moveTo>
                    <a:cubicBezTo>
                      <a:pt x="2" y="14"/>
                      <a:pt x="1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" y="15"/>
                      <a:pt x="2" y="14"/>
                      <a:pt x="3" y="13"/>
                    </a:cubicBezTo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5"/>
                      <a:pt x="0" y="10"/>
                      <a:pt x="0" y="15"/>
                    </a:cubicBezTo>
                    <a:cubicBezTo>
                      <a:pt x="1" y="14"/>
                      <a:pt x="3" y="13"/>
                      <a:pt x="5" y="10"/>
                    </a:cubicBezTo>
                    <a:cubicBezTo>
                      <a:pt x="7" y="6"/>
                      <a:pt x="7" y="2"/>
                      <a:pt x="5" y="1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4" y="0"/>
                      <a:pt x="4" y="0"/>
                      <a:pt x="5" y="1"/>
                    </a:cubicBezTo>
                    <a:cubicBezTo>
                      <a:pt x="4" y="0"/>
                      <a:pt x="4" y="0"/>
                      <a:pt x="3" y="0"/>
                    </a:cubicBezTo>
                  </a:path>
                </a:pathLst>
              </a:custGeom>
              <a:solidFill>
                <a:srgbClr val="A8C8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305A1AD3-AFEB-4081-B717-7A1472858E37}"/>
                  </a:ext>
                </a:extLst>
              </p:cNvPr>
              <p:cNvSpPr/>
              <p:nvPr/>
            </p:nvSpPr>
            <p:spPr bwMode="auto">
              <a:xfrm>
                <a:off x="3899039" y="2253143"/>
                <a:ext cx="26453" cy="76716"/>
              </a:xfrm>
              <a:custGeom>
                <a:avLst/>
                <a:gdLst>
                  <a:gd name="T0" fmla="*/ 5 w 5"/>
                  <a:gd name="T1" fmla="*/ 0 h 14"/>
                  <a:gd name="T2" fmla="*/ 1 w 5"/>
                  <a:gd name="T3" fmla="*/ 4 h 14"/>
                  <a:gd name="T4" fmla="*/ 0 w 5"/>
                  <a:gd name="T5" fmla="*/ 9 h 14"/>
                  <a:gd name="T6" fmla="*/ 2 w 5"/>
                  <a:gd name="T7" fmla="*/ 13 h 14"/>
                  <a:gd name="T8" fmla="*/ 4 w 5"/>
                  <a:gd name="T9" fmla="*/ 14 h 14"/>
                  <a:gd name="T10" fmla="*/ 5 w 5"/>
                  <a:gd name="T11" fmla="*/ 14 h 14"/>
                  <a:gd name="T12" fmla="*/ 5 w 5"/>
                  <a:gd name="T13" fmla="*/ 14 h 14"/>
                  <a:gd name="T14" fmla="*/ 4 w 5"/>
                  <a:gd name="T15" fmla="*/ 14 h 14"/>
                  <a:gd name="T16" fmla="*/ 3 w 5"/>
                  <a:gd name="T17" fmla="*/ 14 h 14"/>
                  <a:gd name="T18" fmla="*/ 5 w 5"/>
                  <a:gd name="T19" fmla="*/ 14 h 14"/>
                  <a:gd name="T20" fmla="*/ 5 w 5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" h="14">
                    <a:moveTo>
                      <a:pt x="5" y="0"/>
                    </a:moveTo>
                    <a:cubicBezTo>
                      <a:pt x="4" y="1"/>
                      <a:pt x="2" y="2"/>
                      <a:pt x="1" y="4"/>
                    </a:cubicBezTo>
                    <a:cubicBezTo>
                      <a:pt x="0" y="6"/>
                      <a:pt x="0" y="8"/>
                      <a:pt x="0" y="9"/>
                    </a:cubicBezTo>
                    <a:cubicBezTo>
                      <a:pt x="0" y="11"/>
                      <a:pt x="1" y="13"/>
                      <a:pt x="2" y="13"/>
                    </a:cubicBezTo>
                    <a:cubicBezTo>
                      <a:pt x="2" y="14"/>
                      <a:pt x="3" y="14"/>
                      <a:pt x="4" y="14"/>
                    </a:cubicBezTo>
                    <a:cubicBezTo>
                      <a:pt x="4" y="14"/>
                      <a:pt x="4" y="14"/>
                      <a:pt x="5" y="14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4" y="14"/>
                      <a:pt x="4" y="14"/>
                      <a:pt x="4" y="14"/>
                    </a:cubicBezTo>
                    <a:cubicBezTo>
                      <a:pt x="4" y="14"/>
                      <a:pt x="4" y="14"/>
                      <a:pt x="3" y="14"/>
                    </a:cubicBezTo>
                    <a:cubicBezTo>
                      <a:pt x="4" y="14"/>
                      <a:pt x="4" y="14"/>
                      <a:pt x="5" y="14"/>
                    </a:cubicBezTo>
                    <a:cubicBezTo>
                      <a:pt x="5" y="9"/>
                      <a:pt x="5" y="4"/>
                      <a:pt x="5" y="0"/>
                    </a:cubicBezTo>
                  </a:path>
                </a:pathLst>
              </a:custGeom>
              <a:solidFill>
                <a:srgbClr val="C0B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71E9FE85-D4B9-4480-A672-44D1EBA54EF9}"/>
                  </a:ext>
                </a:extLst>
              </p:cNvPr>
              <p:cNvSpPr/>
              <p:nvPr/>
            </p:nvSpPr>
            <p:spPr bwMode="auto">
              <a:xfrm>
                <a:off x="3899039" y="2247852"/>
                <a:ext cx="66135" cy="52907"/>
              </a:xfrm>
              <a:custGeom>
                <a:avLst/>
                <a:gdLst>
                  <a:gd name="T0" fmla="*/ 8 w 12"/>
                  <a:gd name="T1" fmla="*/ 0 h 10"/>
                  <a:gd name="T2" fmla="*/ 1 w 12"/>
                  <a:gd name="T3" fmla="*/ 5 h 10"/>
                  <a:gd name="T4" fmla="*/ 0 w 12"/>
                  <a:gd name="T5" fmla="*/ 10 h 10"/>
                  <a:gd name="T6" fmla="*/ 1 w 12"/>
                  <a:gd name="T7" fmla="*/ 5 h 10"/>
                  <a:gd name="T8" fmla="*/ 5 w 12"/>
                  <a:gd name="T9" fmla="*/ 1 h 10"/>
                  <a:gd name="T10" fmla="*/ 8 w 12"/>
                  <a:gd name="T11" fmla="*/ 0 h 10"/>
                  <a:gd name="T12" fmla="*/ 10 w 12"/>
                  <a:gd name="T13" fmla="*/ 1 h 10"/>
                  <a:gd name="T14" fmla="*/ 10 w 12"/>
                  <a:gd name="T15" fmla="*/ 1 h 10"/>
                  <a:gd name="T16" fmla="*/ 12 w 12"/>
                  <a:gd name="T17" fmla="*/ 5 h 10"/>
                  <a:gd name="T18" fmla="*/ 10 w 12"/>
                  <a:gd name="T19" fmla="*/ 1 h 10"/>
                  <a:gd name="T20" fmla="*/ 8 w 12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" h="10">
                    <a:moveTo>
                      <a:pt x="8" y="0"/>
                    </a:moveTo>
                    <a:cubicBezTo>
                      <a:pt x="6" y="0"/>
                      <a:pt x="3" y="2"/>
                      <a:pt x="1" y="5"/>
                    </a:cubicBezTo>
                    <a:cubicBezTo>
                      <a:pt x="0" y="7"/>
                      <a:pt x="0" y="9"/>
                      <a:pt x="0" y="10"/>
                    </a:cubicBezTo>
                    <a:cubicBezTo>
                      <a:pt x="0" y="9"/>
                      <a:pt x="0" y="7"/>
                      <a:pt x="1" y="5"/>
                    </a:cubicBezTo>
                    <a:cubicBezTo>
                      <a:pt x="2" y="3"/>
                      <a:pt x="4" y="2"/>
                      <a:pt x="5" y="1"/>
                    </a:cubicBezTo>
                    <a:cubicBezTo>
                      <a:pt x="6" y="1"/>
                      <a:pt x="7" y="0"/>
                      <a:pt x="8" y="0"/>
                    </a:cubicBezTo>
                    <a:cubicBezTo>
                      <a:pt x="9" y="0"/>
                      <a:pt x="9" y="0"/>
                      <a:pt x="10" y="1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1" y="2"/>
                      <a:pt x="12" y="3"/>
                      <a:pt x="12" y="5"/>
                    </a:cubicBezTo>
                    <a:cubicBezTo>
                      <a:pt x="12" y="3"/>
                      <a:pt x="11" y="2"/>
                      <a:pt x="10" y="1"/>
                    </a:cubicBezTo>
                    <a:cubicBezTo>
                      <a:pt x="9" y="0"/>
                      <a:pt x="9" y="0"/>
                      <a:pt x="8" y="0"/>
                    </a:cubicBezTo>
                  </a:path>
                </a:pathLst>
              </a:custGeom>
              <a:solidFill>
                <a:srgbClr val="4089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F3F0E08F-9724-42A7-8D4F-5DC353A42C8B}"/>
                  </a:ext>
                </a:extLst>
              </p:cNvPr>
              <p:cNvSpPr/>
              <p:nvPr/>
            </p:nvSpPr>
            <p:spPr bwMode="auto">
              <a:xfrm>
                <a:off x="3914911" y="2247852"/>
                <a:ext cx="50262" cy="82007"/>
              </a:xfrm>
              <a:custGeom>
                <a:avLst/>
                <a:gdLst>
                  <a:gd name="T0" fmla="*/ 5 w 9"/>
                  <a:gd name="T1" fmla="*/ 0 h 15"/>
                  <a:gd name="T2" fmla="*/ 5 w 9"/>
                  <a:gd name="T3" fmla="*/ 0 h 15"/>
                  <a:gd name="T4" fmla="*/ 7 w 9"/>
                  <a:gd name="T5" fmla="*/ 1 h 15"/>
                  <a:gd name="T6" fmla="*/ 7 w 9"/>
                  <a:gd name="T7" fmla="*/ 10 h 15"/>
                  <a:gd name="T8" fmla="*/ 2 w 9"/>
                  <a:gd name="T9" fmla="*/ 15 h 15"/>
                  <a:gd name="T10" fmla="*/ 0 w 9"/>
                  <a:gd name="T11" fmla="*/ 15 h 15"/>
                  <a:gd name="T12" fmla="*/ 1 w 9"/>
                  <a:gd name="T13" fmla="*/ 15 h 15"/>
                  <a:gd name="T14" fmla="*/ 2 w 9"/>
                  <a:gd name="T15" fmla="*/ 15 h 15"/>
                  <a:gd name="T16" fmla="*/ 5 w 9"/>
                  <a:gd name="T17" fmla="*/ 13 h 15"/>
                  <a:gd name="T18" fmla="*/ 7 w 9"/>
                  <a:gd name="T19" fmla="*/ 10 h 15"/>
                  <a:gd name="T20" fmla="*/ 9 w 9"/>
                  <a:gd name="T21" fmla="*/ 5 h 15"/>
                  <a:gd name="T22" fmla="*/ 7 w 9"/>
                  <a:gd name="T23" fmla="*/ 1 h 15"/>
                  <a:gd name="T24" fmla="*/ 7 w 9"/>
                  <a:gd name="T25" fmla="*/ 1 h 15"/>
                  <a:gd name="T26" fmla="*/ 5 w 9"/>
                  <a:gd name="T27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5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0"/>
                      <a:pt x="6" y="0"/>
                      <a:pt x="7" y="1"/>
                    </a:cubicBezTo>
                    <a:cubicBezTo>
                      <a:pt x="9" y="2"/>
                      <a:pt x="9" y="6"/>
                      <a:pt x="7" y="10"/>
                    </a:cubicBezTo>
                    <a:cubicBezTo>
                      <a:pt x="5" y="13"/>
                      <a:pt x="3" y="14"/>
                      <a:pt x="2" y="15"/>
                    </a:cubicBezTo>
                    <a:cubicBezTo>
                      <a:pt x="1" y="15"/>
                      <a:pt x="1" y="15"/>
                      <a:pt x="0" y="15"/>
                    </a:cubicBezTo>
                    <a:cubicBezTo>
                      <a:pt x="1" y="15"/>
                      <a:pt x="1" y="15"/>
                      <a:pt x="1" y="15"/>
                    </a:cubicBezTo>
                    <a:cubicBezTo>
                      <a:pt x="1" y="15"/>
                      <a:pt x="1" y="15"/>
                      <a:pt x="2" y="15"/>
                    </a:cubicBezTo>
                    <a:cubicBezTo>
                      <a:pt x="3" y="15"/>
                      <a:pt x="4" y="14"/>
                      <a:pt x="5" y="13"/>
                    </a:cubicBezTo>
                    <a:cubicBezTo>
                      <a:pt x="6" y="12"/>
                      <a:pt x="7" y="11"/>
                      <a:pt x="7" y="10"/>
                    </a:cubicBezTo>
                    <a:cubicBezTo>
                      <a:pt x="8" y="8"/>
                      <a:pt x="9" y="7"/>
                      <a:pt x="9" y="5"/>
                    </a:cubicBezTo>
                    <a:cubicBezTo>
                      <a:pt x="9" y="3"/>
                      <a:pt x="8" y="2"/>
                      <a:pt x="7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EC573EAC-CDBC-4243-AB91-ADABCA51BB8E}"/>
                  </a:ext>
                </a:extLst>
              </p:cNvPr>
              <p:cNvSpPr/>
              <p:nvPr/>
            </p:nvSpPr>
            <p:spPr bwMode="auto">
              <a:xfrm>
                <a:off x="4129185" y="2586457"/>
                <a:ext cx="703662" cy="423255"/>
              </a:xfrm>
              <a:custGeom>
                <a:avLst/>
                <a:gdLst>
                  <a:gd name="T0" fmla="*/ 156 w 266"/>
                  <a:gd name="T1" fmla="*/ 152 h 160"/>
                  <a:gd name="T2" fmla="*/ 158 w 266"/>
                  <a:gd name="T3" fmla="*/ 154 h 160"/>
                  <a:gd name="T4" fmla="*/ 148 w 266"/>
                  <a:gd name="T5" fmla="*/ 160 h 160"/>
                  <a:gd name="T6" fmla="*/ 140 w 266"/>
                  <a:gd name="T7" fmla="*/ 154 h 160"/>
                  <a:gd name="T8" fmla="*/ 137 w 266"/>
                  <a:gd name="T9" fmla="*/ 144 h 160"/>
                  <a:gd name="T10" fmla="*/ 137 w 266"/>
                  <a:gd name="T11" fmla="*/ 144 h 160"/>
                  <a:gd name="T12" fmla="*/ 0 w 266"/>
                  <a:gd name="T13" fmla="*/ 65 h 160"/>
                  <a:gd name="T14" fmla="*/ 113 w 266"/>
                  <a:gd name="T15" fmla="*/ 0 h 160"/>
                  <a:gd name="T16" fmla="*/ 266 w 266"/>
                  <a:gd name="T17" fmla="*/ 88 h 160"/>
                  <a:gd name="T18" fmla="*/ 156 w 266"/>
                  <a:gd name="T19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6" h="160">
                    <a:moveTo>
                      <a:pt x="156" y="152"/>
                    </a:moveTo>
                    <a:lnTo>
                      <a:pt x="158" y="154"/>
                    </a:lnTo>
                    <a:lnTo>
                      <a:pt x="148" y="160"/>
                    </a:lnTo>
                    <a:lnTo>
                      <a:pt x="140" y="154"/>
                    </a:lnTo>
                    <a:lnTo>
                      <a:pt x="137" y="144"/>
                    </a:lnTo>
                    <a:lnTo>
                      <a:pt x="137" y="144"/>
                    </a:lnTo>
                    <a:lnTo>
                      <a:pt x="0" y="65"/>
                    </a:lnTo>
                    <a:lnTo>
                      <a:pt x="113" y="0"/>
                    </a:lnTo>
                    <a:lnTo>
                      <a:pt x="266" y="88"/>
                    </a:lnTo>
                    <a:lnTo>
                      <a:pt x="156" y="152"/>
                    </a:lnTo>
                    <a:close/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4C3B9F18-EB6F-495F-BCDE-292150CD0A05}"/>
                  </a:ext>
                </a:extLst>
              </p:cNvPr>
              <p:cNvSpPr/>
              <p:nvPr/>
            </p:nvSpPr>
            <p:spPr bwMode="auto">
              <a:xfrm>
                <a:off x="4076278" y="2483289"/>
                <a:ext cx="756569" cy="534360"/>
              </a:xfrm>
              <a:custGeom>
                <a:avLst/>
                <a:gdLst>
                  <a:gd name="T0" fmla="*/ 84 w 138"/>
                  <a:gd name="T1" fmla="*/ 73 h 97"/>
                  <a:gd name="T2" fmla="*/ 78 w 138"/>
                  <a:gd name="T3" fmla="*/ 80 h 97"/>
                  <a:gd name="T4" fmla="*/ 74 w 138"/>
                  <a:gd name="T5" fmla="*/ 89 h 97"/>
                  <a:gd name="T6" fmla="*/ 74 w 138"/>
                  <a:gd name="T7" fmla="*/ 91 h 97"/>
                  <a:gd name="T8" fmla="*/ 77 w 138"/>
                  <a:gd name="T9" fmla="*/ 97 h 97"/>
                  <a:gd name="T10" fmla="*/ 3 w 138"/>
                  <a:gd name="T11" fmla="*/ 55 h 97"/>
                  <a:gd name="T12" fmla="*/ 0 w 138"/>
                  <a:gd name="T13" fmla="*/ 48 h 97"/>
                  <a:gd name="T14" fmla="*/ 8 w 138"/>
                  <a:gd name="T15" fmla="*/ 32 h 97"/>
                  <a:gd name="T16" fmla="*/ 10 w 138"/>
                  <a:gd name="T17" fmla="*/ 31 h 97"/>
                  <a:gd name="T18" fmla="*/ 64 w 138"/>
                  <a:gd name="T19" fmla="*/ 0 h 97"/>
                  <a:gd name="T20" fmla="*/ 138 w 138"/>
                  <a:gd name="T21" fmla="*/ 42 h 97"/>
                  <a:gd name="T22" fmla="*/ 84 w 138"/>
                  <a:gd name="T23" fmla="*/ 73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8" h="97">
                    <a:moveTo>
                      <a:pt x="84" y="73"/>
                    </a:moveTo>
                    <a:cubicBezTo>
                      <a:pt x="81" y="75"/>
                      <a:pt x="79" y="77"/>
                      <a:pt x="78" y="80"/>
                    </a:cubicBezTo>
                    <a:cubicBezTo>
                      <a:pt x="76" y="82"/>
                      <a:pt x="75" y="86"/>
                      <a:pt x="74" y="89"/>
                    </a:cubicBezTo>
                    <a:cubicBezTo>
                      <a:pt x="74" y="90"/>
                      <a:pt x="74" y="90"/>
                      <a:pt x="74" y="91"/>
                    </a:cubicBezTo>
                    <a:cubicBezTo>
                      <a:pt x="74" y="94"/>
                      <a:pt x="75" y="96"/>
                      <a:pt x="77" y="97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3"/>
                      <a:pt x="0" y="51"/>
                      <a:pt x="0" y="48"/>
                    </a:cubicBezTo>
                    <a:cubicBezTo>
                      <a:pt x="0" y="42"/>
                      <a:pt x="4" y="36"/>
                      <a:pt x="8" y="32"/>
                    </a:cubicBezTo>
                    <a:cubicBezTo>
                      <a:pt x="9" y="31"/>
                      <a:pt x="9" y="31"/>
                      <a:pt x="10" y="31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138" y="42"/>
                      <a:pt x="138" y="42"/>
                      <a:pt x="138" y="42"/>
                    </a:cubicBezTo>
                    <a:lnTo>
                      <a:pt x="84" y="73"/>
                    </a:lnTo>
                    <a:close/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0232435D-5624-4C9B-814C-1FD9BBCDE717}"/>
                  </a:ext>
                </a:extLst>
              </p:cNvPr>
              <p:cNvSpPr/>
              <p:nvPr/>
            </p:nvSpPr>
            <p:spPr bwMode="auto">
              <a:xfrm>
                <a:off x="4470434" y="2747824"/>
                <a:ext cx="330669" cy="240727"/>
              </a:xfrm>
              <a:custGeom>
                <a:avLst/>
                <a:gdLst>
                  <a:gd name="T0" fmla="*/ 60 w 60"/>
                  <a:gd name="T1" fmla="*/ 13 h 44"/>
                  <a:gd name="T2" fmla="*/ 6 w 60"/>
                  <a:gd name="T3" fmla="*/ 44 h 44"/>
                  <a:gd name="T4" fmla="*/ 13 w 60"/>
                  <a:gd name="T5" fmla="*/ 27 h 44"/>
                  <a:gd name="T6" fmla="*/ 60 w 60"/>
                  <a:gd name="T7" fmla="*/ 0 h 44"/>
                  <a:gd name="T8" fmla="*/ 60 w 60"/>
                  <a:gd name="T9" fmla="*/ 1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44">
                    <a:moveTo>
                      <a:pt x="60" y="13"/>
                    </a:moveTo>
                    <a:cubicBezTo>
                      <a:pt x="6" y="44"/>
                      <a:pt x="6" y="44"/>
                      <a:pt x="6" y="44"/>
                    </a:cubicBezTo>
                    <a:cubicBezTo>
                      <a:pt x="6" y="44"/>
                      <a:pt x="0" y="35"/>
                      <a:pt x="13" y="27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60" y="13"/>
                    </a:ln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DEAA9412-F1D2-46CE-8628-B5B2AF3B9339}"/>
                  </a:ext>
                </a:extLst>
              </p:cNvPr>
              <p:cNvSpPr/>
              <p:nvPr/>
            </p:nvSpPr>
            <p:spPr bwMode="auto">
              <a:xfrm>
                <a:off x="4499534" y="2758405"/>
                <a:ext cx="301570" cy="174593"/>
              </a:xfrm>
              <a:custGeom>
                <a:avLst/>
                <a:gdLst>
                  <a:gd name="T0" fmla="*/ 0 w 114"/>
                  <a:gd name="T1" fmla="*/ 66 h 66"/>
                  <a:gd name="T2" fmla="*/ 0 w 114"/>
                  <a:gd name="T3" fmla="*/ 66 h 66"/>
                  <a:gd name="T4" fmla="*/ 114 w 114"/>
                  <a:gd name="T5" fmla="*/ 0 h 66"/>
                  <a:gd name="T6" fmla="*/ 114 w 114"/>
                  <a:gd name="T7" fmla="*/ 0 h 66"/>
                  <a:gd name="T8" fmla="*/ 0 w 114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6">
                    <a:moveTo>
                      <a:pt x="0" y="66"/>
                    </a:moveTo>
                    <a:lnTo>
                      <a:pt x="0" y="66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06B12D40-0EA5-4D96-935F-47EC171E9DF6}"/>
                  </a:ext>
                </a:extLst>
              </p:cNvPr>
              <p:cNvSpPr/>
              <p:nvPr/>
            </p:nvSpPr>
            <p:spPr bwMode="auto">
              <a:xfrm>
                <a:off x="4499534" y="2768986"/>
                <a:ext cx="301570" cy="177239"/>
              </a:xfrm>
              <a:custGeom>
                <a:avLst/>
                <a:gdLst>
                  <a:gd name="T0" fmla="*/ 0 w 114"/>
                  <a:gd name="T1" fmla="*/ 67 h 67"/>
                  <a:gd name="T2" fmla="*/ 0 w 114"/>
                  <a:gd name="T3" fmla="*/ 67 h 67"/>
                  <a:gd name="T4" fmla="*/ 114 w 114"/>
                  <a:gd name="T5" fmla="*/ 0 h 67"/>
                  <a:gd name="T6" fmla="*/ 114 w 114"/>
                  <a:gd name="T7" fmla="*/ 0 h 67"/>
                  <a:gd name="T8" fmla="*/ 0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0" y="67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039E99A7-2885-42B2-A4F0-541AADA8CF75}"/>
                  </a:ext>
                </a:extLst>
              </p:cNvPr>
              <p:cNvSpPr/>
              <p:nvPr/>
            </p:nvSpPr>
            <p:spPr bwMode="auto">
              <a:xfrm>
                <a:off x="4499534" y="2774277"/>
                <a:ext cx="301570" cy="182530"/>
              </a:xfrm>
              <a:custGeom>
                <a:avLst/>
                <a:gdLst>
                  <a:gd name="T0" fmla="*/ 0 w 114"/>
                  <a:gd name="T1" fmla="*/ 69 h 69"/>
                  <a:gd name="T2" fmla="*/ 0 w 114"/>
                  <a:gd name="T3" fmla="*/ 67 h 69"/>
                  <a:gd name="T4" fmla="*/ 114 w 114"/>
                  <a:gd name="T5" fmla="*/ 0 h 69"/>
                  <a:gd name="T6" fmla="*/ 114 w 114"/>
                  <a:gd name="T7" fmla="*/ 2 h 69"/>
                  <a:gd name="T8" fmla="*/ 0 w 114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9">
                    <a:moveTo>
                      <a:pt x="0" y="69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B97CBD3B-2E1E-4158-AD39-0FDBAF13FD48}"/>
                  </a:ext>
                </a:extLst>
              </p:cNvPr>
              <p:cNvSpPr/>
              <p:nvPr/>
            </p:nvSpPr>
            <p:spPr bwMode="auto">
              <a:xfrm>
                <a:off x="4499534" y="2784859"/>
                <a:ext cx="301570" cy="177239"/>
              </a:xfrm>
              <a:custGeom>
                <a:avLst/>
                <a:gdLst>
                  <a:gd name="T0" fmla="*/ 0 w 114"/>
                  <a:gd name="T1" fmla="*/ 67 h 67"/>
                  <a:gd name="T2" fmla="*/ 0 w 114"/>
                  <a:gd name="T3" fmla="*/ 67 h 67"/>
                  <a:gd name="T4" fmla="*/ 114 w 114"/>
                  <a:gd name="T5" fmla="*/ 0 h 67"/>
                  <a:gd name="T6" fmla="*/ 114 w 114"/>
                  <a:gd name="T7" fmla="*/ 2 h 67"/>
                  <a:gd name="T8" fmla="*/ 0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0" y="67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48EBEB08-B324-443E-B1D4-FB972DEEB2BD}"/>
                  </a:ext>
                </a:extLst>
              </p:cNvPr>
              <p:cNvSpPr/>
              <p:nvPr/>
            </p:nvSpPr>
            <p:spPr bwMode="auto">
              <a:xfrm>
                <a:off x="4499534" y="2795440"/>
                <a:ext cx="301570" cy="177239"/>
              </a:xfrm>
              <a:custGeom>
                <a:avLst/>
                <a:gdLst>
                  <a:gd name="T0" fmla="*/ 0 w 114"/>
                  <a:gd name="T1" fmla="*/ 67 h 67"/>
                  <a:gd name="T2" fmla="*/ 0 w 114"/>
                  <a:gd name="T3" fmla="*/ 67 h 67"/>
                  <a:gd name="T4" fmla="*/ 114 w 114"/>
                  <a:gd name="T5" fmla="*/ 0 h 67"/>
                  <a:gd name="T6" fmla="*/ 114 w 114"/>
                  <a:gd name="T7" fmla="*/ 0 h 67"/>
                  <a:gd name="T8" fmla="*/ 0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0" y="67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7912ED71-4955-41C3-ACE2-FAF6ABCD0C6A}"/>
                  </a:ext>
                </a:extLst>
              </p:cNvPr>
              <p:cNvSpPr/>
              <p:nvPr/>
            </p:nvSpPr>
            <p:spPr bwMode="auto">
              <a:xfrm>
                <a:off x="4499534" y="2808666"/>
                <a:ext cx="301570" cy="174593"/>
              </a:xfrm>
              <a:custGeom>
                <a:avLst/>
                <a:gdLst>
                  <a:gd name="T0" fmla="*/ 0 w 114"/>
                  <a:gd name="T1" fmla="*/ 66 h 66"/>
                  <a:gd name="T2" fmla="*/ 0 w 114"/>
                  <a:gd name="T3" fmla="*/ 66 h 66"/>
                  <a:gd name="T4" fmla="*/ 114 w 114"/>
                  <a:gd name="T5" fmla="*/ 0 h 66"/>
                  <a:gd name="T6" fmla="*/ 114 w 114"/>
                  <a:gd name="T7" fmla="*/ 0 h 66"/>
                  <a:gd name="T8" fmla="*/ 0 w 114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6">
                    <a:moveTo>
                      <a:pt x="0" y="66"/>
                    </a:moveTo>
                    <a:lnTo>
                      <a:pt x="0" y="66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8FF49761-F9AB-444D-978F-B7D25560FBE8}"/>
                  </a:ext>
                </a:extLst>
              </p:cNvPr>
              <p:cNvSpPr/>
              <p:nvPr/>
            </p:nvSpPr>
            <p:spPr bwMode="auto">
              <a:xfrm>
                <a:off x="4481015" y="2713433"/>
                <a:ext cx="351832" cy="320088"/>
              </a:xfrm>
              <a:custGeom>
                <a:avLst/>
                <a:gdLst>
                  <a:gd name="T0" fmla="*/ 64 w 64"/>
                  <a:gd name="T1" fmla="*/ 0 h 58"/>
                  <a:gd name="T2" fmla="*/ 10 w 64"/>
                  <a:gd name="T3" fmla="*/ 31 h 58"/>
                  <a:gd name="T4" fmla="*/ 0 w 64"/>
                  <a:gd name="T5" fmla="*/ 49 h 58"/>
                  <a:gd name="T6" fmla="*/ 10 w 64"/>
                  <a:gd name="T7" fmla="*/ 54 h 58"/>
                  <a:gd name="T8" fmla="*/ 64 w 64"/>
                  <a:gd name="T9" fmla="*/ 23 h 58"/>
                  <a:gd name="T10" fmla="*/ 64 w 64"/>
                  <a:gd name="T11" fmla="*/ 19 h 58"/>
                  <a:gd name="T12" fmla="*/ 10 w 64"/>
                  <a:gd name="T13" fmla="*/ 51 h 58"/>
                  <a:gd name="T14" fmla="*/ 3 w 64"/>
                  <a:gd name="T15" fmla="*/ 47 h 58"/>
                  <a:gd name="T16" fmla="*/ 10 w 64"/>
                  <a:gd name="T17" fmla="*/ 35 h 58"/>
                  <a:gd name="T18" fmla="*/ 64 w 64"/>
                  <a:gd name="T19" fmla="*/ 4 h 58"/>
                  <a:gd name="T20" fmla="*/ 64 w 64"/>
                  <a:gd name="T2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8">
                    <a:moveTo>
                      <a:pt x="64" y="0"/>
                    </a:moveTo>
                    <a:cubicBezTo>
                      <a:pt x="10" y="31"/>
                      <a:pt x="10" y="31"/>
                      <a:pt x="10" y="31"/>
                    </a:cubicBezTo>
                    <a:cubicBezTo>
                      <a:pt x="5" y="35"/>
                      <a:pt x="0" y="42"/>
                      <a:pt x="0" y="49"/>
                    </a:cubicBezTo>
                    <a:cubicBezTo>
                      <a:pt x="0" y="55"/>
                      <a:pt x="5" y="58"/>
                      <a:pt x="10" y="54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10" y="51"/>
                      <a:pt x="10" y="51"/>
                      <a:pt x="10" y="51"/>
                    </a:cubicBezTo>
                    <a:cubicBezTo>
                      <a:pt x="6" y="53"/>
                      <a:pt x="3" y="51"/>
                      <a:pt x="3" y="47"/>
                    </a:cubicBezTo>
                    <a:cubicBezTo>
                      <a:pt x="3" y="42"/>
                      <a:pt x="6" y="37"/>
                      <a:pt x="10" y="35"/>
                    </a:cubicBezTo>
                    <a:cubicBezTo>
                      <a:pt x="64" y="4"/>
                      <a:pt x="64" y="4"/>
                      <a:pt x="64" y="4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7D5C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607E03FB-D166-4E3E-8B6A-39E31B27BD78}"/>
                  </a:ext>
                </a:extLst>
              </p:cNvPr>
              <p:cNvSpPr/>
              <p:nvPr/>
            </p:nvSpPr>
            <p:spPr bwMode="auto">
              <a:xfrm>
                <a:off x="4102732" y="2713433"/>
                <a:ext cx="351832" cy="264535"/>
              </a:xfrm>
              <a:custGeom>
                <a:avLst/>
                <a:gdLst>
                  <a:gd name="T0" fmla="*/ 62 w 64"/>
                  <a:gd name="T1" fmla="*/ 45 h 48"/>
                  <a:gd name="T2" fmla="*/ 62 w 64"/>
                  <a:gd name="T3" fmla="*/ 43 h 48"/>
                  <a:gd name="T4" fmla="*/ 64 w 64"/>
                  <a:gd name="T5" fmla="*/ 36 h 48"/>
                  <a:gd name="T6" fmla="*/ 3 w 64"/>
                  <a:gd name="T7" fmla="*/ 0 h 48"/>
                  <a:gd name="T8" fmla="*/ 0 w 64"/>
                  <a:gd name="T9" fmla="*/ 9 h 48"/>
                  <a:gd name="T10" fmla="*/ 1 w 64"/>
                  <a:gd name="T11" fmla="*/ 12 h 48"/>
                  <a:gd name="T12" fmla="*/ 63 w 64"/>
                  <a:gd name="T13" fmla="*/ 48 h 48"/>
                  <a:gd name="T14" fmla="*/ 62 w 64"/>
                  <a:gd name="T15" fmla="*/ 4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48">
                    <a:moveTo>
                      <a:pt x="62" y="45"/>
                    </a:moveTo>
                    <a:cubicBezTo>
                      <a:pt x="62" y="44"/>
                      <a:pt x="62" y="44"/>
                      <a:pt x="62" y="43"/>
                    </a:cubicBezTo>
                    <a:cubicBezTo>
                      <a:pt x="62" y="41"/>
                      <a:pt x="63" y="38"/>
                      <a:pt x="64" y="36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3"/>
                      <a:pt x="0" y="6"/>
                      <a:pt x="0" y="9"/>
                    </a:cubicBezTo>
                    <a:cubicBezTo>
                      <a:pt x="0" y="10"/>
                      <a:pt x="1" y="11"/>
                      <a:pt x="1" y="12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2" y="47"/>
                      <a:pt x="62" y="46"/>
                      <a:pt x="62" y="45"/>
                    </a:cubicBez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697A4CC-5C31-4B2D-A769-82B04D63C2CB}"/>
                  </a:ext>
                </a:extLst>
              </p:cNvPr>
              <p:cNvSpPr/>
              <p:nvPr/>
            </p:nvSpPr>
            <p:spPr bwMode="auto">
              <a:xfrm>
                <a:off x="4190027" y="2528259"/>
                <a:ext cx="550232" cy="317442"/>
              </a:xfrm>
              <a:custGeom>
                <a:avLst/>
                <a:gdLst>
                  <a:gd name="T0" fmla="*/ 119 w 208"/>
                  <a:gd name="T1" fmla="*/ 120 h 120"/>
                  <a:gd name="T2" fmla="*/ 208 w 208"/>
                  <a:gd name="T3" fmla="*/ 68 h 120"/>
                  <a:gd name="T4" fmla="*/ 90 w 208"/>
                  <a:gd name="T5" fmla="*/ 0 h 120"/>
                  <a:gd name="T6" fmla="*/ 0 w 208"/>
                  <a:gd name="T7" fmla="*/ 52 h 120"/>
                  <a:gd name="T8" fmla="*/ 119 w 208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20">
                    <a:moveTo>
                      <a:pt x="119" y="120"/>
                    </a:moveTo>
                    <a:lnTo>
                      <a:pt x="208" y="68"/>
                    </a:lnTo>
                    <a:lnTo>
                      <a:pt x="90" y="0"/>
                    </a:lnTo>
                    <a:lnTo>
                      <a:pt x="0" y="52"/>
                    </a:lnTo>
                    <a:lnTo>
                      <a:pt x="119" y="120"/>
                    </a:lnTo>
                    <a:close/>
                  </a:path>
                </a:pathLst>
              </a:custGeom>
              <a:solidFill>
                <a:srgbClr val="7D5C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514A6E86-AD66-4B64-A23E-E388ED6F7775}"/>
                  </a:ext>
                </a:extLst>
              </p:cNvPr>
              <p:cNvSpPr/>
              <p:nvPr/>
            </p:nvSpPr>
            <p:spPr bwMode="auto">
              <a:xfrm>
                <a:off x="4129185" y="2438317"/>
                <a:ext cx="703662" cy="423255"/>
              </a:xfrm>
              <a:custGeom>
                <a:avLst/>
                <a:gdLst>
                  <a:gd name="T0" fmla="*/ 156 w 266"/>
                  <a:gd name="T1" fmla="*/ 152 h 160"/>
                  <a:gd name="T2" fmla="*/ 158 w 266"/>
                  <a:gd name="T3" fmla="*/ 154 h 160"/>
                  <a:gd name="T4" fmla="*/ 148 w 266"/>
                  <a:gd name="T5" fmla="*/ 160 h 160"/>
                  <a:gd name="T6" fmla="*/ 140 w 266"/>
                  <a:gd name="T7" fmla="*/ 154 h 160"/>
                  <a:gd name="T8" fmla="*/ 137 w 266"/>
                  <a:gd name="T9" fmla="*/ 146 h 160"/>
                  <a:gd name="T10" fmla="*/ 137 w 266"/>
                  <a:gd name="T11" fmla="*/ 146 h 160"/>
                  <a:gd name="T12" fmla="*/ 0 w 266"/>
                  <a:gd name="T13" fmla="*/ 65 h 160"/>
                  <a:gd name="T14" fmla="*/ 113 w 266"/>
                  <a:gd name="T15" fmla="*/ 0 h 160"/>
                  <a:gd name="T16" fmla="*/ 266 w 266"/>
                  <a:gd name="T17" fmla="*/ 90 h 160"/>
                  <a:gd name="T18" fmla="*/ 156 w 266"/>
                  <a:gd name="T19" fmla="*/ 152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6" h="160">
                    <a:moveTo>
                      <a:pt x="156" y="152"/>
                    </a:moveTo>
                    <a:lnTo>
                      <a:pt x="158" y="154"/>
                    </a:lnTo>
                    <a:lnTo>
                      <a:pt x="148" y="160"/>
                    </a:lnTo>
                    <a:lnTo>
                      <a:pt x="140" y="154"/>
                    </a:lnTo>
                    <a:lnTo>
                      <a:pt x="137" y="146"/>
                    </a:lnTo>
                    <a:lnTo>
                      <a:pt x="137" y="146"/>
                    </a:lnTo>
                    <a:lnTo>
                      <a:pt x="0" y="65"/>
                    </a:lnTo>
                    <a:lnTo>
                      <a:pt x="113" y="0"/>
                    </a:lnTo>
                    <a:lnTo>
                      <a:pt x="266" y="90"/>
                    </a:lnTo>
                    <a:lnTo>
                      <a:pt x="156" y="152"/>
                    </a:lnTo>
                    <a:close/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A87B1A0A-ACDA-47D1-9604-6B7361DBABB7}"/>
                  </a:ext>
                </a:extLst>
              </p:cNvPr>
              <p:cNvSpPr/>
              <p:nvPr/>
            </p:nvSpPr>
            <p:spPr bwMode="auto">
              <a:xfrm>
                <a:off x="4076278" y="2335150"/>
                <a:ext cx="756569" cy="539651"/>
              </a:xfrm>
              <a:custGeom>
                <a:avLst/>
                <a:gdLst>
                  <a:gd name="T0" fmla="*/ 84 w 138"/>
                  <a:gd name="T1" fmla="*/ 74 h 98"/>
                  <a:gd name="T2" fmla="*/ 78 w 138"/>
                  <a:gd name="T3" fmla="*/ 80 h 98"/>
                  <a:gd name="T4" fmla="*/ 74 w 138"/>
                  <a:gd name="T5" fmla="*/ 90 h 98"/>
                  <a:gd name="T6" fmla="*/ 74 w 138"/>
                  <a:gd name="T7" fmla="*/ 91 h 98"/>
                  <a:gd name="T8" fmla="*/ 77 w 138"/>
                  <a:gd name="T9" fmla="*/ 98 h 98"/>
                  <a:gd name="T10" fmla="*/ 3 w 138"/>
                  <a:gd name="T11" fmla="*/ 55 h 98"/>
                  <a:gd name="T12" fmla="*/ 0 w 138"/>
                  <a:gd name="T13" fmla="*/ 48 h 98"/>
                  <a:gd name="T14" fmla="*/ 8 w 138"/>
                  <a:gd name="T15" fmla="*/ 32 h 98"/>
                  <a:gd name="T16" fmla="*/ 10 w 138"/>
                  <a:gd name="T17" fmla="*/ 31 h 98"/>
                  <a:gd name="T18" fmla="*/ 64 w 138"/>
                  <a:gd name="T19" fmla="*/ 0 h 98"/>
                  <a:gd name="T20" fmla="*/ 138 w 138"/>
                  <a:gd name="T21" fmla="*/ 43 h 98"/>
                  <a:gd name="T22" fmla="*/ 84 w 138"/>
                  <a:gd name="T23" fmla="*/ 7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8" h="98">
                    <a:moveTo>
                      <a:pt x="84" y="74"/>
                    </a:moveTo>
                    <a:cubicBezTo>
                      <a:pt x="81" y="75"/>
                      <a:pt x="79" y="77"/>
                      <a:pt x="78" y="80"/>
                    </a:cubicBezTo>
                    <a:cubicBezTo>
                      <a:pt x="76" y="83"/>
                      <a:pt x="75" y="86"/>
                      <a:pt x="74" y="90"/>
                    </a:cubicBezTo>
                    <a:cubicBezTo>
                      <a:pt x="74" y="90"/>
                      <a:pt x="74" y="91"/>
                      <a:pt x="74" y="91"/>
                    </a:cubicBezTo>
                    <a:cubicBezTo>
                      <a:pt x="74" y="94"/>
                      <a:pt x="75" y="97"/>
                      <a:pt x="77" y="98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4"/>
                      <a:pt x="0" y="52"/>
                      <a:pt x="0" y="48"/>
                    </a:cubicBezTo>
                    <a:cubicBezTo>
                      <a:pt x="0" y="42"/>
                      <a:pt x="4" y="36"/>
                      <a:pt x="8" y="32"/>
                    </a:cubicBezTo>
                    <a:cubicBezTo>
                      <a:pt x="9" y="32"/>
                      <a:pt x="9" y="32"/>
                      <a:pt x="10" y="31"/>
                    </a:cubicBezTo>
                    <a:cubicBezTo>
                      <a:pt x="64" y="0"/>
                      <a:pt x="64" y="0"/>
                      <a:pt x="64" y="0"/>
                    </a:cubicBezTo>
                    <a:cubicBezTo>
                      <a:pt x="138" y="43"/>
                      <a:pt x="138" y="43"/>
                      <a:pt x="138" y="43"/>
                    </a:cubicBezTo>
                    <a:lnTo>
                      <a:pt x="84" y="74"/>
                    </a:ln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171A0365-0B14-4506-8B8A-7ECF8AECCE78}"/>
                  </a:ext>
                </a:extLst>
              </p:cNvPr>
              <p:cNvSpPr/>
              <p:nvPr/>
            </p:nvSpPr>
            <p:spPr bwMode="auto">
              <a:xfrm>
                <a:off x="4470434" y="2604975"/>
                <a:ext cx="330669" cy="235437"/>
              </a:xfrm>
              <a:custGeom>
                <a:avLst/>
                <a:gdLst>
                  <a:gd name="T0" fmla="*/ 60 w 60"/>
                  <a:gd name="T1" fmla="*/ 12 h 43"/>
                  <a:gd name="T2" fmla="*/ 6 w 60"/>
                  <a:gd name="T3" fmla="*/ 43 h 43"/>
                  <a:gd name="T4" fmla="*/ 13 w 60"/>
                  <a:gd name="T5" fmla="*/ 27 h 43"/>
                  <a:gd name="T6" fmla="*/ 60 w 60"/>
                  <a:gd name="T7" fmla="*/ 0 h 43"/>
                  <a:gd name="T8" fmla="*/ 60 w 60"/>
                  <a:gd name="T9" fmla="*/ 12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43">
                    <a:moveTo>
                      <a:pt x="60" y="12"/>
                    </a:moveTo>
                    <a:cubicBezTo>
                      <a:pt x="6" y="43"/>
                      <a:pt x="6" y="43"/>
                      <a:pt x="6" y="43"/>
                    </a:cubicBezTo>
                    <a:cubicBezTo>
                      <a:pt x="6" y="43"/>
                      <a:pt x="0" y="35"/>
                      <a:pt x="13" y="27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60" y="12"/>
                    </a:lnTo>
                    <a:close/>
                  </a:path>
                </a:pathLst>
              </a:custGeom>
              <a:solidFill>
                <a:srgbClr val="FFF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A5AC506C-7D67-45BF-A6A9-FC660A949994}"/>
                  </a:ext>
                </a:extLst>
              </p:cNvPr>
              <p:cNvSpPr/>
              <p:nvPr/>
            </p:nvSpPr>
            <p:spPr bwMode="auto">
              <a:xfrm>
                <a:off x="4499534" y="2610266"/>
                <a:ext cx="301570" cy="174593"/>
              </a:xfrm>
              <a:custGeom>
                <a:avLst/>
                <a:gdLst>
                  <a:gd name="T0" fmla="*/ 0 w 114"/>
                  <a:gd name="T1" fmla="*/ 66 h 66"/>
                  <a:gd name="T2" fmla="*/ 0 w 114"/>
                  <a:gd name="T3" fmla="*/ 66 h 66"/>
                  <a:gd name="T4" fmla="*/ 114 w 114"/>
                  <a:gd name="T5" fmla="*/ 0 h 66"/>
                  <a:gd name="T6" fmla="*/ 114 w 114"/>
                  <a:gd name="T7" fmla="*/ 2 h 66"/>
                  <a:gd name="T8" fmla="*/ 0 w 114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6">
                    <a:moveTo>
                      <a:pt x="0" y="66"/>
                    </a:moveTo>
                    <a:lnTo>
                      <a:pt x="0" y="66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AFF238F9-F1BB-4DFC-BECC-BD28663BBB46}"/>
                  </a:ext>
                </a:extLst>
              </p:cNvPr>
              <p:cNvSpPr/>
              <p:nvPr/>
            </p:nvSpPr>
            <p:spPr bwMode="auto">
              <a:xfrm>
                <a:off x="4499534" y="2620847"/>
                <a:ext cx="301570" cy="174593"/>
              </a:xfrm>
              <a:custGeom>
                <a:avLst/>
                <a:gdLst>
                  <a:gd name="T0" fmla="*/ 0 w 114"/>
                  <a:gd name="T1" fmla="*/ 66 h 66"/>
                  <a:gd name="T2" fmla="*/ 0 w 114"/>
                  <a:gd name="T3" fmla="*/ 66 h 66"/>
                  <a:gd name="T4" fmla="*/ 114 w 114"/>
                  <a:gd name="T5" fmla="*/ 0 h 66"/>
                  <a:gd name="T6" fmla="*/ 114 w 114"/>
                  <a:gd name="T7" fmla="*/ 0 h 66"/>
                  <a:gd name="T8" fmla="*/ 0 w 114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6">
                    <a:moveTo>
                      <a:pt x="0" y="66"/>
                    </a:moveTo>
                    <a:lnTo>
                      <a:pt x="0" y="66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2DE135B4-B1E0-40F8-9044-AF199C78D34B}"/>
                  </a:ext>
                </a:extLst>
              </p:cNvPr>
              <p:cNvSpPr/>
              <p:nvPr/>
            </p:nvSpPr>
            <p:spPr bwMode="auto">
              <a:xfrm>
                <a:off x="4499534" y="2631428"/>
                <a:ext cx="301570" cy="177239"/>
              </a:xfrm>
              <a:custGeom>
                <a:avLst/>
                <a:gdLst>
                  <a:gd name="T0" fmla="*/ 0 w 114"/>
                  <a:gd name="T1" fmla="*/ 67 h 67"/>
                  <a:gd name="T2" fmla="*/ 0 w 114"/>
                  <a:gd name="T3" fmla="*/ 67 h 67"/>
                  <a:gd name="T4" fmla="*/ 114 w 114"/>
                  <a:gd name="T5" fmla="*/ 0 h 67"/>
                  <a:gd name="T6" fmla="*/ 114 w 114"/>
                  <a:gd name="T7" fmla="*/ 0 h 67"/>
                  <a:gd name="T8" fmla="*/ 0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0" y="67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C6D6ED1D-A74D-4101-84DB-C2F0063FFF27}"/>
                  </a:ext>
                </a:extLst>
              </p:cNvPr>
              <p:cNvSpPr/>
              <p:nvPr/>
            </p:nvSpPr>
            <p:spPr bwMode="auto">
              <a:xfrm>
                <a:off x="4499534" y="2642010"/>
                <a:ext cx="301570" cy="177239"/>
              </a:xfrm>
              <a:custGeom>
                <a:avLst/>
                <a:gdLst>
                  <a:gd name="T0" fmla="*/ 0 w 114"/>
                  <a:gd name="T1" fmla="*/ 67 h 67"/>
                  <a:gd name="T2" fmla="*/ 0 w 114"/>
                  <a:gd name="T3" fmla="*/ 67 h 67"/>
                  <a:gd name="T4" fmla="*/ 114 w 114"/>
                  <a:gd name="T5" fmla="*/ 0 h 67"/>
                  <a:gd name="T6" fmla="*/ 114 w 114"/>
                  <a:gd name="T7" fmla="*/ 0 h 67"/>
                  <a:gd name="T8" fmla="*/ 0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0" y="67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0" y="67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909BF710-7658-43BD-B30D-67E597481863}"/>
                  </a:ext>
                </a:extLst>
              </p:cNvPr>
              <p:cNvSpPr/>
              <p:nvPr/>
            </p:nvSpPr>
            <p:spPr bwMode="auto">
              <a:xfrm>
                <a:off x="4499534" y="2647301"/>
                <a:ext cx="301570" cy="182530"/>
              </a:xfrm>
              <a:custGeom>
                <a:avLst/>
                <a:gdLst>
                  <a:gd name="T0" fmla="*/ 0 w 114"/>
                  <a:gd name="T1" fmla="*/ 69 h 69"/>
                  <a:gd name="T2" fmla="*/ 0 w 114"/>
                  <a:gd name="T3" fmla="*/ 67 h 69"/>
                  <a:gd name="T4" fmla="*/ 114 w 114"/>
                  <a:gd name="T5" fmla="*/ 0 h 69"/>
                  <a:gd name="T6" fmla="*/ 114 w 114"/>
                  <a:gd name="T7" fmla="*/ 2 h 69"/>
                  <a:gd name="T8" fmla="*/ 0 w 114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9">
                    <a:moveTo>
                      <a:pt x="0" y="69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2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7501089C-B127-485D-A3E7-39449FB94307}"/>
                  </a:ext>
                </a:extLst>
              </p:cNvPr>
              <p:cNvSpPr/>
              <p:nvPr/>
            </p:nvSpPr>
            <p:spPr bwMode="auto">
              <a:xfrm>
                <a:off x="4499534" y="2657882"/>
                <a:ext cx="301570" cy="182530"/>
              </a:xfrm>
              <a:custGeom>
                <a:avLst/>
                <a:gdLst>
                  <a:gd name="T0" fmla="*/ 0 w 114"/>
                  <a:gd name="T1" fmla="*/ 69 h 69"/>
                  <a:gd name="T2" fmla="*/ 0 w 114"/>
                  <a:gd name="T3" fmla="*/ 67 h 69"/>
                  <a:gd name="T4" fmla="*/ 114 w 114"/>
                  <a:gd name="T5" fmla="*/ 0 h 69"/>
                  <a:gd name="T6" fmla="*/ 114 w 114"/>
                  <a:gd name="T7" fmla="*/ 3 h 69"/>
                  <a:gd name="T8" fmla="*/ 0 w 114"/>
                  <a:gd name="T9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9">
                    <a:moveTo>
                      <a:pt x="0" y="69"/>
                    </a:moveTo>
                    <a:lnTo>
                      <a:pt x="0" y="67"/>
                    </a:lnTo>
                    <a:lnTo>
                      <a:pt x="114" y="0"/>
                    </a:lnTo>
                    <a:lnTo>
                      <a:pt x="114" y="3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BEB95C1C-40DD-478F-8CF0-281C16A982F9}"/>
                  </a:ext>
                </a:extLst>
              </p:cNvPr>
              <p:cNvSpPr/>
              <p:nvPr/>
            </p:nvSpPr>
            <p:spPr bwMode="auto">
              <a:xfrm>
                <a:off x="4481015" y="2570585"/>
                <a:ext cx="351832" cy="314797"/>
              </a:xfrm>
              <a:custGeom>
                <a:avLst/>
                <a:gdLst>
                  <a:gd name="T0" fmla="*/ 64 w 64"/>
                  <a:gd name="T1" fmla="*/ 0 h 57"/>
                  <a:gd name="T2" fmla="*/ 10 w 64"/>
                  <a:gd name="T3" fmla="*/ 31 h 57"/>
                  <a:gd name="T4" fmla="*/ 0 w 64"/>
                  <a:gd name="T5" fmla="*/ 48 h 57"/>
                  <a:gd name="T6" fmla="*/ 10 w 64"/>
                  <a:gd name="T7" fmla="*/ 54 h 57"/>
                  <a:gd name="T8" fmla="*/ 64 w 64"/>
                  <a:gd name="T9" fmla="*/ 23 h 57"/>
                  <a:gd name="T10" fmla="*/ 64 w 64"/>
                  <a:gd name="T11" fmla="*/ 19 h 57"/>
                  <a:gd name="T12" fmla="*/ 10 w 64"/>
                  <a:gd name="T13" fmla="*/ 50 h 57"/>
                  <a:gd name="T14" fmla="*/ 3 w 64"/>
                  <a:gd name="T15" fmla="*/ 46 h 57"/>
                  <a:gd name="T16" fmla="*/ 10 w 64"/>
                  <a:gd name="T17" fmla="*/ 35 h 57"/>
                  <a:gd name="T18" fmla="*/ 64 w 64"/>
                  <a:gd name="T19" fmla="*/ 4 h 57"/>
                  <a:gd name="T20" fmla="*/ 64 w 64"/>
                  <a:gd name="T21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4" h="57">
                    <a:moveTo>
                      <a:pt x="64" y="0"/>
                    </a:moveTo>
                    <a:cubicBezTo>
                      <a:pt x="10" y="31"/>
                      <a:pt x="10" y="31"/>
                      <a:pt x="10" y="31"/>
                    </a:cubicBezTo>
                    <a:cubicBezTo>
                      <a:pt x="5" y="34"/>
                      <a:pt x="0" y="42"/>
                      <a:pt x="0" y="48"/>
                    </a:cubicBezTo>
                    <a:cubicBezTo>
                      <a:pt x="0" y="54"/>
                      <a:pt x="5" y="57"/>
                      <a:pt x="10" y="54"/>
                    </a:cubicBezTo>
                    <a:cubicBezTo>
                      <a:pt x="64" y="23"/>
                      <a:pt x="64" y="23"/>
                      <a:pt x="64" y="23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6" y="52"/>
                      <a:pt x="3" y="50"/>
                      <a:pt x="3" y="46"/>
                    </a:cubicBezTo>
                    <a:cubicBezTo>
                      <a:pt x="3" y="42"/>
                      <a:pt x="6" y="37"/>
                      <a:pt x="10" y="35"/>
                    </a:cubicBezTo>
                    <a:cubicBezTo>
                      <a:pt x="64" y="4"/>
                      <a:pt x="64" y="4"/>
                      <a:pt x="64" y="4"/>
                    </a:cubicBezTo>
                    <a:lnTo>
                      <a:pt x="64" y="0"/>
                    </a:ln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3E346CF9-6583-4296-8118-71D2FF24A6C8}"/>
                  </a:ext>
                </a:extLst>
              </p:cNvPr>
              <p:cNvSpPr/>
              <p:nvPr/>
            </p:nvSpPr>
            <p:spPr bwMode="auto">
              <a:xfrm>
                <a:off x="4102732" y="2570585"/>
                <a:ext cx="351832" cy="259244"/>
              </a:xfrm>
              <a:custGeom>
                <a:avLst/>
                <a:gdLst>
                  <a:gd name="T0" fmla="*/ 62 w 64"/>
                  <a:gd name="T1" fmla="*/ 44 h 47"/>
                  <a:gd name="T2" fmla="*/ 62 w 64"/>
                  <a:gd name="T3" fmla="*/ 43 h 47"/>
                  <a:gd name="T4" fmla="*/ 64 w 64"/>
                  <a:gd name="T5" fmla="*/ 35 h 47"/>
                  <a:gd name="T6" fmla="*/ 3 w 64"/>
                  <a:gd name="T7" fmla="*/ 0 h 47"/>
                  <a:gd name="T8" fmla="*/ 0 w 64"/>
                  <a:gd name="T9" fmla="*/ 9 h 47"/>
                  <a:gd name="T10" fmla="*/ 1 w 64"/>
                  <a:gd name="T11" fmla="*/ 11 h 47"/>
                  <a:gd name="T12" fmla="*/ 63 w 64"/>
                  <a:gd name="T13" fmla="*/ 47 h 47"/>
                  <a:gd name="T14" fmla="*/ 62 w 64"/>
                  <a:gd name="T15" fmla="*/ 44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4" h="47">
                    <a:moveTo>
                      <a:pt x="62" y="44"/>
                    </a:moveTo>
                    <a:cubicBezTo>
                      <a:pt x="62" y="44"/>
                      <a:pt x="62" y="43"/>
                      <a:pt x="62" y="43"/>
                    </a:cubicBezTo>
                    <a:cubicBezTo>
                      <a:pt x="62" y="40"/>
                      <a:pt x="63" y="38"/>
                      <a:pt x="64" y="35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3"/>
                      <a:pt x="0" y="6"/>
                      <a:pt x="0" y="9"/>
                    </a:cubicBezTo>
                    <a:cubicBezTo>
                      <a:pt x="0" y="10"/>
                      <a:pt x="1" y="11"/>
                      <a:pt x="1" y="11"/>
                    </a:cubicBezTo>
                    <a:cubicBezTo>
                      <a:pt x="63" y="47"/>
                      <a:pt x="63" y="47"/>
                      <a:pt x="63" y="47"/>
                    </a:cubicBezTo>
                    <a:cubicBezTo>
                      <a:pt x="62" y="46"/>
                      <a:pt x="62" y="45"/>
                      <a:pt x="62" y="44"/>
                    </a:cubicBez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C9B601BE-A559-497D-8DEA-7077815440B9}"/>
                  </a:ext>
                </a:extLst>
              </p:cNvPr>
              <p:cNvSpPr/>
              <p:nvPr/>
            </p:nvSpPr>
            <p:spPr bwMode="auto">
              <a:xfrm>
                <a:off x="4190027" y="2385410"/>
                <a:ext cx="550232" cy="312151"/>
              </a:xfrm>
              <a:custGeom>
                <a:avLst/>
                <a:gdLst>
                  <a:gd name="T0" fmla="*/ 119 w 208"/>
                  <a:gd name="T1" fmla="*/ 118 h 118"/>
                  <a:gd name="T2" fmla="*/ 208 w 208"/>
                  <a:gd name="T3" fmla="*/ 68 h 118"/>
                  <a:gd name="T4" fmla="*/ 90 w 208"/>
                  <a:gd name="T5" fmla="*/ 0 h 118"/>
                  <a:gd name="T6" fmla="*/ 0 w 208"/>
                  <a:gd name="T7" fmla="*/ 49 h 118"/>
                  <a:gd name="T8" fmla="*/ 119 w 208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8" h="118">
                    <a:moveTo>
                      <a:pt x="119" y="118"/>
                    </a:moveTo>
                    <a:lnTo>
                      <a:pt x="208" y="68"/>
                    </a:lnTo>
                    <a:lnTo>
                      <a:pt x="90" y="0"/>
                    </a:lnTo>
                    <a:lnTo>
                      <a:pt x="0" y="49"/>
                    </a:lnTo>
                    <a:lnTo>
                      <a:pt x="119" y="118"/>
                    </a:ln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8105036E-C23C-41C9-B7D6-D02B9E9A1E18}"/>
                  </a:ext>
                </a:extLst>
              </p:cNvPr>
              <p:cNvSpPr/>
              <p:nvPr/>
            </p:nvSpPr>
            <p:spPr bwMode="auto">
              <a:xfrm>
                <a:off x="4317004" y="1962155"/>
                <a:ext cx="320088" cy="637529"/>
              </a:xfrm>
              <a:custGeom>
                <a:avLst/>
                <a:gdLst>
                  <a:gd name="T0" fmla="*/ 110 w 121"/>
                  <a:gd name="T1" fmla="*/ 62 h 241"/>
                  <a:gd name="T2" fmla="*/ 110 w 121"/>
                  <a:gd name="T3" fmla="*/ 60 h 241"/>
                  <a:gd name="T4" fmla="*/ 121 w 121"/>
                  <a:gd name="T5" fmla="*/ 66 h 241"/>
                  <a:gd name="T6" fmla="*/ 118 w 121"/>
                  <a:gd name="T7" fmla="*/ 76 h 241"/>
                  <a:gd name="T8" fmla="*/ 112 w 121"/>
                  <a:gd name="T9" fmla="*/ 83 h 241"/>
                  <a:gd name="T10" fmla="*/ 112 w 121"/>
                  <a:gd name="T11" fmla="*/ 83 h 241"/>
                  <a:gd name="T12" fmla="*/ 112 w 121"/>
                  <a:gd name="T13" fmla="*/ 241 h 241"/>
                  <a:gd name="T14" fmla="*/ 0 w 121"/>
                  <a:gd name="T15" fmla="*/ 176 h 241"/>
                  <a:gd name="T16" fmla="*/ 0 w 121"/>
                  <a:gd name="T17" fmla="*/ 0 h 241"/>
                  <a:gd name="T18" fmla="*/ 110 w 121"/>
                  <a:gd name="T19" fmla="*/ 62 h 2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1" h="241">
                    <a:moveTo>
                      <a:pt x="110" y="62"/>
                    </a:moveTo>
                    <a:lnTo>
                      <a:pt x="110" y="60"/>
                    </a:lnTo>
                    <a:lnTo>
                      <a:pt x="121" y="66"/>
                    </a:lnTo>
                    <a:lnTo>
                      <a:pt x="118" y="76"/>
                    </a:lnTo>
                    <a:lnTo>
                      <a:pt x="112" y="83"/>
                    </a:lnTo>
                    <a:lnTo>
                      <a:pt x="112" y="83"/>
                    </a:lnTo>
                    <a:lnTo>
                      <a:pt x="112" y="241"/>
                    </a:lnTo>
                    <a:lnTo>
                      <a:pt x="0" y="176"/>
                    </a:lnTo>
                    <a:lnTo>
                      <a:pt x="0" y="0"/>
                    </a:lnTo>
                    <a:lnTo>
                      <a:pt x="110" y="62"/>
                    </a:lnTo>
                    <a:close/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F925183A-940B-4B6C-B704-006BE7704EB5}"/>
                  </a:ext>
                </a:extLst>
              </p:cNvPr>
              <p:cNvSpPr/>
              <p:nvPr/>
            </p:nvSpPr>
            <p:spPr bwMode="auto">
              <a:xfrm>
                <a:off x="4224418" y="2009771"/>
                <a:ext cx="428546" cy="661337"/>
              </a:xfrm>
              <a:custGeom>
                <a:avLst/>
                <a:gdLst>
                  <a:gd name="T0" fmla="*/ 54 w 78"/>
                  <a:gd name="T1" fmla="*/ 31 h 120"/>
                  <a:gd name="T2" fmla="*/ 62 w 78"/>
                  <a:gd name="T3" fmla="*/ 34 h 120"/>
                  <a:gd name="T4" fmla="*/ 73 w 78"/>
                  <a:gd name="T5" fmla="*/ 32 h 120"/>
                  <a:gd name="T6" fmla="*/ 74 w 78"/>
                  <a:gd name="T7" fmla="*/ 31 h 120"/>
                  <a:gd name="T8" fmla="*/ 78 w 78"/>
                  <a:gd name="T9" fmla="*/ 26 h 120"/>
                  <a:gd name="T10" fmla="*/ 78 w 78"/>
                  <a:gd name="T11" fmla="*/ 111 h 120"/>
                  <a:gd name="T12" fmla="*/ 74 w 78"/>
                  <a:gd name="T13" fmla="*/ 117 h 120"/>
                  <a:gd name="T14" fmla="*/ 56 w 78"/>
                  <a:gd name="T15" fmla="*/ 118 h 120"/>
                  <a:gd name="T16" fmla="*/ 54 w 78"/>
                  <a:gd name="T17" fmla="*/ 117 h 120"/>
                  <a:gd name="T18" fmla="*/ 0 w 78"/>
                  <a:gd name="T19" fmla="*/ 86 h 120"/>
                  <a:gd name="T20" fmla="*/ 0 w 78"/>
                  <a:gd name="T21" fmla="*/ 0 h 120"/>
                  <a:gd name="T22" fmla="*/ 54 w 78"/>
                  <a:gd name="T23" fmla="*/ 31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120">
                    <a:moveTo>
                      <a:pt x="54" y="31"/>
                    </a:moveTo>
                    <a:cubicBezTo>
                      <a:pt x="57" y="33"/>
                      <a:pt x="59" y="34"/>
                      <a:pt x="62" y="34"/>
                    </a:cubicBezTo>
                    <a:cubicBezTo>
                      <a:pt x="66" y="34"/>
                      <a:pt x="70" y="33"/>
                      <a:pt x="73" y="32"/>
                    </a:cubicBezTo>
                    <a:cubicBezTo>
                      <a:pt x="73" y="32"/>
                      <a:pt x="73" y="32"/>
                      <a:pt x="74" y="31"/>
                    </a:cubicBezTo>
                    <a:cubicBezTo>
                      <a:pt x="77" y="30"/>
                      <a:pt x="78" y="28"/>
                      <a:pt x="78" y="26"/>
                    </a:cubicBezTo>
                    <a:cubicBezTo>
                      <a:pt x="78" y="111"/>
                      <a:pt x="78" y="111"/>
                      <a:pt x="78" y="111"/>
                    </a:cubicBezTo>
                    <a:cubicBezTo>
                      <a:pt x="78" y="113"/>
                      <a:pt x="77" y="115"/>
                      <a:pt x="74" y="117"/>
                    </a:cubicBezTo>
                    <a:cubicBezTo>
                      <a:pt x="69" y="120"/>
                      <a:pt x="61" y="120"/>
                      <a:pt x="56" y="118"/>
                    </a:cubicBezTo>
                    <a:cubicBezTo>
                      <a:pt x="55" y="118"/>
                      <a:pt x="55" y="117"/>
                      <a:pt x="54" y="117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54" y="31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6A5ABF3A-32CD-4355-8B50-B2A65C237FAE}"/>
                  </a:ext>
                </a:extLst>
              </p:cNvPr>
              <p:cNvSpPr/>
              <p:nvPr/>
            </p:nvSpPr>
            <p:spPr bwMode="auto">
              <a:xfrm>
                <a:off x="4266743" y="1988608"/>
                <a:ext cx="357123" cy="224855"/>
              </a:xfrm>
              <a:custGeom>
                <a:avLst/>
                <a:gdLst>
                  <a:gd name="T0" fmla="*/ 11 w 65"/>
                  <a:gd name="T1" fmla="*/ 0 h 41"/>
                  <a:gd name="T2" fmla="*/ 65 w 65"/>
                  <a:gd name="T3" fmla="*/ 32 h 41"/>
                  <a:gd name="T4" fmla="*/ 47 w 65"/>
                  <a:gd name="T5" fmla="*/ 33 h 41"/>
                  <a:gd name="T6" fmla="*/ 0 w 65"/>
                  <a:gd name="T7" fmla="*/ 6 h 41"/>
                  <a:gd name="T8" fmla="*/ 11 w 65"/>
                  <a:gd name="T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" h="41">
                    <a:moveTo>
                      <a:pt x="11" y="0"/>
                    </a:moveTo>
                    <a:cubicBezTo>
                      <a:pt x="65" y="32"/>
                      <a:pt x="65" y="32"/>
                      <a:pt x="65" y="32"/>
                    </a:cubicBezTo>
                    <a:cubicBezTo>
                      <a:pt x="65" y="32"/>
                      <a:pt x="61" y="41"/>
                      <a:pt x="47" y="33"/>
                    </a:cubicBezTo>
                    <a:cubicBezTo>
                      <a:pt x="0" y="6"/>
                      <a:pt x="0" y="6"/>
                      <a:pt x="0" y="6"/>
                    </a:cubicBez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2C5A9CFD-9C75-465A-A085-77A6A4FAF150}"/>
                  </a:ext>
                </a:extLst>
              </p:cNvPr>
              <p:cNvSpPr/>
              <p:nvPr/>
            </p:nvSpPr>
            <p:spPr bwMode="auto">
              <a:xfrm>
                <a:off x="4272034" y="2015062"/>
                <a:ext cx="309506" cy="182530"/>
              </a:xfrm>
              <a:custGeom>
                <a:avLst/>
                <a:gdLst>
                  <a:gd name="T0" fmla="*/ 117 w 117"/>
                  <a:gd name="T1" fmla="*/ 67 h 69"/>
                  <a:gd name="T2" fmla="*/ 117 w 117"/>
                  <a:gd name="T3" fmla="*/ 69 h 69"/>
                  <a:gd name="T4" fmla="*/ 0 w 117"/>
                  <a:gd name="T5" fmla="*/ 2 h 69"/>
                  <a:gd name="T6" fmla="*/ 2 w 117"/>
                  <a:gd name="T7" fmla="*/ 0 h 69"/>
                  <a:gd name="T8" fmla="*/ 117 w 117"/>
                  <a:gd name="T9" fmla="*/ 6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69">
                    <a:moveTo>
                      <a:pt x="117" y="67"/>
                    </a:moveTo>
                    <a:lnTo>
                      <a:pt x="117" y="69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117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54AFC3A9-B954-45CD-9B76-BEA7BCC88C03}"/>
                  </a:ext>
                </a:extLst>
              </p:cNvPr>
              <p:cNvSpPr/>
              <p:nvPr/>
            </p:nvSpPr>
            <p:spPr bwMode="auto">
              <a:xfrm>
                <a:off x="4285260" y="2009771"/>
                <a:ext cx="306860" cy="182530"/>
              </a:xfrm>
              <a:custGeom>
                <a:avLst/>
                <a:gdLst>
                  <a:gd name="T0" fmla="*/ 116 w 116"/>
                  <a:gd name="T1" fmla="*/ 67 h 69"/>
                  <a:gd name="T2" fmla="*/ 114 w 116"/>
                  <a:gd name="T3" fmla="*/ 69 h 69"/>
                  <a:gd name="T4" fmla="*/ 0 w 116"/>
                  <a:gd name="T5" fmla="*/ 2 h 69"/>
                  <a:gd name="T6" fmla="*/ 0 w 116"/>
                  <a:gd name="T7" fmla="*/ 0 h 69"/>
                  <a:gd name="T8" fmla="*/ 116 w 116"/>
                  <a:gd name="T9" fmla="*/ 6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69">
                    <a:moveTo>
                      <a:pt x="116" y="67"/>
                    </a:moveTo>
                    <a:lnTo>
                      <a:pt x="114" y="69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16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D853C1B4-574A-4BCB-863E-237CFB23A797}"/>
                  </a:ext>
                </a:extLst>
              </p:cNvPr>
              <p:cNvSpPr/>
              <p:nvPr/>
            </p:nvSpPr>
            <p:spPr bwMode="auto">
              <a:xfrm>
                <a:off x="4295841" y="2009771"/>
                <a:ext cx="301570" cy="177239"/>
              </a:xfrm>
              <a:custGeom>
                <a:avLst/>
                <a:gdLst>
                  <a:gd name="T0" fmla="*/ 114 w 114"/>
                  <a:gd name="T1" fmla="*/ 65 h 67"/>
                  <a:gd name="T2" fmla="*/ 114 w 114"/>
                  <a:gd name="T3" fmla="*/ 67 h 67"/>
                  <a:gd name="T4" fmla="*/ 0 w 114"/>
                  <a:gd name="T5" fmla="*/ 0 h 67"/>
                  <a:gd name="T6" fmla="*/ 0 w 114"/>
                  <a:gd name="T7" fmla="*/ 0 h 67"/>
                  <a:gd name="T8" fmla="*/ 114 w 114"/>
                  <a:gd name="T9" fmla="*/ 6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114" y="65"/>
                    </a:moveTo>
                    <a:lnTo>
                      <a:pt x="114" y="6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4" y="65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3750DBE4-B65F-43F1-B62F-9A59FEE6FC9E}"/>
                  </a:ext>
                </a:extLst>
              </p:cNvPr>
              <p:cNvSpPr/>
              <p:nvPr/>
            </p:nvSpPr>
            <p:spPr bwMode="auto">
              <a:xfrm>
                <a:off x="4301132" y="2004481"/>
                <a:ext cx="306860" cy="177239"/>
              </a:xfrm>
              <a:custGeom>
                <a:avLst/>
                <a:gdLst>
                  <a:gd name="T0" fmla="*/ 116 w 116"/>
                  <a:gd name="T1" fmla="*/ 65 h 67"/>
                  <a:gd name="T2" fmla="*/ 116 w 116"/>
                  <a:gd name="T3" fmla="*/ 67 h 67"/>
                  <a:gd name="T4" fmla="*/ 0 w 116"/>
                  <a:gd name="T5" fmla="*/ 0 h 67"/>
                  <a:gd name="T6" fmla="*/ 0 w 116"/>
                  <a:gd name="T7" fmla="*/ 0 h 67"/>
                  <a:gd name="T8" fmla="*/ 116 w 116"/>
                  <a:gd name="T9" fmla="*/ 6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67">
                    <a:moveTo>
                      <a:pt x="116" y="65"/>
                    </a:moveTo>
                    <a:lnTo>
                      <a:pt x="116" y="6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6" y="65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3774AA41-72DE-45F9-AC6C-C199DC7D5301}"/>
                  </a:ext>
                </a:extLst>
              </p:cNvPr>
              <p:cNvSpPr/>
              <p:nvPr/>
            </p:nvSpPr>
            <p:spPr bwMode="auto">
              <a:xfrm>
                <a:off x="4311713" y="1999190"/>
                <a:ext cx="301570" cy="177239"/>
              </a:xfrm>
              <a:custGeom>
                <a:avLst/>
                <a:gdLst>
                  <a:gd name="T0" fmla="*/ 114 w 114"/>
                  <a:gd name="T1" fmla="*/ 67 h 67"/>
                  <a:gd name="T2" fmla="*/ 114 w 114"/>
                  <a:gd name="T3" fmla="*/ 67 h 67"/>
                  <a:gd name="T4" fmla="*/ 0 w 114"/>
                  <a:gd name="T5" fmla="*/ 0 h 67"/>
                  <a:gd name="T6" fmla="*/ 0 w 114"/>
                  <a:gd name="T7" fmla="*/ 0 h 67"/>
                  <a:gd name="T8" fmla="*/ 114 w 114"/>
                  <a:gd name="T9" fmla="*/ 6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67">
                    <a:moveTo>
                      <a:pt x="114" y="67"/>
                    </a:moveTo>
                    <a:lnTo>
                      <a:pt x="114" y="67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14" y="6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B69B5BDE-CCAD-456F-8F16-FF7723FE0538}"/>
                  </a:ext>
                </a:extLst>
              </p:cNvPr>
              <p:cNvSpPr/>
              <p:nvPr/>
            </p:nvSpPr>
            <p:spPr bwMode="auto">
              <a:xfrm>
                <a:off x="4317004" y="1993899"/>
                <a:ext cx="306860" cy="174593"/>
              </a:xfrm>
              <a:custGeom>
                <a:avLst/>
                <a:gdLst>
                  <a:gd name="T0" fmla="*/ 116 w 116"/>
                  <a:gd name="T1" fmla="*/ 66 h 66"/>
                  <a:gd name="T2" fmla="*/ 116 w 116"/>
                  <a:gd name="T3" fmla="*/ 66 h 66"/>
                  <a:gd name="T4" fmla="*/ 0 w 116"/>
                  <a:gd name="T5" fmla="*/ 0 h 66"/>
                  <a:gd name="T6" fmla="*/ 2 w 116"/>
                  <a:gd name="T7" fmla="*/ 0 h 66"/>
                  <a:gd name="T8" fmla="*/ 116 w 116"/>
                  <a:gd name="T9" fmla="*/ 66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6" h="66">
                    <a:moveTo>
                      <a:pt x="116" y="66"/>
                    </a:moveTo>
                    <a:lnTo>
                      <a:pt x="116" y="6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116" y="66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C3454B08-2DB8-42BB-8EC5-A15C37B58DE8}"/>
                  </a:ext>
                </a:extLst>
              </p:cNvPr>
              <p:cNvSpPr/>
              <p:nvPr/>
            </p:nvSpPr>
            <p:spPr bwMode="auto">
              <a:xfrm>
                <a:off x="4224418" y="1948929"/>
                <a:ext cx="433837" cy="253953"/>
              </a:xfrm>
              <a:custGeom>
                <a:avLst/>
                <a:gdLst>
                  <a:gd name="T0" fmla="*/ 0 w 79"/>
                  <a:gd name="T1" fmla="*/ 11 h 46"/>
                  <a:gd name="T2" fmla="*/ 54 w 79"/>
                  <a:gd name="T3" fmla="*/ 42 h 46"/>
                  <a:gd name="T4" fmla="*/ 74 w 79"/>
                  <a:gd name="T5" fmla="*/ 42 h 46"/>
                  <a:gd name="T6" fmla="*/ 74 w 79"/>
                  <a:gd name="T7" fmla="*/ 31 h 46"/>
                  <a:gd name="T8" fmla="*/ 20 w 79"/>
                  <a:gd name="T9" fmla="*/ 0 h 46"/>
                  <a:gd name="T10" fmla="*/ 17 w 79"/>
                  <a:gd name="T11" fmla="*/ 2 h 46"/>
                  <a:gd name="T12" fmla="*/ 71 w 79"/>
                  <a:gd name="T13" fmla="*/ 33 h 46"/>
                  <a:gd name="T14" fmla="*/ 71 w 79"/>
                  <a:gd name="T15" fmla="*/ 41 h 46"/>
                  <a:gd name="T16" fmla="*/ 57 w 79"/>
                  <a:gd name="T17" fmla="*/ 41 h 46"/>
                  <a:gd name="T18" fmla="*/ 3 w 79"/>
                  <a:gd name="T19" fmla="*/ 9 h 46"/>
                  <a:gd name="T20" fmla="*/ 0 w 79"/>
                  <a:gd name="T21" fmla="*/ 1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9" h="46">
                    <a:moveTo>
                      <a:pt x="0" y="11"/>
                    </a:moveTo>
                    <a:cubicBezTo>
                      <a:pt x="54" y="42"/>
                      <a:pt x="54" y="42"/>
                      <a:pt x="54" y="42"/>
                    </a:cubicBezTo>
                    <a:cubicBezTo>
                      <a:pt x="60" y="46"/>
                      <a:pt x="68" y="46"/>
                      <a:pt x="74" y="42"/>
                    </a:cubicBezTo>
                    <a:cubicBezTo>
                      <a:pt x="79" y="39"/>
                      <a:pt x="79" y="34"/>
                      <a:pt x="74" y="31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71" y="33"/>
                      <a:pt x="71" y="33"/>
                      <a:pt x="71" y="33"/>
                    </a:cubicBezTo>
                    <a:cubicBezTo>
                      <a:pt x="74" y="35"/>
                      <a:pt x="74" y="38"/>
                      <a:pt x="71" y="41"/>
                    </a:cubicBezTo>
                    <a:cubicBezTo>
                      <a:pt x="67" y="43"/>
                      <a:pt x="61" y="43"/>
                      <a:pt x="57" y="41"/>
                    </a:cubicBezTo>
                    <a:cubicBezTo>
                      <a:pt x="3" y="9"/>
                      <a:pt x="3" y="9"/>
                      <a:pt x="3" y="9"/>
                    </a:cubicBezTo>
                    <a:lnTo>
                      <a:pt x="0" y="11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C63DDC31-9B35-4C27-9AA8-83EC9F89BAF4}"/>
                  </a:ext>
                </a:extLst>
              </p:cNvPr>
              <p:cNvSpPr/>
              <p:nvPr/>
            </p:nvSpPr>
            <p:spPr bwMode="auto">
              <a:xfrm>
                <a:off x="4581539" y="2218754"/>
                <a:ext cx="60844" cy="412674"/>
              </a:xfrm>
              <a:custGeom>
                <a:avLst/>
                <a:gdLst>
                  <a:gd name="T0" fmla="*/ 9 w 11"/>
                  <a:gd name="T1" fmla="*/ 2 h 75"/>
                  <a:gd name="T2" fmla="*/ 8 w 11"/>
                  <a:gd name="T3" fmla="*/ 2 h 75"/>
                  <a:gd name="T4" fmla="*/ 0 w 11"/>
                  <a:gd name="T5" fmla="*/ 4 h 75"/>
                  <a:gd name="T6" fmla="*/ 0 w 11"/>
                  <a:gd name="T7" fmla="*/ 75 h 75"/>
                  <a:gd name="T8" fmla="*/ 9 w 11"/>
                  <a:gd name="T9" fmla="*/ 73 h 75"/>
                  <a:gd name="T10" fmla="*/ 11 w 11"/>
                  <a:gd name="T11" fmla="*/ 71 h 75"/>
                  <a:gd name="T12" fmla="*/ 11 w 11"/>
                  <a:gd name="T13" fmla="*/ 0 h 75"/>
                  <a:gd name="T14" fmla="*/ 9 w 11"/>
                  <a:gd name="T15" fmla="*/ 2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75">
                    <a:moveTo>
                      <a:pt x="9" y="2"/>
                    </a:moveTo>
                    <a:cubicBezTo>
                      <a:pt x="9" y="2"/>
                      <a:pt x="8" y="2"/>
                      <a:pt x="8" y="2"/>
                    </a:cubicBezTo>
                    <a:cubicBezTo>
                      <a:pt x="5" y="3"/>
                      <a:pt x="3" y="4"/>
                      <a:pt x="0" y="4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3" y="75"/>
                      <a:pt x="7" y="74"/>
                      <a:pt x="9" y="73"/>
                    </a:cubicBezTo>
                    <a:cubicBezTo>
                      <a:pt x="10" y="72"/>
                      <a:pt x="11" y="72"/>
                      <a:pt x="11" y="71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0" y="1"/>
                      <a:pt x="9" y="2"/>
                    </a:cubicBez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85E29175-B4C8-4F53-919C-9FE0112A212A}"/>
                  </a:ext>
                </a:extLst>
              </p:cNvPr>
              <p:cNvSpPr/>
              <p:nvPr/>
            </p:nvSpPr>
            <p:spPr bwMode="auto">
              <a:xfrm>
                <a:off x="4266743" y="2097068"/>
                <a:ext cx="238081" cy="497325"/>
              </a:xfrm>
              <a:custGeom>
                <a:avLst/>
                <a:gdLst>
                  <a:gd name="T0" fmla="*/ 90 w 90"/>
                  <a:gd name="T1" fmla="*/ 50 h 188"/>
                  <a:gd name="T2" fmla="*/ 0 w 90"/>
                  <a:gd name="T3" fmla="*/ 0 h 188"/>
                  <a:gd name="T4" fmla="*/ 0 w 90"/>
                  <a:gd name="T5" fmla="*/ 136 h 188"/>
                  <a:gd name="T6" fmla="*/ 90 w 90"/>
                  <a:gd name="T7" fmla="*/ 188 h 188"/>
                  <a:gd name="T8" fmla="*/ 90 w 90"/>
                  <a:gd name="T9" fmla="*/ 50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0" h="188">
                    <a:moveTo>
                      <a:pt x="90" y="50"/>
                    </a:moveTo>
                    <a:lnTo>
                      <a:pt x="0" y="0"/>
                    </a:lnTo>
                    <a:lnTo>
                      <a:pt x="0" y="136"/>
                    </a:lnTo>
                    <a:lnTo>
                      <a:pt x="90" y="188"/>
                    </a:lnTo>
                    <a:lnTo>
                      <a:pt x="90" y="5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9659BAC0-9F04-4CEE-B197-A4B1ECD000C5}"/>
                  </a:ext>
                </a:extLst>
              </p:cNvPr>
              <p:cNvSpPr/>
              <p:nvPr/>
            </p:nvSpPr>
            <p:spPr bwMode="auto">
              <a:xfrm>
                <a:off x="4068341" y="1872213"/>
                <a:ext cx="50262" cy="137558"/>
              </a:xfrm>
              <a:custGeom>
                <a:avLst/>
                <a:gdLst>
                  <a:gd name="T0" fmla="*/ 0 w 19"/>
                  <a:gd name="T1" fmla="*/ 4 h 52"/>
                  <a:gd name="T2" fmla="*/ 9 w 19"/>
                  <a:gd name="T3" fmla="*/ 0 h 52"/>
                  <a:gd name="T4" fmla="*/ 9 w 19"/>
                  <a:gd name="T5" fmla="*/ 42 h 52"/>
                  <a:gd name="T6" fmla="*/ 19 w 19"/>
                  <a:gd name="T7" fmla="*/ 36 h 52"/>
                  <a:gd name="T8" fmla="*/ 19 w 19"/>
                  <a:gd name="T9" fmla="*/ 44 h 52"/>
                  <a:gd name="T10" fmla="*/ 0 w 19"/>
                  <a:gd name="T11" fmla="*/ 52 h 52"/>
                  <a:gd name="T12" fmla="*/ 0 w 19"/>
                  <a:gd name="T13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9" h="52">
                    <a:moveTo>
                      <a:pt x="0" y="4"/>
                    </a:moveTo>
                    <a:lnTo>
                      <a:pt x="9" y="0"/>
                    </a:lnTo>
                    <a:lnTo>
                      <a:pt x="9" y="42"/>
                    </a:lnTo>
                    <a:lnTo>
                      <a:pt x="19" y="36"/>
                    </a:lnTo>
                    <a:lnTo>
                      <a:pt x="19" y="44"/>
                    </a:lnTo>
                    <a:lnTo>
                      <a:pt x="0" y="52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EAF8D5F7-4D5C-48CE-8434-43CEBF52CB77}"/>
                  </a:ext>
                </a:extLst>
              </p:cNvPr>
              <p:cNvSpPr/>
              <p:nvPr/>
            </p:nvSpPr>
            <p:spPr bwMode="auto">
              <a:xfrm>
                <a:off x="4134476" y="1816662"/>
                <a:ext cx="44972" cy="161367"/>
              </a:xfrm>
              <a:custGeom>
                <a:avLst/>
                <a:gdLst>
                  <a:gd name="T0" fmla="*/ 7 w 17"/>
                  <a:gd name="T1" fmla="*/ 27 h 61"/>
                  <a:gd name="T2" fmla="*/ 15 w 17"/>
                  <a:gd name="T3" fmla="*/ 23 h 61"/>
                  <a:gd name="T4" fmla="*/ 15 w 17"/>
                  <a:gd name="T5" fmla="*/ 30 h 61"/>
                  <a:gd name="T6" fmla="*/ 7 w 17"/>
                  <a:gd name="T7" fmla="*/ 36 h 61"/>
                  <a:gd name="T8" fmla="*/ 7 w 17"/>
                  <a:gd name="T9" fmla="*/ 50 h 61"/>
                  <a:gd name="T10" fmla="*/ 17 w 17"/>
                  <a:gd name="T11" fmla="*/ 44 h 61"/>
                  <a:gd name="T12" fmla="*/ 17 w 17"/>
                  <a:gd name="T13" fmla="*/ 50 h 61"/>
                  <a:gd name="T14" fmla="*/ 0 w 17"/>
                  <a:gd name="T15" fmla="*/ 61 h 61"/>
                  <a:gd name="T16" fmla="*/ 0 w 17"/>
                  <a:gd name="T17" fmla="*/ 11 h 61"/>
                  <a:gd name="T18" fmla="*/ 17 w 17"/>
                  <a:gd name="T19" fmla="*/ 0 h 61"/>
                  <a:gd name="T20" fmla="*/ 17 w 17"/>
                  <a:gd name="T21" fmla="*/ 9 h 61"/>
                  <a:gd name="T22" fmla="*/ 7 w 17"/>
                  <a:gd name="T23" fmla="*/ 15 h 61"/>
                  <a:gd name="T24" fmla="*/ 7 w 17"/>
                  <a:gd name="T25" fmla="*/ 2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61">
                    <a:moveTo>
                      <a:pt x="7" y="27"/>
                    </a:moveTo>
                    <a:lnTo>
                      <a:pt x="15" y="23"/>
                    </a:lnTo>
                    <a:lnTo>
                      <a:pt x="15" y="30"/>
                    </a:lnTo>
                    <a:lnTo>
                      <a:pt x="7" y="36"/>
                    </a:lnTo>
                    <a:lnTo>
                      <a:pt x="7" y="50"/>
                    </a:lnTo>
                    <a:lnTo>
                      <a:pt x="17" y="44"/>
                    </a:lnTo>
                    <a:lnTo>
                      <a:pt x="17" y="50"/>
                    </a:lnTo>
                    <a:lnTo>
                      <a:pt x="0" y="61"/>
                    </a:lnTo>
                    <a:lnTo>
                      <a:pt x="0" y="11"/>
                    </a:lnTo>
                    <a:lnTo>
                      <a:pt x="17" y="0"/>
                    </a:lnTo>
                    <a:lnTo>
                      <a:pt x="17" y="9"/>
                    </a:lnTo>
                    <a:lnTo>
                      <a:pt x="7" y="15"/>
                    </a:lnTo>
                    <a:lnTo>
                      <a:pt x="7" y="27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0A783EB1-61AE-48B0-A021-976140BBE155}"/>
                  </a:ext>
                </a:extLst>
              </p:cNvPr>
              <p:cNvSpPr/>
              <p:nvPr/>
            </p:nvSpPr>
            <p:spPr bwMode="auto">
              <a:xfrm>
                <a:off x="4195318" y="1790208"/>
                <a:ext cx="55553" cy="142849"/>
              </a:xfrm>
              <a:custGeom>
                <a:avLst/>
                <a:gdLst>
                  <a:gd name="T0" fmla="*/ 0 w 10"/>
                  <a:gd name="T1" fmla="*/ 9 h 26"/>
                  <a:gd name="T2" fmla="*/ 1 w 10"/>
                  <a:gd name="T3" fmla="*/ 4 h 26"/>
                  <a:gd name="T4" fmla="*/ 5 w 10"/>
                  <a:gd name="T5" fmla="*/ 1 h 26"/>
                  <a:gd name="T6" fmla="*/ 8 w 10"/>
                  <a:gd name="T7" fmla="*/ 0 h 26"/>
                  <a:gd name="T8" fmla="*/ 10 w 10"/>
                  <a:gd name="T9" fmla="*/ 4 h 26"/>
                  <a:gd name="T10" fmla="*/ 10 w 10"/>
                  <a:gd name="T11" fmla="*/ 5 h 26"/>
                  <a:gd name="T12" fmla="*/ 7 w 10"/>
                  <a:gd name="T13" fmla="*/ 6 h 26"/>
                  <a:gd name="T14" fmla="*/ 7 w 10"/>
                  <a:gd name="T15" fmla="*/ 5 h 26"/>
                  <a:gd name="T16" fmla="*/ 6 w 10"/>
                  <a:gd name="T17" fmla="*/ 4 h 26"/>
                  <a:gd name="T18" fmla="*/ 5 w 10"/>
                  <a:gd name="T19" fmla="*/ 4 h 26"/>
                  <a:gd name="T20" fmla="*/ 4 w 10"/>
                  <a:gd name="T21" fmla="*/ 5 h 26"/>
                  <a:gd name="T22" fmla="*/ 3 w 10"/>
                  <a:gd name="T23" fmla="*/ 7 h 26"/>
                  <a:gd name="T24" fmla="*/ 4 w 10"/>
                  <a:gd name="T25" fmla="*/ 9 h 26"/>
                  <a:gd name="T26" fmla="*/ 5 w 10"/>
                  <a:gd name="T27" fmla="*/ 10 h 26"/>
                  <a:gd name="T28" fmla="*/ 7 w 10"/>
                  <a:gd name="T29" fmla="*/ 11 h 26"/>
                  <a:gd name="T30" fmla="*/ 8 w 10"/>
                  <a:gd name="T31" fmla="*/ 12 h 26"/>
                  <a:gd name="T32" fmla="*/ 9 w 10"/>
                  <a:gd name="T33" fmla="*/ 13 h 26"/>
                  <a:gd name="T34" fmla="*/ 10 w 10"/>
                  <a:gd name="T35" fmla="*/ 16 h 26"/>
                  <a:gd name="T36" fmla="*/ 8 w 10"/>
                  <a:gd name="T37" fmla="*/ 21 h 26"/>
                  <a:gd name="T38" fmla="*/ 5 w 10"/>
                  <a:gd name="T39" fmla="*/ 25 h 26"/>
                  <a:gd name="T40" fmla="*/ 1 w 10"/>
                  <a:gd name="T41" fmla="*/ 25 h 26"/>
                  <a:gd name="T42" fmla="*/ 0 w 10"/>
                  <a:gd name="T43" fmla="*/ 22 h 26"/>
                  <a:gd name="T44" fmla="*/ 0 w 10"/>
                  <a:gd name="T45" fmla="*/ 20 h 26"/>
                  <a:gd name="T46" fmla="*/ 3 w 10"/>
                  <a:gd name="T47" fmla="*/ 18 h 26"/>
                  <a:gd name="T48" fmla="*/ 3 w 10"/>
                  <a:gd name="T49" fmla="*/ 20 h 26"/>
                  <a:gd name="T50" fmla="*/ 4 w 10"/>
                  <a:gd name="T51" fmla="*/ 22 h 26"/>
                  <a:gd name="T52" fmla="*/ 5 w 10"/>
                  <a:gd name="T53" fmla="*/ 21 h 26"/>
                  <a:gd name="T54" fmla="*/ 6 w 10"/>
                  <a:gd name="T55" fmla="*/ 20 h 26"/>
                  <a:gd name="T56" fmla="*/ 6 w 10"/>
                  <a:gd name="T57" fmla="*/ 18 h 26"/>
                  <a:gd name="T58" fmla="*/ 6 w 10"/>
                  <a:gd name="T59" fmla="*/ 16 h 26"/>
                  <a:gd name="T60" fmla="*/ 5 w 10"/>
                  <a:gd name="T61" fmla="*/ 15 h 26"/>
                  <a:gd name="T62" fmla="*/ 3 w 10"/>
                  <a:gd name="T63" fmla="*/ 14 h 26"/>
                  <a:gd name="T64" fmla="*/ 2 w 10"/>
                  <a:gd name="T65" fmla="*/ 13 h 26"/>
                  <a:gd name="T66" fmla="*/ 1 w 10"/>
                  <a:gd name="T67" fmla="*/ 12 h 26"/>
                  <a:gd name="T68" fmla="*/ 0 w 10"/>
                  <a:gd name="T69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26">
                    <a:moveTo>
                      <a:pt x="0" y="9"/>
                    </a:moveTo>
                    <a:cubicBezTo>
                      <a:pt x="0" y="7"/>
                      <a:pt x="1" y="6"/>
                      <a:pt x="1" y="4"/>
                    </a:cubicBezTo>
                    <a:cubicBezTo>
                      <a:pt x="2" y="3"/>
                      <a:pt x="3" y="1"/>
                      <a:pt x="5" y="1"/>
                    </a:cubicBezTo>
                    <a:cubicBezTo>
                      <a:pt x="6" y="0"/>
                      <a:pt x="8" y="0"/>
                      <a:pt x="8" y="0"/>
                    </a:cubicBezTo>
                    <a:cubicBezTo>
                      <a:pt x="9" y="1"/>
                      <a:pt x="10" y="2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6" y="4"/>
                      <a:pt x="6" y="4"/>
                    </a:cubicBezTo>
                    <a:cubicBezTo>
                      <a:pt x="6" y="4"/>
                      <a:pt x="6" y="4"/>
                      <a:pt x="5" y="4"/>
                    </a:cubicBezTo>
                    <a:cubicBezTo>
                      <a:pt x="5" y="4"/>
                      <a:pt x="4" y="5"/>
                      <a:pt x="4" y="5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3" y="8"/>
                      <a:pt x="4" y="9"/>
                      <a:pt x="4" y="9"/>
                    </a:cubicBezTo>
                    <a:cubicBezTo>
                      <a:pt x="4" y="10"/>
                      <a:pt x="5" y="10"/>
                      <a:pt x="5" y="10"/>
                    </a:cubicBezTo>
                    <a:cubicBezTo>
                      <a:pt x="6" y="10"/>
                      <a:pt x="6" y="11"/>
                      <a:pt x="7" y="11"/>
                    </a:cubicBezTo>
                    <a:cubicBezTo>
                      <a:pt x="7" y="11"/>
                      <a:pt x="8" y="12"/>
                      <a:pt x="8" y="12"/>
                    </a:cubicBezTo>
                    <a:cubicBezTo>
                      <a:pt x="8" y="12"/>
                      <a:pt x="9" y="13"/>
                      <a:pt x="9" y="13"/>
                    </a:cubicBezTo>
                    <a:cubicBezTo>
                      <a:pt x="9" y="14"/>
                      <a:pt x="10" y="15"/>
                      <a:pt x="10" y="16"/>
                    </a:cubicBezTo>
                    <a:cubicBezTo>
                      <a:pt x="10" y="18"/>
                      <a:pt x="9" y="20"/>
                      <a:pt x="8" y="21"/>
                    </a:cubicBezTo>
                    <a:cubicBezTo>
                      <a:pt x="8" y="23"/>
                      <a:pt x="6" y="24"/>
                      <a:pt x="5" y="25"/>
                    </a:cubicBezTo>
                    <a:cubicBezTo>
                      <a:pt x="3" y="26"/>
                      <a:pt x="2" y="26"/>
                      <a:pt x="1" y="25"/>
                    </a:cubicBezTo>
                    <a:cubicBezTo>
                      <a:pt x="1" y="25"/>
                      <a:pt x="0" y="24"/>
                      <a:pt x="0" y="2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3" y="21"/>
                      <a:pt x="4" y="22"/>
                    </a:cubicBezTo>
                    <a:cubicBezTo>
                      <a:pt x="4" y="22"/>
                      <a:pt x="4" y="22"/>
                      <a:pt x="5" y="21"/>
                    </a:cubicBezTo>
                    <a:cubicBezTo>
                      <a:pt x="5" y="21"/>
                      <a:pt x="6" y="21"/>
                      <a:pt x="6" y="20"/>
                    </a:cubicBezTo>
                    <a:cubicBezTo>
                      <a:pt x="6" y="20"/>
                      <a:pt x="6" y="19"/>
                      <a:pt x="6" y="18"/>
                    </a:cubicBezTo>
                    <a:cubicBezTo>
                      <a:pt x="6" y="17"/>
                      <a:pt x="6" y="17"/>
                      <a:pt x="6" y="16"/>
                    </a:cubicBezTo>
                    <a:cubicBezTo>
                      <a:pt x="6" y="16"/>
                      <a:pt x="5" y="16"/>
                      <a:pt x="5" y="15"/>
                    </a:cubicBezTo>
                    <a:cubicBezTo>
                      <a:pt x="4" y="15"/>
                      <a:pt x="4" y="15"/>
                      <a:pt x="3" y="14"/>
                    </a:cubicBezTo>
                    <a:cubicBezTo>
                      <a:pt x="3" y="14"/>
                      <a:pt x="2" y="14"/>
                      <a:pt x="2" y="13"/>
                    </a:cubicBezTo>
                    <a:cubicBezTo>
                      <a:pt x="1" y="13"/>
                      <a:pt x="1" y="13"/>
                      <a:pt x="1" y="12"/>
                    </a:cubicBezTo>
                    <a:cubicBezTo>
                      <a:pt x="0" y="11"/>
                      <a:pt x="0" y="10"/>
                      <a:pt x="0" y="9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A71AE100-8FF5-4421-9298-CD20F8F0DD63}"/>
                  </a:ext>
                </a:extLst>
              </p:cNvPr>
              <p:cNvSpPr/>
              <p:nvPr/>
            </p:nvSpPr>
            <p:spPr bwMode="auto">
              <a:xfrm>
                <a:off x="4261452" y="1753173"/>
                <a:ext cx="55553" cy="142849"/>
              </a:xfrm>
              <a:custGeom>
                <a:avLst/>
                <a:gdLst>
                  <a:gd name="T0" fmla="*/ 0 w 10"/>
                  <a:gd name="T1" fmla="*/ 9 h 26"/>
                  <a:gd name="T2" fmla="*/ 2 w 10"/>
                  <a:gd name="T3" fmla="*/ 4 h 26"/>
                  <a:gd name="T4" fmla="*/ 5 w 10"/>
                  <a:gd name="T5" fmla="*/ 1 h 26"/>
                  <a:gd name="T6" fmla="*/ 9 w 10"/>
                  <a:gd name="T7" fmla="*/ 0 h 26"/>
                  <a:gd name="T8" fmla="*/ 10 w 10"/>
                  <a:gd name="T9" fmla="*/ 4 h 26"/>
                  <a:gd name="T10" fmla="*/ 10 w 10"/>
                  <a:gd name="T11" fmla="*/ 5 h 26"/>
                  <a:gd name="T12" fmla="*/ 7 w 10"/>
                  <a:gd name="T13" fmla="*/ 6 h 26"/>
                  <a:gd name="T14" fmla="*/ 7 w 10"/>
                  <a:gd name="T15" fmla="*/ 5 h 26"/>
                  <a:gd name="T16" fmla="*/ 6 w 10"/>
                  <a:gd name="T17" fmla="*/ 4 h 26"/>
                  <a:gd name="T18" fmla="*/ 5 w 10"/>
                  <a:gd name="T19" fmla="*/ 4 h 26"/>
                  <a:gd name="T20" fmla="*/ 4 w 10"/>
                  <a:gd name="T21" fmla="*/ 5 h 26"/>
                  <a:gd name="T22" fmla="*/ 4 w 10"/>
                  <a:gd name="T23" fmla="*/ 7 h 26"/>
                  <a:gd name="T24" fmla="*/ 4 w 10"/>
                  <a:gd name="T25" fmla="*/ 9 h 26"/>
                  <a:gd name="T26" fmla="*/ 5 w 10"/>
                  <a:gd name="T27" fmla="*/ 10 h 26"/>
                  <a:gd name="T28" fmla="*/ 7 w 10"/>
                  <a:gd name="T29" fmla="*/ 11 h 26"/>
                  <a:gd name="T30" fmla="*/ 8 w 10"/>
                  <a:gd name="T31" fmla="*/ 12 h 26"/>
                  <a:gd name="T32" fmla="*/ 9 w 10"/>
                  <a:gd name="T33" fmla="*/ 13 h 26"/>
                  <a:gd name="T34" fmla="*/ 10 w 10"/>
                  <a:gd name="T35" fmla="*/ 16 h 26"/>
                  <a:gd name="T36" fmla="*/ 9 w 10"/>
                  <a:gd name="T37" fmla="*/ 21 h 26"/>
                  <a:gd name="T38" fmla="*/ 5 w 10"/>
                  <a:gd name="T39" fmla="*/ 25 h 26"/>
                  <a:gd name="T40" fmla="*/ 2 w 10"/>
                  <a:gd name="T41" fmla="*/ 25 h 26"/>
                  <a:gd name="T42" fmla="*/ 0 w 10"/>
                  <a:gd name="T43" fmla="*/ 22 h 26"/>
                  <a:gd name="T44" fmla="*/ 0 w 10"/>
                  <a:gd name="T45" fmla="*/ 20 h 26"/>
                  <a:gd name="T46" fmla="*/ 3 w 10"/>
                  <a:gd name="T47" fmla="*/ 18 h 26"/>
                  <a:gd name="T48" fmla="*/ 3 w 10"/>
                  <a:gd name="T49" fmla="*/ 20 h 26"/>
                  <a:gd name="T50" fmla="*/ 4 w 10"/>
                  <a:gd name="T51" fmla="*/ 22 h 26"/>
                  <a:gd name="T52" fmla="*/ 5 w 10"/>
                  <a:gd name="T53" fmla="*/ 21 h 26"/>
                  <a:gd name="T54" fmla="*/ 6 w 10"/>
                  <a:gd name="T55" fmla="*/ 20 h 26"/>
                  <a:gd name="T56" fmla="*/ 7 w 10"/>
                  <a:gd name="T57" fmla="*/ 18 h 26"/>
                  <a:gd name="T58" fmla="*/ 6 w 10"/>
                  <a:gd name="T59" fmla="*/ 16 h 26"/>
                  <a:gd name="T60" fmla="*/ 5 w 10"/>
                  <a:gd name="T61" fmla="*/ 15 h 26"/>
                  <a:gd name="T62" fmla="*/ 4 w 10"/>
                  <a:gd name="T63" fmla="*/ 14 h 26"/>
                  <a:gd name="T64" fmla="*/ 2 w 10"/>
                  <a:gd name="T65" fmla="*/ 13 h 26"/>
                  <a:gd name="T66" fmla="*/ 1 w 10"/>
                  <a:gd name="T67" fmla="*/ 12 h 26"/>
                  <a:gd name="T68" fmla="*/ 0 w 10"/>
                  <a:gd name="T69" fmla="*/ 9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0" h="26">
                    <a:moveTo>
                      <a:pt x="0" y="9"/>
                    </a:moveTo>
                    <a:cubicBezTo>
                      <a:pt x="0" y="7"/>
                      <a:pt x="1" y="6"/>
                      <a:pt x="2" y="4"/>
                    </a:cubicBezTo>
                    <a:cubicBezTo>
                      <a:pt x="2" y="3"/>
                      <a:pt x="4" y="1"/>
                      <a:pt x="5" y="1"/>
                    </a:cubicBezTo>
                    <a:cubicBezTo>
                      <a:pt x="7" y="0"/>
                      <a:pt x="8" y="0"/>
                      <a:pt x="9" y="0"/>
                    </a:cubicBezTo>
                    <a:cubicBezTo>
                      <a:pt x="9" y="1"/>
                      <a:pt x="10" y="2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4"/>
                      <a:pt x="6" y="4"/>
                    </a:cubicBezTo>
                    <a:cubicBezTo>
                      <a:pt x="6" y="4"/>
                      <a:pt x="6" y="4"/>
                      <a:pt x="5" y="4"/>
                    </a:cubicBezTo>
                    <a:cubicBezTo>
                      <a:pt x="5" y="4"/>
                      <a:pt x="4" y="5"/>
                      <a:pt x="4" y="5"/>
                    </a:cubicBezTo>
                    <a:cubicBezTo>
                      <a:pt x="4" y="6"/>
                      <a:pt x="4" y="6"/>
                      <a:pt x="4" y="7"/>
                    </a:cubicBezTo>
                    <a:cubicBezTo>
                      <a:pt x="4" y="8"/>
                      <a:pt x="4" y="9"/>
                      <a:pt x="4" y="9"/>
                    </a:cubicBezTo>
                    <a:cubicBezTo>
                      <a:pt x="4" y="9"/>
                      <a:pt x="5" y="10"/>
                      <a:pt x="5" y="10"/>
                    </a:cubicBezTo>
                    <a:cubicBezTo>
                      <a:pt x="6" y="10"/>
                      <a:pt x="6" y="11"/>
                      <a:pt x="7" y="11"/>
                    </a:cubicBezTo>
                    <a:cubicBezTo>
                      <a:pt x="7" y="11"/>
                      <a:pt x="8" y="12"/>
                      <a:pt x="8" y="12"/>
                    </a:cubicBezTo>
                    <a:cubicBezTo>
                      <a:pt x="9" y="12"/>
                      <a:pt x="9" y="13"/>
                      <a:pt x="9" y="13"/>
                    </a:cubicBezTo>
                    <a:cubicBezTo>
                      <a:pt x="10" y="14"/>
                      <a:pt x="10" y="15"/>
                      <a:pt x="10" y="16"/>
                    </a:cubicBezTo>
                    <a:cubicBezTo>
                      <a:pt x="10" y="18"/>
                      <a:pt x="9" y="20"/>
                      <a:pt x="9" y="21"/>
                    </a:cubicBezTo>
                    <a:cubicBezTo>
                      <a:pt x="8" y="23"/>
                      <a:pt x="7" y="24"/>
                      <a:pt x="5" y="25"/>
                    </a:cubicBezTo>
                    <a:cubicBezTo>
                      <a:pt x="4" y="26"/>
                      <a:pt x="2" y="26"/>
                      <a:pt x="2" y="25"/>
                    </a:cubicBezTo>
                    <a:cubicBezTo>
                      <a:pt x="1" y="25"/>
                      <a:pt x="0" y="24"/>
                      <a:pt x="0" y="22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3" y="18"/>
                      <a:pt x="3" y="18"/>
                      <a:pt x="3" y="18"/>
                    </a:cubicBezTo>
                    <a:cubicBezTo>
                      <a:pt x="3" y="20"/>
                      <a:pt x="3" y="20"/>
                      <a:pt x="3" y="20"/>
                    </a:cubicBezTo>
                    <a:cubicBezTo>
                      <a:pt x="3" y="21"/>
                      <a:pt x="4" y="21"/>
                      <a:pt x="4" y="22"/>
                    </a:cubicBezTo>
                    <a:cubicBezTo>
                      <a:pt x="4" y="22"/>
                      <a:pt x="5" y="22"/>
                      <a:pt x="5" y="21"/>
                    </a:cubicBezTo>
                    <a:cubicBezTo>
                      <a:pt x="6" y="21"/>
                      <a:pt x="6" y="21"/>
                      <a:pt x="6" y="20"/>
                    </a:cubicBezTo>
                    <a:cubicBezTo>
                      <a:pt x="7" y="20"/>
                      <a:pt x="7" y="19"/>
                      <a:pt x="7" y="18"/>
                    </a:cubicBezTo>
                    <a:cubicBezTo>
                      <a:pt x="7" y="17"/>
                      <a:pt x="7" y="17"/>
                      <a:pt x="6" y="16"/>
                    </a:cubicBezTo>
                    <a:cubicBezTo>
                      <a:pt x="6" y="16"/>
                      <a:pt x="6" y="16"/>
                      <a:pt x="5" y="15"/>
                    </a:cubicBezTo>
                    <a:cubicBezTo>
                      <a:pt x="5" y="15"/>
                      <a:pt x="4" y="15"/>
                      <a:pt x="4" y="14"/>
                    </a:cubicBezTo>
                    <a:cubicBezTo>
                      <a:pt x="3" y="14"/>
                      <a:pt x="3" y="14"/>
                      <a:pt x="2" y="13"/>
                    </a:cubicBezTo>
                    <a:cubicBezTo>
                      <a:pt x="2" y="13"/>
                      <a:pt x="1" y="13"/>
                      <a:pt x="1" y="12"/>
                    </a:cubicBezTo>
                    <a:cubicBezTo>
                      <a:pt x="1" y="11"/>
                      <a:pt x="0" y="10"/>
                      <a:pt x="0" y="9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61450CF-8F8B-40F4-8A27-C85F0E9CDA50}"/>
                  </a:ext>
                </a:extLst>
              </p:cNvPr>
              <p:cNvSpPr/>
              <p:nvPr/>
            </p:nvSpPr>
            <p:spPr bwMode="auto">
              <a:xfrm>
                <a:off x="4332876" y="1708202"/>
                <a:ext cx="50262" cy="148139"/>
              </a:xfrm>
              <a:custGeom>
                <a:avLst/>
                <a:gdLst>
                  <a:gd name="T0" fmla="*/ 0 w 9"/>
                  <a:gd name="T1" fmla="*/ 10 h 27"/>
                  <a:gd name="T2" fmla="*/ 1 w 9"/>
                  <a:gd name="T3" fmla="*/ 5 h 27"/>
                  <a:gd name="T4" fmla="*/ 5 w 9"/>
                  <a:gd name="T5" fmla="*/ 1 h 27"/>
                  <a:gd name="T6" fmla="*/ 8 w 9"/>
                  <a:gd name="T7" fmla="*/ 1 h 27"/>
                  <a:gd name="T8" fmla="*/ 9 w 9"/>
                  <a:gd name="T9" fmla="*/ 5 h 27"/>
                  <a:gd name="T10" fmla="*/ 9 w 9"/>
                  <a:gd name="T11" fmla="*/ 17 h 27"/>
                  <a:gd name="T12" fmla="*/ 8 w 9"/>
                  <a:gd name="T13" fmla="*/ 22 h 27"/>
                  <a:gd name="T14" fmla="*/ 5 w 9"/>
                  <a:gd name="T15" fmla="*/ 26 h 27"/>
                  <a:gd name="T16" fmla="*/ 1 w 9"/>
                  <a:gd name="T17" fmla="*/ 26 h 27"/>
                  <a:gd name="T18" fmla="*/ 0 w 9"/>
                  <a:gd name="T19" fmla="*/ 22 h 27"/>
                  <a:gd name="T20" fmla="*/ 0 w 9"/>
                  <a:gd name="T21" fmla="*/ 10 h 27"/>
                  <a:gd name="T22" fmla="*/ 3 w 9"/>
                  <a:gd name="T23" fmla="*/ 21 h 27"/>
                  <a:gd name="T24" fmla="*/ 3 w 9"/>
                  <a:gd name="T25" fmla="*/ 22 h 27"/>
                  <a:gd name="T26" fmla="*/ 5 w 9"/>
                  <a:gd name="T27" fmla="*/ 22 h 27"/>
                  <a:gd name="T28" fmla="*/ 6 w 9"/>
                  <a:gd name="T29" fmla="*/ 21 h 27"/>
                  <a:gd name="T30" fmla="*/ 6 w 9"/>
                  <a:gd name="T31" fmla="*/ 19 h 27"/>
                  <a:gd name="T32" fmla="*/ 6 w 9"/>
                  <a:gd name="T33" fmla="*/ 6 h 27"/>
                  <a:gd name="T34" fmla="*/ 6 w 9"/>
                  <a:gd name="T35" fmla="*/ 5 h 27"/>
                  <a:gd name="T36" fmla="*/ 5 w 9"/>
                  <a:gd name="T37" fmla="*/ 5 h 27"/>
                  <a:gd name="T38" fmla="*/ 3 w 9"/>
                  <a:gd name="T39" fmla="*/ 6 h 27"/>
                  <a:gd name="T40" fmla="*/ 3 w 9"/>
                  <a:gd name="T41" fmla="*/ 8 h 27"/>
                  <a:gd name="T42" fmla="*/ 3 w 9"/>
                  <a:gd name="T43" fmla="*/ 2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" h="27">
                    <a:moveTo>
                      <a:pt x="0" y="10"/>
                    </a:moveTo>
                    <a:cubicBezTo>
                      <a:pt x="0" y="8"/>
                      <a:pt x="0" y="6"/>
                      <a:pt x="1" y="5"/>
                    </a:cubicBezTo>
                    <a:cubicBezTo>
                      <a:pt x="2" y="3"/>
                      <a:pt x="3" y="2"/>
                      <a:pt x="5" y="1"/>
                    </a:cubicBezTo>
                    <a:cubicBezTo>
                      <a:pt x="6" y="0"/>
                      <a:pt x="7" y="0"/>
                      <a:pt x="8" y="1"/>
                    </a:cubicBezTo>
                    <a:cubicBezTo>
                      <a:pt x="9" y="1"/>
                      <a:pt x="9" y="3"/>
                      <a:pt x="9" y="5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9"/>
                      <a:pt x="9" y="21"/>
                      <a:pt x="8" y="22"/>
                    </a:cubicBezTo>
                    <a:cubicBezTo>
                      <a:pt x="7" y="24"/>
                      <a:pt x="6" y="25"/>
                      <a:pt x="5" y="26"/>
                    </a:cubicBezTo>
                    <a:cubicBezTo>
                      <a:pt x="3" y="27"/>
                      <a:pt x="2" y="27"/>
                      <a:pt x="1" y="26"/>
                    </a:cubicBezTo>
                    <a:cubicBezTo>
                      <a:pt x="0" y="26"/>
                      <a:pt x="0" y="24"/>
                      <a:pt x="0" y="22"/>
                    </a:cubicBezTo>
                    <a:lnTo>
                      <a:pt x="0" y="10"/>
                    </a:lnTo>
                    <a:close/>
                    <a:moveTo>
                      <a:pt x="3" y="21"/>
                    </a:moveTo>
                    <a:cubicBezTo>
                      <a:pt x="3" y="22"/>
                      <a:pt x="3" y="22"/>
                      <a:pt x="3" y="22"/>
                    </a:cubicBezTo>
                    <a:cubicBezTo>
                      <a:pt x="4" y="23"/>
                      <a:pt x="4" y="23"/>
                      <a:pt x="5" y="22"/>
                    </a:cubicBezTo>
                    <a:cubicBezTo>
                      <a:pt x="5" y="22"/>
                      <a:pt x="6" y="22"/>
                      <a:pt x="6" y="21"/>
                    </a:cubicBezTo>
                    <a:cubicBezTo>
                      <a:pt x="6" y="21"/>
                      <a:pt x="6" y="20"/>
                      <a:pt x="6" y="19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4"/>
                      <a:pt x="5" y="4"/>
                      <a:pt x="5" y="5"/>
                    </a:cubicBezTo>
                    <a:cubicBezTo>
                      <a:pt x="4" y="5"/>
                      <a:pt x="4" y="5"/>
                      <a:pt x="3" y="6"/>
                    </a:cubicBezTo>
                    <a:cubicBezTo>
                      <a:pt x="3" y="7"/>
                      <a:pt x="3" y="7"/>
                      <a:pt x="3" y="8"/>
                    </a:cubicBezTo>
                    <a:lnTo>
                      <a:pt x="3" y="21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C8C0EE6B-D98B-4783-8A86-89289E2F4488}"/>
                  </a:ext>
                </a:extLst>
              </p:cNvPr>
              <p:cNvSpPr/>
              <p:nvPr/>
            </p:nvSpPr>
            <p:spPr bwMode="auto">
              <a:xfrm>
                <a:off x="4404301" y="1657941"/>
                <a:ext cx="55553" cy="166658"/>
              </a:xfrm>
              <a:custGeom>
                <a:avLst/>
                <a:gdLst>
                  <a:gd name="T0" fmla="*/ 6 w 21"/>
                  <a:gd name="T1" fmla="*/ 23 h 63"/>
                  <a:gd name="T2" fmla="*/ 6 w 21"/>
                  <a:gd name="T3" fmla="*/ 58 h 63"/>
                  <a:gd name="T4" fmla="*/ 0 w 21"/>
                  <a:gd name="T5" fmla="*/ 63 h 63"/>
                  <a:gd name="T6" fmla="*/ 0 w 21"/>
                  <a:gd name="T7" fmla="*/ 13 h 63"/>
                  <a:gd name="T8" fmla="*/ 9 w 21"/>
                  <a:gd name="T9" fmla="*/ 9 h 63"/>
                  <a:gd name="T10" fmla="*/ 15 w 21"/>
                  <a:gd name="T11" fmla="*/ 33 h 63"/>
                  <a:gd name="T12" fmla="*/ 15 w 21"/>
                  <a:gd name="T13" fmla="*/ 4 h 63"/>
                  <a:gd name="T14" fmla="*/ 21 w 21"/>
                  <a:gd name="T15" fmla="*/ 0 h 63"/>
                  <a:gd name="T16" fmla="*/ 21 w 21"/>
                  <a:gd name="T17" fmla="*/ 50 h 63"/>
                  <a:gd name="T18" fmla="*/ 15 w 21"/>
                  <a:gd name="T19" fmla="*/ 54 h 63"/>
                  <a:gd name="T20" fmla="*/ 6 w 21"/>
                  <a:gd name="T21" fmla="*/ 2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1" h="63">
                    <a:moveTo>
                      <a:pt x="6" y="23"/>
                    </a:moveTo>
                    <a:lnTo>
                      <a:pt x="6" y="58"/>
                    </a:lnTo>
                    <a:lnTo>
                      <a:pt x="0" y="63"/>
                    </a:lnTo>
                    <a:lnTo>
                      <a:pt x="0" y="13"/>
                    </a:lnTo>
                    <a:lnTo>
                      <a:pt x="9" y="9"/>
                    </a:lnTo>
                    <a:lnTo>
                      <a:pt x="15" y="33"/>
                    </a:lnTo>
                    <a:lnTo>
                      <a:pt x="15" y="4"/>
                    </a:lnTo>
                    <a:lnTo>
                      <a:pt x="21" y="0"/>
                    </a:lnTo>
                    <a:lnTo>
                      <a:pt x="21" y="50"/>
                    </a:lnTo>
                    <a:lnTo>
                      <a:pt x="15" y="54"/>
                    </a:lnTo>
                    <a:lnTo>
                      <a:pt x="6" y="23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6B81FB08-774B-44D9-A96E-638BB12A88BE}"/>
                  </a:ext>
                </a:extLst>
              </p:cNvPr>
              <p:cNvSpPr/>
              <p:nvPr/>
            </p:nvSpPr>
            <p:spPr bwMode="auto">
              <a:xfrm>
                <a:off x="4867236" y="1549481"/>
                <a:ext cx="2555405" cy="1478749"/>
              </a:xfrm>
              <a:custGeom>
                <a:avLst/>
                <a:gdLst>
                  <a:gd name="T0" fmla="*/ 345 w 966"/>
                  <a:gd name="T1" fmla="*/ 0 h 559"/>
                  <a:gd name="T2" fmla="*/ 0 w 966"/>
                  <a:gd name="T3" fmla="*/ 199 h 559"/>
                  <a:gd name="T4" fmla="*/ 621 w 966"/>
                  <a:gd name="T5" fmla="*/ 559 h 559"/>
                  <a:gd name="T6" fmla="*/ 966 w 966"/>
                  <a:gd name="T7" fmla="*/ 359 h 559"/>
                  <a:gd name="T8" fmla="*/ 345 w 966"/>
                  <a:gd name="T9" fmla="*/ 0 h 5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6" h="559">
                    <a:moveTo>
                      <a:pt x="345" y="0"/>
                    </a:moveTo>
                    <a:lnTo>
                      <a:pt x="0" y="199"/>
                    </a:lnTo>
                    <a:lnTo>
                      <a:pt x="621" y="559"/>
                    </a:lnTo>
                    <a:lnTo>
                      <a:pt x="966" y="359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BD77D762-75C5-4527-A235-34AC470A77E7}"/>
                  </a:ext>
                </a:extLst>
              </p:cNvPr>
              <p:cNvSpPr/>
              <p:nvPr/>
            </p:nvSpPr>
            <p:spPr bwMode="auto">
              <a:xfrm>
                <a:off x="4970405" y="1615615"/>
                <a:ext cx="2272354" cy="1306801"/>
              </a:xfrm>
              <a:custGeom>
                <a:avLst/>
                <a:gdLst>
                  <a:gd name="T0" fmla="*/ 316 w 859"/>
                  <a:gd name="T1" fmla="*/ 0 h 494"/>
                  <a:gd name="T2" fmla="*/ 0 w 859"/>
                  <a:gd name="T3" fmla="*/ 182 h 494"/>
                  <a:gd name="T4" fmla="*/ 543 w 859"/>
                  <a:gd name="T5" fmla="*/ 494 h 494"/>
                  <a:gd name="T6" fmla="*/ 859 w 859"/>
                  <a:gd name="T7" fmla="*/ 311 h 494"/>
                  <a:gd name="T8" fmla="*/ 316 w 859"/>
                  <a:gd name="T9" fmla="*/ 0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59" h="494">
                    <a:moveTo>
                      <a:pt x="316" y="0"/>
                    </a:moveTo>
                    <a:lnTo>
                      <a:pt x="0" y="182"/>
                    </a:lnTo>
                    <a:lnTo>
                      <a:pt x="543" y="494"/>
                    </a:lnTo>
                    <a:lnTo>
                      <a:pt x="859" y="311"/>
                    </a:lnTo>
                    <a:lnTo>
                      <a:pt x="316" y="0"/>
                    </a:lnTo>
                    <a:close/>
                  </a:path>
                </a:pathLst>
              </a:custGeom>
              <a:solidFill>
                <a:srgbClr val="DCEC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C3EDC678-1169-4475-A16D-BCFFB7B17B0A}"/>
                  </a:ext>
                </a:extLst>
              </p:cNvPr>
              <p:cNvSpPr/>
              <p:nvPr/>
            </p:nvSpPr>
            <p:spPr bwMode="auto">
              <a:xfrm>
                <a:off x="6509997" y="2499161"/>
                <a:ext cx="912645" cy="571395"/>
              </a:xfrm>
              <a:custGeom>
                <a:avLst/>
                <a:gdLst>
                  <a:gd name="T0" fmla="*/ 345 w 345"/>
                  <a:gd name="T1" fmla="*/ 0 h 216"/>
                  <a:gd name="T2" fmla="*/ 345 w 345"/>
                  <a:gd name="T3" fmla="*/ 17 h 216"/>
                  <a:gd name="T4" fmla="*/ 0 w 345"/>
                  <a:gd name="T5" fmla="*/ 216 h 216"/>
                  <a:gd name="T6" fmla="*/ 0 w 345"/>
                  <a:gd name="T7" fmla="*/ 200 h 216"/>
                  <a:gd name="T8" fmla="*/ 345 w 345"/>
                  <a:gd name="T9" fmla="*/ 0 h 2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45" h="216">
                    <a:moveTo>
                      <a:pt x="345" y="0"/>
                    </a:moveTo>
                    <a:lnTo>
                      <a:pt x="345" y="17"/>
                    </a:lnTo>
                    <a:lnTo>
                      <a:pt x="0" y="216"/>
                    </a:lnTo>
                    <a:lnTo>
                      <a:pt x="0" y="200"/>
                    </a:lnTo>
                    <a:lnTo>
                      <a:pt x="345" y="0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124DC6C0-B59F-48EC-B164-6728137F5599}"/>
                  </a:ext>
                </a:extLst>
              </p:cNvPr>
              <p:cNvSpPr/>
              <p:nvPr/>
            </p:nvSpPr>
            <p:spPr bwMode="auto">
              <a:xfrm>
                <a:off x="4867236" y="2075906"/>
                <a:ext cx="1642761" cy="994650"/>
              </a:xfrm>
              <a:custGeom>
                <a:avLst/>
                <a:gdLst>
                  <a:gd name="T0" fmla="*/ 621 w 621"/>
                  <a:gd name="T1" fmla="*/ 360 h 376"/>
                  <a:gd name="T2" fmla="*/ 0 w 621"/>
                  <a:gd name="T3" fmla="*/ 0 h 376"/>
                  <a:gd name="T4" fmla="*/ 0 w 621"/>
                  <a:gd name="T5" fmla="*/ 17 h 376"/>
                  <a:gd name="T6" fmla="*/ 621 w 621"/>
                  <a:gd name="T7" fmla="*/ 376 h 376"/>
                  <a:gd name="T8" fmla="*/ 621 w 621"/>
                  <a:gd name="T9" fmla="*/ 360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21" h="376">
                    <a:moveTo>
                      <a:pt x="621" y="360"/>
                    </a:moveTo>
                    <a:lnTo>
                      <a:pt x="0" y="0"/>
                    </a:lnTo>
                    <a:lnTo>
                      <a:pt x="0" y="17"/>
                    </a:lnTo>
                    <a:lnTo>
                      <a:pt x="621" y="376"/>
                    </a:lnTo>
                    <a:lnTo>
                      <a:pt x="621" y="360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750302A0-83DE-4E03-A61B-E7A203A1CB85}"/>
                  </a:ext>
                </a:extLst>
              </p:cNvPr>
              <p:cNvSpPr/>
              <p:nvPr/>
            </p:nvSpPr>
            <p:spPr bwMode="auto">
              <a:xfrm>
                <a:off x="6790404" y="2671108"/>
                <a:ext cx="203693" cy="113751"/>
              </a:xfrm>
              <a:custGeom>
                <a:avLst/>
                <a:gdLst>
                  <a:gd name="T0" fmla="*/ 35 w 37"/>
                  <a:gd name="T1" fmla="*/ 1 h 21"/>
                  <a:gd name="T2" fmla="*/ 35 w 37"/>
                  <a:gd name="T3" fmla="*/ 1 h 21"/>
                  <a:gd name="T4" fmla="*/ 26 w 37"/>
                  <a:gd name="T5" fmla="*/ 1 h 21"/>
                  <a:gd name="T6" fmla="*/ 2 w 37"/>
                  <a:gd name="T7" fmla="*/ 15 h 21"/>
                  <a:gd name="T8" fmla="*/ 2 w 37"/>
                  <a:gd name="T9" fmla="*/ 20 h 21"/>
                  <a:gd name="T10" fmla="*/ 10 w 37"/>
                  <a:gd name="T11" fmla="*/ 20 h 21"/>
                  <a:gd name="T12" fmla="*/ 35 w 37"/>
                  <a:gd name="T13" fmla="*/ 6 h 21"/>
                  <a:gd name="T14" fmla="*/ 35 w 37"/>
                  <a:gd name="T15" fmla="*/ 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7" h="21">
                    <a:moveTo>
                      <a:pt x="35" y="1"/>
                    </a:moveTo>
                    <a:cubicBezTo>
                      <a:pt x="35" y="1"/>
                      <a:pt x="35" y="1"/>
                      <a:pt x="35" y="1"/>
                    </a:cubicBezTo>
                    <a:cubicBezTo>
                      <a:pt x="32" y="0"/>
                      <a:pt x="29" y="0"/>
                      <a:pt x="26" y="1"/>
                    </a:cubicBezTo>
                    <a:cubicBezTo>
                      <a:pt x="2" y="15"/>
                      <a:pt x="2" y="15"/>
                      <a:pt x="2" y="15"/>
                    </a:cubicBezTo>
                    <a:cubicBezTo>
                      <a:pt x="0" y="16"/>
                      <a:pt x="0" y="19"/>
                      <a:pt x="2" y="20"/>
                    </a:cubicBezTo>
                    <a:cubicBezTo>
                      <a:pt x="4" y="21"/>
                      <a:pt x="7" y="21"/>
                      <a:pt x="10" y="20"/>
                    </a:cubicBezTo>
                    <a:cubicBezTo>
                      <a:pt x="35" y="6"/>
                      <a:pt x="35" y="6"/>
                      <a:pt x="35" y="6"/>
                    </a:cubicBezTo>
                    <a:cubicBezTo>
                      <a:pt x="37" y="5"/>
                      <a:pt x="37" y="2"/>
                      <a:pt x="35" y="1"/>
                    </a:cubicBez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DF35C90C-5D28-4FAE-9214-3941E35856FD}"/>
                  </a:ext>
                </a:extLst>
              </p:cNvPr>
              <p:cNvSpPr/>
              <p:nvPr/>
            </p:nvSpPr>
            <p:spPr bwMode="auto">
              <a:xfrm>
                <a:off x="5443922" y="1866923"/>
                <a:ext cx="1232732" cy="738052"/>
              </a:xfrm>
              <a:custGeom>
                <a:avLst/>
                <a:gdLst>
                  <a:gd name="T0" fmla="*/ 193 w 466"/>
                  <a:gd name="T1" fmla="*/ 266 h 279"/>
                  <a:gd name="T2" fmla="*/ 189 w 466"/>
                  <a:gd name="T3" fmla="*/ 268 h 279"/>
                  <a:gd name="T4" fmla="*/ 208 w 466"/>
                  <a:gd name="T5" fmla="*/ 279 h 279"/>
                  <a:gd name="T6" fmla="*/ 220 w 466"/>
                  <a:gd name="T7" fmla="*/ 270 h 279"/>
                  <a:gd name="T8" fmla="*/ 224 w 466"/>
                  <a:gd name="T9" fmla="*/ 254 h 279"/>
                  <a:gd name="T10" fmla="*/ 224 w 466"/>
                  <a:gd name="T11" fmla="*/ 254 h 279"/>
                  <a:gd name="T12" fmla="*/ 466 w 466"/>
                  <a:gd name="T13" fmla="*/ 114 h 279"/>
                  <a:gd name="T14" fmla="*/ 270 w 466"/>
                  <a:gd name="T15" fmla="*/ 0 h 279"/>
                  <a:gd name="T16" fmla="*/ 0 w 466"/>
                  <a:gd name="T17" fmla="*/ 156 h 279"/>
                  <a:gd name="T18" fmla="*/ 193 w 466"/>
                  <a:gd name="T19" fmla="*/ 266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6" h="279">
                    <a:moveTo>
                      <a:pt x="193" y="266"/>
                    </a:moveTo>
                    <a:lnTo>
                      <a:pt x="189" y="268"/>
                    </a:lnTo>
                    <a:lnTo>
                      <a:pt x="208" y="279"/>
                    </a:lnTo>
                    <a:lnTo>
                      <a:pt x="220" y="270"/>
                    </a:lnTo>
                    <a:lnTo>
                      <a:pt x="224" y="254"/>
                    </a:lnTo>
                    <a:lnTo>
                      <a:pt x="224" y="254"/>
                    </a:lnTo>
                    <a:lnTo>
                      <a:pt x="466" y="114"/>
                    </a:lnTo>
                    <a:lnTo>
                      <a:pt x="270" y="0"/>
                    </a:lnTo>
                    <a:lnTo>
                      <a:pt x="0" y="156"/>
                    </a:lnTo>
                    <a:lnTo>
                      <a:pt x="193" y="266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374C1A11-015F-4261-9499-88C026F235EF}"/>
                  </a:ext>
                </a:extLst>
              </p:cNvPr>
              <p:cNvSpPr/>
              <p:nvPr/>
            </p:nvSpPr>
            <p:spPr bwMode="auto">
              <a:xfrm>
                <a:off x="5443922" y="1687039"/>
                <a:ext cx="1325320" cy="933808"/>
              </a:xfrm>
              <a:custGeom>
                <a:avLst/>
                <a:gdLst>
                  <a:gd name="T0" fmla="*/ 94 w 241"/>
                  <a:gd name="T1" fmla="*/ 129 h 170"/>
                  <a:gd name="T2" fmla="*/ 105 w 241"/>
                  <a:gd name="T3" fmla="*/ 139 h 170"/>
                  <a:gd name="T4" fmla="*/ 111 w 241"/>
                  <a:gd name="T5" fmla="*/ 156 h 170"/>
                  <a:gd name="T6" fmla="*/ 112 w 241"/>
                  <a:gd name="T7" fmla="*/ 159 h 170"/>
                  <a:gd name="T8" fmla="*/ 106 w 241"/>
                  <a:gd name="T9" fmla="*/ 170 h 170"/>
                  <a:gd name="T10" fmla="*/ 236 w 241"/>
                  <a:gd name="T11" fmla="*/ 96 h 170"/>
                  <a:gd name="T12" fmla="*/ 241 w 241"/>
                  <a:gd name="T13" fmla="*/ 84 h 170"/>
                  <a:gd name="T14" fmla="*/ 227 w 241"/>
                  <a:gd name="T15" fmla="*/ 56 h 170"/>
                  <a:gd name="T16" fmla="*/ 224 w 241"/>
                  <a:gd name="T17" fmla="*/ 54 h 170"/>
                  <a:gd name="T18" fmla="*/ 129 w 241"/>
                  <a:gd name="T19" fmla="*/ 0 h 170"/>
                  <a:gd name="T20" fmla="*/ 0 w 241"/>
                  <a:gd name="T21" fmla="*/ 74 h 170"/>
                  <a:gd name="T22" fmla="*/ 94 w 241"/>
                  <a:gd name="T23" fmla="*/ 129 h 1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41" h="170">
                    <a:moveTo>
                      <a:pt x="94" y="129"/>
                    </a:moveTo>
                    <a:cubicBezTo>
                      <a:pt x="99" y="131"/>
                      <a:pt x="102" y="135"/>
                      <a:pt x="105" y="139"/>
                    </a:cubicBezTo>
                    <a:cubicBezTo>
                      <a:pt x="108" y="145"/>
                      <a:pt x="111" y="151"/>
                      <a:pt x="111" y="156"/>
                    </a:cubicBezTo>
                    <a:cubicBezTo>
                      <a:pt x="112" y="157"/>
                      <a:pt x="112" y="158"/>
                      <a:pt x="112" y="159"/>
                    </a:cubicBezTo>
                    <a:cubicBezTo>
                      <a:pt x="112" y="164"/>
                      <a:pt x="110" y="168"/>
                      <a:pt x="106" y="170"/>
                    </a:cubicBezTo>
                    <a:cubicBezTo>
                      <a:pt x="236" y="96"/>
                      <a:pt x="236" y="96"/>
                      <a:pt x="236" y="96"/>
                    </a:cubicBezTo>
                    <a:cubicBezTo>
                      <a:pt x="239" y="94"/>
                      <a:pt x="241" y="90"/>
                      <a:pt x="241" y="84"/>
                    </a:cubicBezTo>
                    <a:cubicBezTo>
                      <a:pt x="241" y="74"/>
                      <a:pt x="235" y="63"/>
                      <a:pt x="227" y="56"/>
                    </a:cubicBezTo>
                    <a:cubicBezTo>
                      <a:pt x="226" y="55"/>
                      <a:pt x="225" y="55"/>
                      <a:pt x="224" y="54"/>
                    </a:cubicBezTo>
                    <a:cubicBezTo>
                      <a:pt x="129" y="0"/>
                      <a:pt x="129" y="0"/>
                      <a:pt x="129" y="0"/>
                    </a:cubicBezTo>
                    <a:cubicBezTo>
                      <a:pt x="0" y="74"/>
                      <a:pt x="0" y="74"/>
                      <a:pt x="0" y="74"/>
                    </a:cubicBezTo>
                    <a:lnTo>
                      <a:pt x="94" y="12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161EE3CA-C61E-4F9A-84A9-1E5E3D258EA6}"/>
                  </a:ext>
                </a:extLst>
              </p:cNvPr>
              <p:cNvSpPr/>
              <p:nvPr/>
            </p:nvSpPr>
            <p:spPr bwMode="auto">
              <a:xfrm>
                <a:off x="5499475" y="2152620"/>
                <a:ext cx="576686" cy="417965"/>
              </a:xfrm>
              <a:custGeom>
                <a:avLst/>
                <a:gdLst>
                  <a:gd name="T0" fmla="*/ 0 w 105"/>
                  <a:gd name="T1" fmla="*/ 21 h 76"/>
                  <a:gd name="T2" fmla="*/ 95 w 105"/>
                  <a:gd name="T3" fmla="*/ 76 h 76"/>
                  <a:gd name="T4" fmla="*/ 82 w 105"/>
                  <a:gd name="T5" fmla="*/ 47 h 76"/>
                  <a:gd name="T6" fmla="*/ 0 w 105"/>
                  <a:gd name="T7" fmla="*/ 0 h 76"/>
                  <a:gd name="T8" fmla="*/ 0 w 105"/>
                  <a:gd name="T9" fmla="*/ 21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5" h="76">
                    <a:moveTo>
                      <a:pt x="0" y="21"/>
                    </a:moveTo>
                    <a:cubicBezTo>
                      <a:pt x="95" y="76"/>
                      <a:pt x="95" y="76"/>
                      <a:pt x="95" y="76"/>
                    </a:cubicBezTo>
                    <a:cubicBezTo>
                      <a:pt x="95" y="76"/>
                      <a:pt x="105" y="61"/>
                      <a:pt x="82" y="47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C94F2EA1-F19A-4766-B1CD-3E7E603ED776}"/>
                  </a:ext>
                </a:extLst>
              </p:cNvPr>
              <p:cNvSpPr/>
              <p:nvPr/>
            </p:nvSpPr>
            <p:spPr bwMode="auto">
              <a:xfrm>
                <a:off x="5499475" y="2163201"/>
                <a:ext cx="531716" cy="314797"/>
              </a:xfrm>
              <a:custGeom>
                <a:avLst/>
                <a:gdLst>
                  <a:gd name="T0" fmla="*/ 199 w 201"/>
                  <a:gd name="T1" fmla="*/ 119 h 119"/>
                  <a:gd name="T2" fmla="*/ 201 w 201"/>
                  <a:gd name="T3" fmla="*/ 117 h 119"/>
                  <a:gd name="T4" fmla="*/ 0 w 201"/>
                  <a:gd name="T5" fmla="*/ 0 h 119"/>
                  <a:gd name="T6" fmla="*/ 0 w 201"/>
                  <a:gd name="T7" fmla="*/ 2 h 119"/>
                  <a:gd name="T8" fmla="*/ 199 w 201"/>
                  <a:gd name="T9" fmla="*/ 11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9">
                    <a:moveTo>
                      <a:pt x="199" y="119"/>
                    </a:moveTo>
                    <a:lnTo>
                      <a:pt x="201" y="117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99" y="119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D8F7A111-09BD-4357-9DFE-8B08A21DFC23}"/>
                  </a:ext>
                </a:extLst>
              </p:cNvPr>
              <p:cNvSpPr/>
              <p:nvPr/>
            </p:nvSpPr>
            <p:spPr bwMode="auto">
              <a:xfrm>
                <a:off x="5499475" y="2187010"/>
                <a:ext cx="531716" cy="306860"/>
              </a:xfrm>
              <a:custGeom>
                <a:avLst/>
                <a:gdLst>
                  <a:gd name="T0" fmla="*/ 199 w 201"/>
                  <a:gd name="T1" fmla="*/ 116 h 116"/>
                  <a:gd name="T2" fmla="*/ 201 w 201"/>
                  <a:gd name="T3" fmla="*/ 114 h 116"/>
                  <a:gd name="T4" fmla="*/ 0 w 201"/>
                  <a:gd name="T5" fmla="*/ 0 h 116"/>
                  <a:gd name="T6" fmla="*/ 0 w 201"/>
                  <a:gd name="T7" fmla="*/ 0 h 116"/>
                  <a:gd name="T8" fmla="*/ 199 w 201"/>
                  <a:gd name="T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6">
                    <a:moveTo>
                      <a:pt x="199" y="116"/>
                    </a:moveTo>
                    <a:lnTo>
                      <a:pt x="201" y="11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99" y="116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F6918E08-8C35-4BF8-B0B4-633275C2FC91}"/>
                  </a:ext>
                </a:extLst>
              </p:cNvPr>
              <p:cNvSpPr/>
              <p:nvPr/>
            </p:nvSpPr>
            <p:spPr bwMode="auto">
              <a:xfrm>
                <a:off x="5499475" y="2202882"/>
                <a:ext cx="531716" cy="306860"/>
              </a:xfrm>
              <a:custGeom>
                <a:avLst/>
                <a:gdLst>
                  <a:gd name="T0" fmla="*/ 199 w 201"/>
                  <a:gd name="T1" fmla="*/ 116 h 116"/>
                  <a:gd name="T2" fmla="*/ 201 w 201"/>
                  <a:gd name="T3" fmla="*/ 116 h 116"/>
                  <a:gd name="T4" fmla="*/ 0 w 201"/>
                  <a:gd name="T5" fmla="*/ 0 h 116"/>
                  <a:gd name="T6" fmla="*/ 0 w 201"/>
                  <a:gd name="T7" fmla="*/ 0 h 116"/>
                  <a:gd name="T8" fmla="*/ 199 w 201"/>
                  <a:gd name="T9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6">
                    <a:moveTo>
                      <a:pt x="199" y="116"/>
                    </a:moveTo>
                    <a:lnTo>
                      <a:pt x="201" y="116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99" y="116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6DBE5D4D-0225-4976-A724-5807AC97797A}"/>
                  </a:ext>
                </a:extLst>
              </p:cNvPr>
              <p:cNvSpPr/>
              <p:nvPr/>
            </p:nvSpPr>
            <p:spPr bwMode="auto">
              <a:xfrm>
                <a:off x="5499475" y="2218754"/>
                <a:ext cx="531716" cy="309506"/>
              </a:xfrm>
              <a:custGeom>
                <a:avLst/>
                <a:gdLst>
                  <a:gd name="T0" fmla="*/ 199 w 201"/>
                  <a:gd name="T1" fmla="*/ 117 h 117"/>
                  <a:gd name="T2" fmla="*/ 201 w 201"/>
                  <a:gd name="T3" fmla="*/ 117 h 117"/>
                  <a:gd name="T4" fmla="*/ 0 w 201"/>
                  <a:gd name="T5" fmla="*/ 0 h 117"/>
                  <a:gd name="T6" fmla="*/ 0 w 201"/>
                  <a:gd name="T7" fmla="*/ 2 h 117"/>
                  <a:gd name="T8" fmla="*/ 199 w 201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7">
                    <a:moveTo>
                      <a:pt x="199" y="117"/>
                    </a:moveTo>
                    <a:lnTo>
                      <a:pt x="201" y="117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99" y="11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C4476EF-8087-420E-8F24-B963352B72F4}"/>
                  </a:ext>
                </a:extLst>
              </p:cNvPr>
              <p:cNvSpPr/>
              <p:nvPr/>
            </p:nvSpPr>
            <p:spPr bwMode="auto">
              <a:xfrm>
                <a:off x="5499475" y="2234627"/>
                <a:ext cx="531716" cy="309506"/>
              </a:xfrm>
              <a:custGeom>
                <a:avLst/>
                <a:gdLst>
                  <a:gd name="T0" fmla="*/ 199 w 201"/>
                  <a:gd name="T1" fmla="*/ 117 h 117"/>
                  <a:gd name="T2" fmla="*/ 201 w 201"/>
                  <a:gd name="T3" fmla="*/ 117 h 117"/>
                  <a:gd name="T4" fmla="*/ 0 w 201"/>
                  <a:gd name="T5" fmla="*/ 0 h 117"/>
                  <a:gd name="T6" fmla="*/ 0 w 201"/>
                  <a:gd name="T7" fmla="*/ 3 h 117"/>
                  <a:gd name="T8" fmla="*/ 199 w 201"/>
                  <a:gd name="T9" fmla="*/ 117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7">
                    <a:moveTo>
                      <a:pt x="199" y="117"/>
                    </a:moveTo>
                    <a:lnTo>
                      <a:pt x="201" y="117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99" y="117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246D4FD6-264F-4D55-9BB8-1FBE119C0B2F}"/>
                  </a:ext>
                </a:extLst>
              </p:cNvPr>
              <p:cNvSpPr/>
              <p:nvPr/>
            </p:nvSpPr>
            <p:spPr bwMode="auto">
              <a:xfrm>
                <a:off x="5499475" y="2253143"/>
                <a:ext cx="531716" cy="312151"/>
              </a:xfrm>
              <a:custGeom>
                <a:avLst/>
                <a:gdLst>
                  <a:gd name="T0" fmla="*/ 199 w 201"/>
                  <a:gd name="T1" fmla="*/ 118 h 118"/>
                  <a:gd name="T2" fmla="*/ 201 w 201"/>
                  <a:gd name="T3" fmla="*/ 116 h 118"/>
                  <a:gd name="T4" fmla="*/ 0 w 201"/>
                  <a:gd name="T5" fmla="*/ 0 h 118"/>
                  <a:gd name="T6" fmla="*/ 0 w 201"/>
                  <a:gd name="T7" fmla="*/ 2 h 118"/>
                  <a:gd name="T8" fmla="*/ 199 w 201"/>
                  <a:gd name="T9" fmla="*/ 11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118">
                    <a:moveTo>
                      <a:pt x="199" y="118"/>
                    </a:moveTo>
                    <a:lnTo>
                      <a:pt x="201" y="116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199" y="118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1BA04699-60E4-46E5-BC0A-873040400D9A}"/>
                  </a:ext>
                </a:extLst>
              </p:cNvPr>
              <p:cNvSpPr/>
              <p:nvPr/>
            </p:nvSpPr>
            <p:spPr bwMode="auto">
              <a:xfrm>
                <a:off x="5443922" y="2091778"/>
                <a:ext cx="616367" cy="550232"/>
              </a:xfrm>
              <a:custGeom>
                <a:avLst/>
                <a:gdLst>
                  <a:gd name="T0" fmla="*/ 0 w 112"/>
                  <a:gd name="T1" fmla="*/ 0 h 100"/>
                  <a:gd name="T2" fmla="*/ 94 w 112"/>
                  <a:gd name="T3" fmla="*/ 55 h 100"/>
                  <a:gd name="T4" fmla="*/ 112 w 112"/>
                  <a:gd name="T5" fmla="*/ 85 h 100"/>
                  <a:gd name="T6" fmla="*/ 94 w 112"/>
                  <a:gd name="T7" fmla="*/ 95 h 100"/>
                  <a:gd name="T8" fmla="*/ 0 w 112"/>
                  <a:gd name="T9" fmla="*/ 40 h 100"/>
                  <a:gd name="T10" fmla="*/ 0 w 112"/>
                  <a:gd name="T11" fmla="*/ 34 h 100"/>
                  <a:gd name="T12" fmla="*/ 94 w 112"/>
                  <a:gd name="T13" fmla="*/ 88 h 100"/>
                  <a:gd name="T14" fmla="*/ 106 w 112"/>
                  <a:gd name="T15" fmla="*/ 82 h 100"/>
                  <a:gd name="T16" fmla="*/ 94 w 112"/>
                  <a:gd name="T17" fmla="*/ 61 h 100"/>
                  <a:gd name="T18" fmla="*/ 0 w 112"/>
                  <a:gd name="T19" fmla="*/ 7 h 100"/>
                  <a:gd name="T20" fmla="*/ 0 w 112"/>
                  <a:gd name="T21" fmla="*/ 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2" h="100">
                    <a:moveTo>
                      <a:pt x="0" y="0"/>
                    </a:moveTo>
                    <a:cubicBezTo>
                      <a:pt x="94" y="55"/>
                      <a:pt x="94" y="55"/>
                      <a:pt x="94" y="55"/>
                    </a:cubicBezTo>
                    <a:cubicBezTo>
                      <a:pt x="104" y="60"/>
                      <a:pt x="112" y="74"/>
                      <a:pt x="112" y="85"/>
                    </a:cubicBezTo>
                    <a:cubicBezTo>
                      <a:pt x="112" y="96"/>
                      <a:pt x="104" y="100"/>
                      <a:pt x="94" y="95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94" y="88"/>
                      <a:pt x="94" y="88"/>
                      <a:pt x="94" y="88"/>
                    </a:cubicBezTo>
                    <a:cubicBezTo>
                      <a:pt x="101" y="92"/>
                      <a:pt x="106" y="89"/>
                      <a:pt x="106" y="82"/>
                    </a:cubicBezTo>
                    <a:cubicBezTo>
                      <a:pt x="106" y="74"/>
                      <a:pt x="101" y="65"/>
                      <a:pt x="94" y="61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94DB31B2-05CC-4E56-8E51-4B5EDA60D33E}"/>
                  </a:ext>
                </a:extLst>
              </p:cNvPr>
              <p:cNvSpPr/>
              <p:nvPr/>
            </p:nvSpPr>
            <p:spPr bwMode="auto">
              <a:xfrm>
                <a:off x="5351335" y="4604857"/>
                <a:ext cx="1372936" cy="825348"/>
              </a:xfrm>
              <a:custGeom>
                <a:avLst/>
                <a:gdLst>
                  <a:gd name="T0" fmla="*/ 214 w 519"/>
                  <a:gd name="T1" fmla="*/ 297 h 312"/>
                  <a:gd name="T2" fmla="*/ 212 w 519"/>
                  <a:gd name="T3" fmla="*/ 300 h 312"/>
                  <a:gd name="T4" fmla="*/ 232 w 519"/>
                  <a:gd name="T5" fmla="*/ 312 h 312"/>
                  <a:gd name="T6" fmla="*/ 247 w 519"/>
                  <a:gd name="T7" fmla="*/ 300 h 312"/>
                  <a:gd name="T8" fmla="*/ 251 w 519"/>
                  <a:gd name="T9" fmla="*/ 283 h 312"/>
                  <a:gd name="T10" fmla="*/ 249 w 519"/>
                  <a:gd name="T11" fmla="*/ 281 h 312"/>
                  <a:gd name="T12" fmla="*/ 519 w 519"/>
                  <a:gd name="T13" fmla="*/ 127 h 312"/>
                  <a:gd name="T14" fmla="*/ 301 w 519"/>
                  <a:gd name="T15" fmla="*/ 0 h 312"/>
                  <a:gd name="T16" fmla="*/ 0 w 519"/>
                  <a:gd name="T17" fmla="*/ 173 h 312"/>
                  <a:gd name="T18" fmla="*/ 214 w 519"/>
                  <a:gd name="T19" fmla="*/ 297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19" h="312">
                    <a:moveTo>
                      <a:pt x="214" y="297"/>
                    </a:moveTo>
                    <a:lnTo>
                      <a:pt x="212" y="300"/>
                    </a:lnTo>
                    <a:lnTo>
                      <a:pt x="232" y="312"/>
                    </a:lnTo>
                    <a:lnTo>
                      <a:pt x="247" y="300"/>
                    </a:lnTo>
                    <a:lnTo>
                      <a:pt x="251" y="283"/>
                    </a:lnTo>
                    <a:lnTo>
                      <a:pt x="249" y="281"/>
                    </a:lnTo>
                    <a:lnTo>
                      <a:pt x="519" y="127"/>
                    </a:lnTo>
                    <a:lnTo>
                      <a:pt x="301" y="0"/>
                    </a:lnTo>
                    <a:lnTo>
                      <a:pt x="0" y="173"/>
                    </a:lnTo>
                    <a:lnTo>
                      <a:pt x="214" y="297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64F565B6-CE06-48D3-BEBF-EC1A2AF441C1}"/>
                  </a:ext>
                </a:extLst>
              </p:cNvPr>
              <p:cNvSpPr/>
              <p:nvPr/>
            </p:nvSpPr>
            <p:spPr bwMode="auto">
              <a:xfrm>
                <a:off x="5351335" y="4395874"/>
                <a:ext cx="1484040" cy="1050203"/>
              </a:xfrm>
              <a:custGeom>
                <a:avLst/>
                <a:gdLst>
                  <a:gd name="T0" fmla="*/ 105 w 270"/>
                  <a:gd name="T1" fmla="*/ 144 h 191"/>
                  <a:gd name="T2" fmla="*/ 117 w 270"/>
                  <a:gd name="T3" fmla="*/ 156 h 191"/>
                  <a:gd name="T4" fmla="*/ 124 w 270"/>
                  <a:gd name="T5" fmla="*/ 175 h 191"/>
                  <a:gd name="T6" fmla="*/ 125 w 270"/>
                  <a:gd name="T7" fmla="*/ 178 h 191"/>
                  <a:gd name="T8" fmla="*/ 119 w 270"/>
                  <a:gd name="T9" fmla="*/ 191 h 191"/>
                  <a:gd name="T10" fmla="*/ 264 w 270"/>
                  <a:gd name="T11" fmla="*/ 107 h 191"/>
                  <a:gd name="T12" fmla="*/ 270 w 270"/>
                  <a:gd name="T13" fmla="*/ 95 h 191"/>
                  <a:gd name="T14" fmla="*/ 253 w 270"/>
                  <a:gd name="T15" fmla="*/ 63 h 191"/>
                  <a:gd name="T16" fmla="*/ 250 w 270"/>
                  <a:gd name="T17" fmla="*/ 61 h 191"/>
                  <a:gd name="T18" fmla="*/ 145 w 270"/>
                  <a:gd name="T19" fmla="*/ 0 h 191"/>
                  <a:gd name="T20" fmla="*/ 0 w 270"/>
                  <a:gd name="T21" fmla="*/ 84 h 191"/>
                  <a:gd name="T22" fmla="*/ 105 w 270"/>
                  <a:gd name="T23" fmla="*/ 14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0" h="191">
                    <a:moveTo>
                      <a:pt x="105" y="144"/>
                    </a:moveTo>
                    <a:cubicBezTo>
                      <a:pt x="110" y="147"/>
                      <a:pt x="114" y="151"/>
                      <a:pt x="117" y="156"/>
                    </a:cubicBezTo>
                    <a:cubicBezTo>
                      <a:pt x="121" y="162"/>
                      <a:pt x="124" y="169"/>
                      <a:pt x="124" y="175"/>
                    </a:cubicBezTo>
                    <a:cubicBezTo>
                      <a:pt x="125" y="176"/>
                      <a:pt x="125" y="177"/>
                      <a:pt x="125" y="178"/>
                    </a:cubicBezTo>
                    <a:cubicBezTo>
                      <a:pt x="125" y="184"/>
                      <a:pt x="122" y="189"/>
                      <a:pt x="119" y="191"/>
                    </a:cubicBezTo>
                    <a:cubicBezTo>
                      <a:pt x="264" y="107"/>
                      <a:pt x="264" y="107"/>
                      <a:pt x="264" y="107"/>
                    </a:cubicBezTo>
                    <a:cubicBezTo>
                      <a:pt x="267" y="105"/>
                      <a:pt x="270" y="101"/>
                      <a:pt x="270" y="95"/>
                    </a:cubicBezTo>
                    <a:cubicBezTo>
                      <a:pt x="270" y="83"/>
                      <a:pt x="263" y="70"/>
                      <a:pt x="253" y="63"/>
                    </a:cubicBezTo>
                    <a:cubicBezTo>
                      <a:pt x="252" y="62"/>
                      <a:pt x="251" y="62"/>
                      <a:pt x="250" y="61"/>
                    </a:cubicBezTo>
                    <a:cubicBezTo>
                      <a:pt x="145" y="0"/>
                      <a:pt x="145" y="0"/>
                      <a:pt x="145" y="0"/>
                    </a:cubicBezTo>
                    <a:cubicBezTo>
                      <a:pt x="0" y="84"/>
                      <a:pt x="0" y="84"/>
                      <a:pt x="0" y="84"/>
                    </a:cubicBezTo>
                    <a:lnTo>
                      <a:pt x="105" y="14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F4E37AA8-1B23-44F4-BA50-F93D4BB469A9}"/>
                  </a:ext>
                </a:extLst>
              </p:cNvPr>
              <p:cNvSpPr/>
              <p:nvPr/>
            </p:nvSpPr>
            <p:spPr bwMode="auto">
              <a:xfrm>
                <a:off x="5412177" y="4919652"/>
                <a:ext cx="642820" cy="465581"/>
              </a:xfrm>
              <a:custGeom>
                <a:avLst/>
                <a:gdLst>
                  <a:gd name="T0" fmla="*/ 0 w 117"/>
                  <a:gd name="T1" fmla="*/ 24 h 85"/>
                  <a:gd name="T2" fmla="*/ 106 w 117"/>
                  <a:gd name="T3" fmla="*/ 85 h 85"/>
                  <a:gd name="T4" fmla="*/ 92 w 117"/>
                  <a:gd name="T5" fmla="*/ 53 h 85"/>
                  <a:gd name="T6" fmla="*/ 0 w 117"/>
                  <a:gd name="T7" fmla="*/ 0 h 85"/>
                  <a:gd name="T8" fmla="*/ 0 w 117"/>
                  <a:gd name="T9" fmla="*/ 2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85">
                    <a:moveTo>
                      <a:pt x="0" y="24"/>
                    </a:moveTo>
                    <a:cubicBezTo>
                      <a:pt x="106" y="85"/>
                      <a:pt x="106" y="85"/>
                      <a:pt x="106" y="85"/>
                    </a:cubicBezTo>
                    <a:cubicBezTo>
                      <a:pt x="106" y="85"/>
                      <a:pt x="117" y="69"/>
                      <a:pt x="92" y="53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E3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9E56F5F1-493B-4DDF-8993-E6B21E6202B4}"/>
                  </a:ext>
                </a:extLst>
              </p:cNvPr>
              <p:cNvSpPr/>
              <p:nvPr/>
            </p:nvSpPr>
            <p:spPr bwMode="auto">
              <a:xfrm>
                <a:off x="5412177" y="4935524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29 h 131"/>
                  <a:gd name="T4" fmla="*/ 0 w 224"/>
                  <a:gd name="T5" fmla="*/ 0 h 131"/>
                  <a:gd name="T6" fmla="*/ 0 w 224"/>
                  <a:gd name="T7" fmla="*/ 2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29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AC617EF1-1AA1-48B4-AFD0-55867CE0C3A5}"/>
                  </a:ext>
                </a:extLst>
              </p:cNvPr>
              <p:cNvSpPr/>
              <p:nvPr/>
            </p:nvSpPr>
            <p:spPr bwMode="auto">
              <a:xfrm>
                <a:off x="5412177" y="4956687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29 h 131"/>
                  <a:gd name="T4" fmla="*/ 0 w 224"/>
                  <a:gd name="T5" fmla="*/ 0 h 131"/>
                  <a:gd name="T6" fmla="*/ 0 w 224"/>
                  <a:gd name="T7" fmla="*/ 0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2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CD98BF86-B0C3-48F2-9BC7-05EA1A7449BD}"/>
                  </a:ext>
                </a:extLst>
              </p:cNvPr>
              <p:cNvSpPr/>
              <p:nvPr/>
            </p:nvSpPr>
            <p:spPr bwMode="auto">
              <a:xfrm>
                <a:off x="5412177" y="4972559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31 h 131"/>
                  <a:gd name="T4" fmla="*/ 0 w 224"/>
                  <a:gd name="T5" fmla="*/ 0 h 131"/>
                  <a:gd name="T6" fmla="*/ 0 w 224"/>
                  <a:gd name="T7" fmla="*/ 3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31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8C8F0687-C4B4-4073-92B3-7C36B24D8DD5}"/>
                  </a:ext>
                </a:extLst>
              </p:cNvPr>
              <p:cNvSpPr/>
              <p:nvPr/>
            </p:nvSpPr>
            <p:spPr bwMode="auto">
              <a:xfrm>
                <a:off x="5412177" y="4996368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29 h 131"/>
                  <a:gd name="T4" fmla="*/ 0 w 224"/>
                  <a:gd name="T5" fmla="*/ 0 h 131"/>
                  <a:gd name="T6" fmla="*/ 0 w 224"/>
                  <a:gd name="T7" fmla="*/ 0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29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C96E24A0-889C-4021-AC50-A989B191C429}"/>
                  </a:ext>
                </a:extLst>
              </p:cNvPr>
              <p:cNvSpPr/>
              <p:nvPr/>
            </p:nvSpPr>
            <p:spPr bwMode="auto">
              <a:xfrm>
                <a:off x="5412177" y="5012240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31 h 131"/>
                  <a:gd name="T4" fmla="*/ 0 w 224"/>
                  <a:gd name="T5" fmla="*/ 0 h 131"/>
                  <a:gd name="T6" fmla="*/ 0 w 224"/>
                  <a:gd name="T7" fmla="*/ 2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31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0FFF1CEB-CA59-4095-8802-E0ED3D220CBF}"/>
                  </a:ext>
                </a:extLst>
              </p:cNvPr>
              <p:cNvSpPr/>
              <p:nvPr/>
            </p:nvSpPr>
            <p:spPr bwMode="auto">
              <a:xfrm>
                <a:off x="5412177" y="5033403"/>
                <a:ext cx="592558" cy="346541"/>
              </a:xfrm>
              <a:custGeom>
                <a:avLst/>
                <a:gdLst>
                  <a:gd name="T0" fmla="*/ 224 w 224"/>
                  <a:gd name="T1" fmla="*/ 131 h 131"/>
                  <a:gd name="T2" fmla="*/ 224 w 224"/>
                  <a:gd name="T3" fmla="*/ 129 h 131"/>
                  <a:gd name="T4" fmla="*/ 0 w 224"/>
                  <a:gd name="T5" fmla="*/ 0 h 131"/>
                  <a:gd name="T6" fmla="*/ 0 w 224"/>
                  <a:gd name="T7" fmla="*/ 2 h 131"/>
                  <a:gd name="T8" fmla="*/ 224 w 224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4" h="131">
                    <a:moveTo>
                      <a:pt x="224" y="131"/>
                    </a:moveTo>
                    <a:lnTo>
                      <a:pt x="224" y="129"/>
                    </a:lnTo>
                    <a:lnTo>
                      <a:pt x="0" y="0"/>
                    </a:lnTo>
                    <a:lnTo>
                      <a:pt x="0" y="2"/>
                    </a:lnTo>
                    <a:lnTo>
                      <a:pt x="224" y="131"/>
                    </a:lnTo>
                    <a:close/>
                  </a:path>
                </a:pathLst>
              </a:custGeom>
              <a:solidFill>
                <a:srgbClr val="C3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3503BE06-EA40-4CFE-9FEC-C49F85DEBD58}"/>
                  </a:ext>
                </a:extLst>
              </p:cNvPr>
              <p:cNvSpPr/>
              <p:nvPr/>
            </p:nvSpPr>
            <p:spPr bwMode="auto">
              <a:xfrm>
                <a:off x="5351335" y="4858810"/>
                <a:ext cx="685146" cy="611076"/>
              </a:xfrm>
              <a:custGeom>
                <a:avLst/>
                <a:gdLst>
                  <a:gd name="T0" fmla="*/ 0 w 125"/>
                  <a:gd name="T1" fmla="*/ 0 h 111"/>
                  <a:gd name="T2" fmla="*/ 105 w 125"/>
                  <a:gd name="T3" fmla="*/ 60 h 111"/>
                  <a:gd name="T4" fmla="*/ 125 w 125"/>
                  <a:gd name="T5" fmla="*/ 94 h 111"/>
                  <a:gd name="T6" fmla="*/ 105 w 125"/>
                  <a:gd name="T7" fmla="*/ 105 h 111"/>
                  <a:gd name="T8" fmla="*/ 0 w 125"/>
                  <a:gd name="T9" fmla="*/ 44 h 111"/>
                  <a:gd name="T10" fmla="*/ 0 w 125"/>
                  <a:gd name="T11" fmla="*/ 37 h 111"/>
                  <a:gd name="T12" fmla="*/ 105 w 125"/>
                  <a:gd name="T13" fmla="*/ 98 h 111"/>
                  <a:gd name="T14" fmla="*/ 118 w 125"/>
                  <a:gd name="T15" fmla="*/ 90 h 111"/>
                  <a:gd name="T16" fmla="*/ 105 w 125"/>
                  <a:gd name="T17" fmla="*/ 68 h 111"/>
                  <a:gd name="T18" fmla="*/ 0 w 125"/>
                  <a:gd name="T19" fmla="*/ 7 h 111"/>
                  <a:gd name="T20" fmla="*/ 0 w 125"/>
                  <a:gd name="T21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111">
                    <a:moveTo>
                      <a:pt x="0" y="0"/>
                    </a:moveTo>
                    <a:cubicBezTo>
                      <a:pt x="105" y="60"/>
                      <a:pt x="105" y="60"/>
                      <a:pt x="105" y="60"/>
                    </a:cubicBezTo>
                    <a:cubicBezTo>
                      <a:pt x="116" y="66"/>
                      <a:pt x="125" y="82"/>
                      <a:pt x="125" y="94"/>
                    </a:cubicBezTo>
                    <a:cubicBezTo>
                      <a:pt x="125" y="106"/>
                      <a:pt x="116" y="111"/>
                      <a:pt x="105" y="105"/>
                    </a:cubicBezTo>
                    <a:cubicBezTo>
                      <a:pt x="0" y="44"/>
                      <a:pt x="0" y="44"/>
                      <a:pt x="0" y="44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105" y="98"/>
                      <a:pt x="105" y="98"/>
                      <a:pt x="105" y="98"/>
                    </a:cubicBezTo>
                    <a:cubicBezTo>
                      <a:pt x="112" y="102"/>
                      <a:pt x="118" y="99"/>
                      <a:pt x="118" y="90"/>
                    </a:cubicBezTo>
                    <a:cubicBezTo>
                      <a:pt x="118" y="82"/>
                      <a:pt x="112" y="72"/>
                      <a:pt x="105" y="68"/>
                    </a:cubicBezTo>
                    <a:cubicBezTo>
                      <a:pt x="0" y="7"/>
                      <a:pt x="0" y="7"/>
                      <a:pt x="0" y="7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90390084-4F08-4EFB-B641-C4D6FE3F3006}"/>
                  </a:ext>
                </a:extLst>
              </p:cNvPr>
              <p:cNvSpPr/>
              <p:nvPr/>
            </p:nvSpPr>
            <p:spPr bwMode="auto">
              <a:xfrm>
                <a:off x="5454503" y="4348257"/>
                <a:ext cx="1380871" cy="822704"/>
              </a:xfrm>
              <a:custGeom>
                <a:avLst/>
                <a:gdLst>
                  <a:gd name="T0" fmla="*/ 306 w 522"/>
                  <a:gd name="T1" fmla="*/ 297 h 311"/>
                  <a:gd name="T2" fmla="*/ 308 w 522"/>
                  <a:gd name="T3" fmla="*/ 299 h 311"/>
                  <a:gd name="T4" fmla="*/ 287 w 522"/>
                  <a:gd name="T5" fmla="*/ 311 h 311"/>
                  <a:gd name="T6" fmla="*/ 274 w 522"/>
                  <a:gd name="T7" fmla="*/ 301 h 311"/>
                  <a:gd name="T8" fmla="*/ 270 w 522"/>
                  <a:gd name="T9" fmla="*/ 282 h 311"/>
                  <a:gd name="T10" fmla="*/ 270 w 522"/>
                  <a:gd name="T11" fmla="*/ 280 h 311"/>
                  <a:gd name="T12" fmla="*/ 0 w 522"/>
                  <a:gd name="T13" fmla="*/ 126 h 311"/>
                  <a:gd name="T14" fmla="*/ 220 w 522"/>
                  <a:gd name="T15" fmla="*/ 0 h 311"/>
                  <a:gd name="T16" fmla="*/ 522 w 522"/>
                  <a:gd name="T17" fmla="*/ 172 h 311"/>
                  <a:gd name="T18" fmla="*/ 306 w 522"/>
                  <a:gd name="T19" fmla="*/ 297 h 3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22" h="311">
                    <a:moveTo>
                      <a:pt x="306" y="297"/>
                    </a:moveTo>
                    <a:lnTo>
                      <a:pt x="308" y="299"/>
                    </a:lnTo>
                    <a:lnTo>
                      <a:pt x="287" y="311"/>
                    </a:lnTo>
                    <a:lnTo>
                      <a:pt x="274" y="301"/>
                    </a:lnTo>
                    <a:lnTo>
                      <a:pt x="270" y="282"/>
                    </a:lnTo>
                    <a:lnTo>
                      <a:pt x="270" y="280"/>
                    </a:lnTo>
                    <a:lnTo>
                      <a:pt x="0" y="126"/>
                    </a:lnTo>
                    <a:lnTo>
                      <a:pt x="220" y="0"/>
                    </a:lnTo>
                    <a:lnTo>
                      <a:pt x="522" y="172"/>
                    </a:lnTo>
                    <a:lnTo>
                      <a:pt x="306" y="297"/>
                    </a:ln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D0BE770A-2EBC-4661-9805-2E187F787088}"/>
                  </a:ext>
                </a:extLst>
              </p:cNvPr>
              <p:cNvSpPr/>
              <p:nvPr/>
            </p:nvSpPr>
            <p:spPr bwMode="auto">
              <a:xfrm>
                <a:off x="5351335" y="4139276"/>
                <a:ext cx="1484040" cy="1050203"/>
              </a:xfrm>
              <a:custGeom>
                <a:avLst/>
                <a:gdLst>
                  <a:gd name="T0" fmla="*/ 164 w 270"/>
                  <a:gd name="T1" fmla="*/ 144 h 191"/>
                  <a:gd name="T2" fmla="*/ 152 w 270"/>
                  <a:gd name="T3" fmla="*/ 156 h 191"/>
                  <a:gd name="T4" fmla="*/ 145 w 270"/>
                  <a:gd name="T5" fmla="*/ 175 h 191"/>
                  <a:gd name="T6" fmla="*/ 145 w 270"/>
                  <a:gd name="T7" fmla="*/ 178 h 191"/>
                  <a:gd name="T8" fmla="*/ 151 w 270"/>
                  <a:gd name="T9" fmla="*/ 191 h 191"/>
                  <a:gd name="T10" fmla="*/ 5 w 270"/>
                  <a:gd name="T11" fmla="*/ 108 h 191"/>
                  <a:gd name="T12" fmla="*/ 0 w 270"/>
                  <a:gd name="T13" fmla="*/ 95 h 191"/>
                  <a:gd name="T14" fmla="*/ 16 w 270"/>
                  <a:gd name="T15" fmla="*/ 63 h 191"/>
                  <a:gd name="T16" fmla="*/ 19 w 270"/>
                  <a:gd name="T17" fmla="*/ 61 h 191"/>
                  <a:gd name="T18" fmla="*/ 125 w 270"/>
                  <a:gd name="T19" fmla="*/ 0 h 191"/>
                  <a:gd name="T20" fmla="*/ 270 w 270"/>
                  <a:gd name="T21" fmla="*/ 84 h 191"/>
                  <a:gd name="T22" fmla="*/ 164 w 270"/>
                  <a:gd name="T23" fmla="*/ 144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70" h="191">
                    <a:moveTo>
                      <a:pt x="164" y="144"/>
                    </a:moveTo>
                    <a:cubicBezTo>
                      <a:pt x="159" y="147"/>
                      <a:pt x="155" y="152"/>
                      <a:pt x="152" y="156"/>
                    </a:cubicBezTo>
                    <a:cubicBezTo>
                      <a:pt x="148" y="162"/>
                      <a:pt x="146" y="169"/>
                      <a:pt x="145" y="175"/>
                    </a:cubicBezTo>
                    <a:cubicBezTo>
                      <a:pt x="145" y="176"/>
                      <a:pt x="145" y="177"/>
                      <a:pt x="145" y="178"/>
                    </a:cubicBezTo>
                    <a:cubicBezTo>
                      <a:pt x="145" y="184"/>
                      <a:pt x="147" y="189"/>
                      <a:pt x="151" y="191"/>
                    </a:cubicBezTo>
                    <a:cubicBezTo>
                      <a:pt x="5" y="108"/>
                      <a:pt x="5" y="108"/>
                      <a:pt x="5" y="108"/>
                    </a:cubicBezTo>
                    <a:cubicBezTo>
                      <a:pt x="2" y="105"/>
                      <a:pt x="0" y="101"/>
                      <a:pt x="0" y="95"/>
                    </a:cubicBezTo>
                    <a:cubicBezTo>
                      <a:pt x="0" y="83"/>
                      <a:pt x="7" y="70"/>
                      <a:pt x="16" y="63"/>
                    </a:cubicBezTo>
                    <a:cubicBezTo>
                      <a:pt x="17" y="62"/>
                      <a:pt x="18" y="62"/>
                      <a:pt x="19" y="61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270" y="84"/>
                      <a:pt x="270" y="84"/>
                      <a:pt x="270" y="84"/>
                    </a:cubicBezTo>
                    <a:lnTo>
                      <a:pt x="164" y="144"/>
                    </a:ln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A09989E7-1336-4113-916F-D7B83438A913}"/>
                  </a:ext>
                </a:extLst>
              </p:cNvPr>
              <p:cNvSpPr/>
              <p:nvPr/>
            </p:nvSpPr>
            <p:spPr bwMode="auto">
              <a:xfrm>
                <a:off x="6126421" y="4660408"/>
                <a:ext cx="642820" cy="468227"/>
              </a:xfrm>
              <a:custGeom>
                <a:avLst/>
                <a:gdLst>
                  <a:gd name="T0" fmla="*/ 117 w 117"/>
                  <a:gd name="T1" fmla="*/ 24 h 85"/>
                  <a:gd name="T2" fmla="*/ 11 w 117"/>
                  <a:gd name="T3" fmla="*/ 85 h 85"/>
                  <a:gd name="T4" fmla="*/ 25 w 117"/>
                  <a:gd name="T5" fmla="*/ 53 h 85"/>
                  <a:gd name="T6" fmla="*/ 117 w 117"/>
                  <a:gd name="T7" fmla="*/ 0 h 85"/>
                  <a:gd name="T8" fmla="*/ 117 w 117"/>
                  <a:gd name="T9" fmla="*/ 24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7" h="85">
                    <a:moveTo>
                      <a:pt x="117" y="24"/>
                    </a:move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0" y="69"/>
                      <a:pt x="25" y="53"/>
                    </a:cubicBezTo>
                    <a:cubicBezTo>
                      <a:pt x="117" y="0"/>
                      <a:pt x="117" y="0"/>
                      <a:pt x="117" y="0"/>
                    </a:cubicBezTo>
                    <a:lnTo>
                      <a:pt x="117" y="24"/>
                    </a:lnTo>
                    <a:close/>
                  </a:path>
                </a:pathLst>
              </a:custGeom>
              <a:solidFill>
                <a:srgbClr val="FFF7D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B64ECD5B-9D89-42CE-8DC9-F07B986D300F}"/>
                  </a:ext>
                </a:extLst>
              </p:cNvPr>
              <p:cNvSpPr/>
              <p:nvPr/>
            </p:nvSpPr>
            <p:spPr bwMode="auto">
              <a:xfrm>
                <a:off x="6174037" y="4676280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31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31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0A5869B2-B461-4178-BFD0-DF33F233B98D}"/>
                  </a:ext>
                </a:extLst>
              </p:cNvPr>
              <p:cNvSpPr/>
              <p:nvPr/>
            </p:nvSpPr>
            <p:spPr bwMode="auto">
              <a:xfrm>
                <a:off x="6174037" y="4700089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28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28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C395F1D-1F0C-438B-BD22-DAC0B4A88EEF}"/>
                  </a:ext>
                </a:extLst>
              </p:cNvPr>
              <p:cNvSpPr/>
              <p:nvPr/>
            </p:nvSpPr>
            <p:spPr bwMode="auto">
              <a:xfrm>
                <a:off x="6174037" y="4715961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31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31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25DA47A1-55CF-4670-A57D-B7C5B303F3BA}"/>
                  </a:ext>
                </a:extLst>
              </p:cNvPr>
              <p:cNvSpPr/>
              <p:nvPr/>
            </p:nvSpPr>
            <p:spPr bwMode="auto">
              <a:xfrm>
                <a:off x="6174037" y="4737124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29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29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33F977C9-9C45-42C1-A0A5-5310CADE1002}"/>
                  </a:ext>
                </a:extLst>
              </p:cNvPr>
              <p:cNvSpPr/>
              <p:nvPr/>
            </p:nvSpPr>
            <p:spPr bwMode="auto">
              <a:xfrm>
                <a:off x="6174037" y="4752996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31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31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C516C251-03FB-4F98-A926-F0B96F41A66B}"/>
                  </a:ext>
                </a:extLst>
              </p:cNvPr>
              <p:cNvSpPr/>
              <p:nvPr/>
            </p:nvSpPr>
            <p:spPr bwMode="auto">
              <a:xfrm>
                <a:off x="6174037" y="4776804"/>
                <a:ext cx="595204" cy="346541"/>
              </a:xfrm>
              <a:custGeom>
                <a:avLst/>
                <a:gdLst>
                  <a:gd name="T0" fmla="*/ 0 w 225"/>
                  <a:gd name="T1" fmla="*/ 131 h 131"/>
                  <a:gd name="T2" fmla="*/ 0 w 225"/>
                  <a:gd name="T3" fmla="*/ 129 h 131"/>
                  <a:gd name="T4" fmla="*/ 225 w 225"/>
                  <a:gd name="T5" fmla="*/ 0 h 131"/>
                  <a:gd name="T6" fmla="*/ 225 w 225"/>
                  <a:gd name="T7" fmla="*/ 2 h 131"/>
                  <a:gd name="T8" fmla="*/ 0 w 225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5" h="131">
                    <a:moveTo>
                      <a:pt x="0" y="131"/>
                    </a:moveTo>
                    <a:lnTo>
                      <a:pt x="0" y="129"/>
                    </a:lnTo>
                    <a:lnTo>
                      <a:pt x="225" y="0"/>
                    </a:lnTo>
                    <a:lnTo>
                      <a:pt x="225" y="2"/>
                    </a:lnTo>
                    <a:lnTo>
                      <a:pt x="0" y="131"/>
                    </a:lnTo>
                    <a:close/>
                  </a:path>
                </a:pathLst>
              </a:custGeom>
              <a:solidFill>
                <a:srgbClr val="FFD89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55A8945C-9E07-4BFE-8D37-29BDDC70154E}"/>
                  </a:ext>
                </a:extLst>
              </p:cNvPr>
              <p:cNvSpPr/>
              <p:nvPr/>
            </p:nvSpPr>
            <p:spPr bwMode="auto">
              <a:xfrm>
                <a:off x="6147584" y="4599566"/>
                <a:ext cx="687790" cy="616367"/>
              </a:xfrm>
              <a:custGeom>
                <a:avLst/>
                <a:gdLst>
                  <a:gd name="T0" fmla="*/ 125 w 125"/>
                  <a:gd name="T1" fmla="*/ 0 h 112"/>
                  <a:gd name="T2" fmla="*/ 19 w 125"/>
                  <a:gd name="T3" fmla="*/ 60 h 112"/>
                  <a:gd name="T4" fmla="*/ 0 w 125"/>
                  <a:gd name="T5" fmla="*/ 94 h 112"/>
                  <a:gd name="T6" fmla="*/ 19 w 125"/>
                  <a:gd name="T7" fmla="*/ 105 h 112"/>
                  <a:gd name="T8" fmla="*/ 125 w 125"/>
                  <a:gd name="T9" fmla="*/ 44 h 112"/>
                  <a:gd name="T10" fmla="*/ 125 w 125"/>
                  <a:gd name="T11" fmla="*/ 37 h 112"/>
                  <a:gd name="T12" fmla="*/ 19 w 125"/>
                  <a:gd name="T13" fmla="*/ 98 h 112"/>
                  <a:gd name="T14" fmla="*/ 6 w 125"/>
                  <a:gd name="T15" fmla="*/ 90 h 112"/>
                  <a:gd name="T16" fmla="*/ 19 w 125"/>
                  <a:gd name="T17" fmla="*/ 68 h 112"/>
                  <a:gd name="T18" fmla="*/ 125 w 125"/>
                  <a:gd name="T19" fmla="*/ 7 h 112"/>
                  <a:gd name="T20" fmla="*/ 125 w 125"/>
                  <a:gd name="T21" fmla="*/ 0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112">
                    <a:moveTo>
                      <a:pt x="125" y="0"/>
                    </a:moveTo>
                    <a:cubicBezTo>
                      <a:pt x="19" y="60"/>
                      <a:pt x="19" y="60"/>
                      <a:pt x="19" y="60"/>
                    </a:cubicBezTo>
                    <a:cubicBezTo>
                      <a:pt x="8" y="67"/>
                      <a:pt x="0" y="82"/>
                      <a:pt x="0" y="94"/>
                    </a:cubicBezTo>
                    <a:cubicBezTo>
                      <a:pt x="0" y="106"/>
                      <a:pt x="8" y="112"/>
                      <a:pt x="19" y="105"/>
                    </a:cubicBezTo>
                    <a:cubicBezTo>
                      <a:pt x="125" y="44"/>
                      <a:pt x="125" y="44"/>
                      <a:pt x="125" y="44"/>
                    </a:cubicBezTo>
                    <a:cubicBezTo>
                      <a:pt x="125" y="37"/>
                      <a:pt x="125" y="37"/>
                      <a:pt x="125" y="37"/>
                    </a:cubicBezTo>
                    <a:cubicBezTo>
                      <a:pt x="19" y="98"/>
                      <a:pt x="19" y="98"/>
                      <a:pt x="19" y="98"/>
                    </a:cubicBezTo>
                    <a:cubicBezTo>
                      <a:pt x="12" y="102"/>
                      <a:pt x="6" y="99"/>
                      <a:pt x="6" y="90"/>
                    </a:cubicBezTo>
                    <a:cubicBezTo>
                      <a:pt x="6" y="82"/>
                      <a:pt x="12" y="72"/>
                      <a:pt x="19" y="68"/>
                    </a:cubicBezTo>
                    <a:cubicBezTo>
                      <a:pt x="125" y="7"/>
                      <a:pt x="125" y="7"/>
                      <a:pt x="125" y="7"/>
                    </a:cubicBezTo>
                    <a:lnTo>
                      <a:pt x="125" y="0"/>
                    </a:ln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7" name="任意多边形: 形状 146">
                <a:extLst>
                  <a:ext uri="{FF2B5EF4-FFF2-40B4-BE49-F238E27FC236}">
                    <a16:creationId xmlns:a16="http://schemas.microsoft.com/office/drawing/2014/main" id="{EA2C3F21-A6E0-4624-BCBC-7CCC3A66FD69}"/>
                  </a:ext>
                </a:extLst>
              </p:cNvPr>
              <p:cNvSpPr/>
              <p:nvPr/>
            </p:nvSpPr>
            <p:spPr bwMode="auto">
              <a:xfrm>
                <a:off x="7494066" y="2835119"/>
                <a:ext cx="941743" cy="984069"/>
              </a:xfrm>
              <a:custGeom>
                <a:avLst/>
                <a:gdLst>
                  <a:gd name="T0" fmla="*/ 86 w 171"/>
                  <a:gd name="T1" fmla="*/ 179 h 179"/>
                  <a:gd name="T2" fmla="*/ 0 w 171"/>
                  <a:gd name="T3" fmla="*/ 122 h 179"/>
                  <a:gd name="T4" fmla="*/ 0 w 171"/>
                  <a:gd name="T5" fmla="*/ 0 h 179"/>
                  <a:gd name="T6" fmla="*/ 171 w 171"/>
                  <a:gd name="T7" fmla="*/ 3 h 179"/>
                  <a:gd name="T8" fmla="*/ 171 w 171"/>
                  <a:gd name="T9" fmla="*/ 125 h 179"/>
                  <a:gd name="T10" fmla="*/ 86 w 171"/>
                  <a:gd name="T11" fmla="*/ 179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1" h="179">
                    <a:moveTo>
                      <a:pt x="86" y="179"/>
                    </a:moveTo>
                    <a:cubicBezTo>
                      <a:pt x="39" y="178"/>
                      <a:pt x="0" y="152"/>
                      <a:pt x="0" y="12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71" y="3"/>
                      <a:pt x="171" y="3"/>
                      <a:pt x="171" y="3"/>
                    </a:cubicBezTo>
                    <a:cubicBezTo>
                      <a:pt x="171" y="125"/>
                      <a:pt x="171" y="125"/>
                      <a:pt x="171" y="125"/>
                    </a:cubicBezTo>
                    <a:cubicBezTo>
                      <a:pt x="171" y="155"/>
                      <a:pt x="133" y="179"/>
                      <a:pt x="86" y="179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8" name="任意多边形: 形状 147">
                <a:extLst>
                  <a:ext uri="{FF2B5EF4-FFF2-40B4-BE49-F238E27FC236}">
                    <a16:creationId xmlns:a16="http://schemas.microsoft.com/office/drawing/2014/main" id="{5AFA9CB9-1B37-4372-B730-757820B6939B}"/>
                  </a:ext>
                </a:extLst>
              </p:cNvPr>
              <p:cNvSpPr/>
              <p:nvPr/>
            </p:nvSpPr>
            <p:spPr bwMode="auto">
              <a:xfrm>
                <a:off x="7494066" y="2544131"/>
                <a:ext cx="941743" cy="603139"/>
              </a:xfrm>
              <a:custGeom>
                <a:avLst/>
                <a:gdLst>
                  <a:gd name="T0" fmla="*/ 86 w 171"/>
                  <a:gd name="T1" fmla="*/ 0 h 110"/>
                  <a:gd name="T2" fmla="*/ 171 w 171"/>
                  <a:gd name="T3" fmla="*/ 56 h 110"/>
                  <a:gd name="T4" fmla="*/ 85 w 171"/>
                  <a:gd name="T5" fmla="*/ 109 h 110"/>
                  <a:gd name="T6" fmla="*/ 0 w 171"/>
                  <a:gd name="T7" fmla="*/ 54 h 110"/>
                  <a:gd name="T8" fmla="*/ 86 w 171"/>
                  <a:gd name="T9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1" h="110">
                    <a:moveTo>
                      <a:pt x="86" y="0"/>
                    </a:moveTo>
                    <a:cubicBezTo>
                      <a:pt x="133" y="1"/>
                      <a:pt x="171" y="26"/>
                      <a:pt x="171" y="56"/>
                    </a:cubicBezTo>
                    <a:cubicBezTo>
                      <a:pt x="171" y="86"/>
                      <a:pt x="132" y="110"/>
                      <a:pt x="85" y="109"/>
                    </a:cubicBezTo>
                    <a:cubicBezTo>
                      <a:pt x="38" y="109"/>
                      <a:pt x="0" y="84"/>
                      <a:pt x="0" y="54"/>
                    </a:cubicBezTo>
                    <a:cubicBezTo>
                      <a:pt x="0" y="24"/>
                      <a:pt x="39" y="0"/>
                      <a:pt x="86" y="0"/>
                    </a:cubicBezTo>
                    <a:close/>
                  </a:path>
                </a:pathLst>
              </a:cu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9" name="任意多边形: 形状 148">
                <a:extLst>
                  <a:ext uri="{FF2B5EF4-FFF2-40B4-BE49-F238E27FC236}">
                    <a16:creationId xmlns:a16="http://schemas.microsoft.com/office/drawing/2014/main" id="{C49A48FA-CEE1-4C80-A43F-383E8AF8FE94}"/>
                  </a:ext>
                </a:extLst>
              </p:cNvPr>
              <p:cNvSpPr/>
              <p:nvPr/>
            </p:nvSpPr>
            <p:spPr bwMode="auto">
              <a:xfrm>
                <a:off x="6896218" y="2813957"/>
                <a:ext cx="1071366" cy="658692"/>
              </a:xfrm>
              <a:custGeom>
                <a:avLst/>
                <a:gdLst>
                  <a:gd name="T0" fmla="*/ 0 w 405"/>
                  <a:gd name="T1" fmla="*/ 0 h 249"/>
                  <a:gd name="T2" fmla="*/ 0 w 405"/>
                  <a:gd name="T3" fmla="*/ 16 h 249"/>
                  <a:gd name="T4" fmla="*/ 405 w 405"/>
                  <a:gd name="T5" fmla="*/ 249 h 249"/>
                  <a:gd name="T6" fmla="*/ 405 w 405"/>
                  <a:gd name="T7" fmla="*/ 232 h 249"/>
                  <a:gd name="T8" fmla="*/ 0 w 405"/>
                  <a:gd name="T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5" h="249">
                    <a:moveTo>
                      <a:pt x="0" y="0"/>
                    </a:moveTo>
                    <a:lnTo>
                      <a:pt x="0" y="16"/>
                    </a:lnTo>
                    <a:lnTo>
                      <a:pt x="405" y="249"/>
                    </a:lnTo>
                    <a:lnTo>
                      <a:pt x="405" y="2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0" name="任意多边形: 形状 149">
                <a:extLst>
                  <a:ext uri="{FF2B5EF4-FFF2-40B4-BE49-F238E27FC236}">
                    <a16:creationId xmlns:a16="http://schemas.microsoft.com/office/drawing/2014/main" id="{84EA3417-3144-439B-930A-69C4CD1D6177}"/>
                  </a:ext>
                </a:extLst>
              </p:cNvPr>
              <p:cNvSpPr/>
              <p:nvPr/>
            </p:nvSpPr>
            <p:spPr bwMode="auto">
              <a:xfrm>
                <a:off x="6896218" y="2197592"/>
                <a:ext cx="2137440" cy="1230087"/>
              </a:xfrm>
              <a:custGeom>
                <a:avLst/>
                <a:gdLst>
                  <a:gd name="T0" fmla="*/ 0 w 808"/>
                  <a:gd name="T1" fmla="*/ 233 h 465"/>
                  <a:gd name="T2" fmla="*/ 405 w 808"/>
                  <a:gd name="T3" fmla="*/ 0 h 465"/>
                  <a:gd name="T4" fmla="*/ 808 w 808"/>
                  <a:gd name="T5" fmla="*/ 233 h 465"/>
                  <a:gd name="T6" fmla="*/ 405 w 808"/>
                  <a:gd name="T7" fmla="*/ 465 h 465"/>
                  <a:gd name="T8" fmla="*/ 0 w 808"/>
                  <a:gd name="T9" fmla="*/ 233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08" h="465">
                    <a:moveTo>
                      <a:pt x="0" y="233"/>
                    </a:moveTo>
                    <a:lnTo>
                      <a:pt x="405" y="0"/>
                    </a:lnTo>
                    <a:lnTo>
                      <a:pt x="808" y="233"/>
                    </a:lnTo>
                    <a:lnTo>
                      <a:pt x="405" y="465"/>
                    </a:lnTo>
                    <a:lnTo>
                      <a:pt x="0" y="23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1" name="任意多边形: 形状 150">
                <a:extLst>
                  <a:ext uri="{FF2B5EF4-FFF2-40B4-BE49-F238E27FC236}">
                    <a16:creationId xmlns:a16="http://schemas.microsoft.com/office/drawing/2014/main" id="{D54B2954-24A6-4B8A-8F9F-9400DAB3CF81}"/>
                  </a:ext>
                </a:extLst>
              </p:cNvPr>
              <p:cNvSpPr/>
              <p:nvPr/>
            </p:nvSpPr>
            <p:spPr bwMode="auto">
              <a:xfrm>
                <a:off x="7967582" y="2813957"/>
                <a:ext cx="1066076" cy="658692"/>
              </a:xfrm>
              <a:custGeom>
                <a:avLst/>
                <a:gdLst>
                  <a:gd name="T0" fmla="*/ 0 w 403"/>
                  <a:gd name="T1" fmla="*/ 232 h 249"/>
                  <a:gd name="T2" fmla="*/ 403 w 403"/>
                  <a:gd name="T3" fmla="*/ 0 h 249"/>
                  <a:gd name="T4" fmla="*/ 403 w 403"/>
                  <a:gd name="T5" fmla="*/ 16 h 249"/>
                  <a:gd name="T6" fmla="*/ 0 w 403"/>
                  <a:gd name="T7" fmla="*/ 249 h 249"/>
                  <a:gd name="T8" fmla="*/ 0 w 403"/>
                  <a:gd name="T9" fmla="*/ 23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3" h="249">
                    <a:moveTo>
                      <a:pt x="0" y="232"/>
                    </a:moveTo>
                    <a:lnTo>
                      <a:pt x="403" y="0"/>
                    </a:lnTo>
                    <a:lnTo>
                      <a:pt x="403" y="16"/>
                    </a:lnTo>
                    <a:lnTo>
                      <a:pt x="0" y="249"/>
                    </a:lnTo>
                    <a:lnTo>
                      <a:pt x="0" y="232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2" name="任意多边形: 形状 151">
                <a:extLst>
                  <a:ext uri="{FF2B5EF4-FFF2-40B4-BE49-F238E27FC236}">
                    <a16:creationId xmlns:a16="http://schemas.microsoft.com/office/drawing/2014/main" id="{B45B51E9-757B-4293-8AD1-65DC7804FF88}"/>
                  </a:ext>
                </a:extLst>
              </p:cNvPr>
              <p:cNvSpPr/>
              <p:nvPr/>
            </p:nvSpPr>
            <p:spPr bwMode="auto">
              <a:xfrm>
                <a:off x="8105140" y="2544131"/>
                <a:ext cx="745988" cy="1248604"/>
              </a:xfrm>
              <a:custGeom>
                <a:avLst/>
                <a:gdLst>
                  <a:gd name="T0" fmla="*/ 136 w 136"/>
                  <a:gd name="T1" fmla="*/ 167 h 227"/>
                  <a:gd name="T2" fmla="*/ 129 w 136"/>
                  <a:gd name="T3" fmla="*/ 156 h 227"/>
                  <a:gd name="T4" fmla="*/ 129 w 136"/>
                  <a:gd name="T5" fmla="*/ 85 h 227"/>
                  <a:gd name="T6" fmla="*/ 118 w 136"/>
                  <a:gd name="T7" fmla="*/ 66 h 227"/>
                  <a:gd name="T8" fmla="*/ 6 w 136"/>
                  <a:gd name="T9" fmla="*/ 1 h 227"/>
                  <a:gd name="T10" fmla="*/ 1 w 136"/>
                  <a:gd name="T11" fmla="*/ 3 h 227"/>
                  <a:gd name="T12" fmla="*/ 2 w 136"/>
                  <a:gd name="T13" fmla="*/ 8 h 227"/>
                  <a:gd name="T14" fmla="*/ 114 w 136"/>
                  <a:gd name="T15" fmla="*/ 73 h 227"/>
                  <a:gd name="T16" fmla="*/ 121 w 136"/>
                  <a:gd name="T17" fmla="*/ 85 h 227"/>
                  <a:gd name="T18" fmla="*/ 121 w 136"/>
                  <a:gd name="T19" fmla="*/ 156 h 227"/>
                  <a:gd name="T20" fmla="*/ 114 w 136"/>
                  <a:gd name="T21" fmla="*/ 167 h 227"/>
                  <a:gd name="T22" fmla="*/ 117 w 136"/>
                  <a:gd name="T23" fmla="*/ 174 h 227"/>
                  <a:gd name="T24" fmla="*/ 114 w 136"/>
                  <a:gd name="T25" fmla="*/ 184 h 227"/>
                  <a:gd name="T26" fmla="*/ 114 w 136"/>
                  <a:gd name="T27" fmla="*/ 220 h 227"/>
                  <a:gd name="T28" fmla="*/ 125 w 136"/>
                  <a:gd name="T29" fmla="*/ 227 h 227"/>
                  <a:gd name="T30" fmla="*/ 135 w 136"/>
                  <a:gd name="T31" fmla="*/ 221 h 227"/>
                  <a:gd name="T32" fmla="*/ 135 w 136"/>
                  <a:gd name="T33" fmla="*/ 184 h 227"/>
                  <a:gd name="T34" fmla="*/ 133 w 136"/>
                  <a:gd name="T35" fmla="*/ 174 h 227"/>
                  <a:gd name="T36" fmla="*/ 136 w 136"/>
                  <a:gd name="T37" fmla="*/ 16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6" h="227">
                    <a:moveTo>
                      <a:pt x="136" y="167"/>
                    </a:moveTo>
                    <a:cubicBezTo>
                      <a:pt x="136" y="162"/>
                      <a:pt x="133" y="158"/>
                      <a:pt x="129" y="156"/>
                    </a:cubicBezTo>
                    <a:cubicBezTo>
                      <a:pt x="129" y="85"/>
                      <a:pt x="129" y="85"/>
                      <a:pt x="129" y="85"/>
                    </a:cubicBezTo>
                    <a:cubicBezTo>
                      <a:pt x="129" y="77"/>
                      <a:pt x="124" y="70"/>
                      <a:pt x="118" y="66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0"/>
                      <a:pt x="2" y="1"/>
                      <a:pt x="1" y="3"/>
                    </a:cubicBezTo>
                    <a:cubicBezTo>
                      <a:pt x="0" y="5"/>
                      <a:pt x="0" y="7"/>
                      <a:pt x="2" y="8"/>
                    </a:cubicBezTo>
                    <a:cubicBezTo>
                      <a:pt x="114" y="73"/>
                      <a:pt x="114" y="73"/>
                      <a:pt x="114" y="73"/>
                    </a:cubicBezTo>
                    <a:cubicBezTo>
                      <a:pt x="118" y="75"/>
                      <a:pt x="121" y="80"/>
                      <a:pt x="121" y="85"/>
                    </a:cubicBezTo>
                    <a:cubicBezTo>
                      <a:pt x="121" y="156"/>
                      <a:pt x="121" y="156"/>
                      <a:pt x="121" y="156"/>
                    </a:cubicBezTo>
                    <a:cubicBezTo>
                      <a:pt x="117" y="158"/>
                      <a:pt x="114" y="162"/>
                      <a:pt x="114" y="167"/>
                    </a:cubicBezTo>
                    <a:cubicBezTo>
                      <a:pt x="114" y="170"/>
                      <a:pt x="115" y="172"/>
                      <a:pt x="117" y="174"/>
                    </a:cubicBezTo>
                    <a:cubicBezTo>
                      <a:pt x="115" y="177"/>
                      <a:pt x="114" y="181"/>
                      <a:pt x="114" y="184"/>
                    </a:cubicBezTo>
                    <a:cubicBezTo>
                      <a:pt x="114" y="190"/>
                      <a:pt x="114" y="220"/>
                      <a:pt x="114" y="220"/>
                    </a:cubicBezTo>
                    <a:cubicBezTo>
                      <a:pt x="114" y="224"/>
                      <a:pt x="119" y="227"/>
                      <a:pt x="125" y="227"/>
                    </a:cubicBezTo>
                    <a:cubicBezTo>
                      <a:pt x="130" y="227"/>
                      <a:pt x="135" y="224"/>
                      <a:pt x="135" y="221"/>
                    </a:cubicBezTo>
                    <a:cubicBezTo>
                      <a:pt x="135" y="221"/>
                      <a:pt x="135" y="190"/>
                      <a:pt x="135" y="184"/>
                    </a:cubicBezTo>
                    <a:cubicBezTo>
                      <a:pt x="135" y="181"/>
                      <a:pt x="134" y="177"/>
                      <a:pt x="133" y="174"/>
                    </a:cubicBezTo>
                    <a:cubicBezTo>
                      <a:pt x="135" y="172"/>
                      <a:pt x="136" y="170"/>
                      <a:pt x="136" y="167"/>
                    </a:cubicBez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3" name="任意多边形: 形状 152">
                <a:extLst>
                  <a:ext uri="{FF2B5EF4-FFF2-40B4-BE49-F238E27FC236}">
                    <a16:creationId xmlns:a16="http://schemas.microsoft.com/office/drawing/2014/main" id="{83C37C02-2A65-4574-9731-1CCE9A5BA710}"/>
                  </a:ext>
                </a:extLst>
              </p:cNvPr>
              <p:cNvSpPr/>
              <p:nvPr/>
            </p:nvSpPr>
            <p:spPr bwMode="auto">
              <a:xfrm>
                <a:off x="7509938" y="2406573"/>
                <a:ext cx="198402" cy="251309"/>
              </a:xfrm>
              <a:custGeom>
                <a:avLst/>
                <a:gdLst>
                  <a:gd name="T0" fmla="*/ 21 w 36"/>
                  <a:gd name="T1" fmla="*/ 17 h 46"/>
                  <a:gd name="T2" fmla="*/ 9 w 36"/>
                  <a:gd name="T3" fmla="*/ 36 h 46"/>
                  <a:gd name="T4" fmla="*/ 22 w 36"/>
                  <a:gd name="T5" fmla="*/ 46 h 46"/>
                  <a:gd name="T6" fmla="*/ 35 w 36"/>
                  <a:gd name="T7" fmla="*/ 19 h 46"/>
                  <a:gd name="T8" fmla="*/ 21 w 36"/>
                  <a:gd name="T9" fmla="*/ 1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46">
                    <a:moveTo>
                      <a:pt x="21" y="17"/>
                    </a:moveTo>
                    <a:cubicBezTo>
                      <a:pt x="21" y="17"/>
                      <a:pt x="17" y="26"/>
                      <a:pt x="9" y="36"/>
                    </a:cubicBezTo>
                    <a:cubicBezTo>
                      <a:pt x="0" y="46"/>
                      <a:pt x="22" y="46"/>
                      <a:pt x="22" y="46"/>
                    </a:cubicBezTo>
                    <a:cubicBezTo>
                      <a:pt x="22" y="46"/>
                      <a:pt x="36" y="39"/>
                      <a:pt x="35" y="19"/>
                    </a:cubicBezTo>
                    <a:cubicBezTo>
                      <a:pt x="35" y="0"/>
                      <a:pt x="21" y="17"/>
                      <a:pt x="21" y="17"/>
                    </a:cubicBezTo>
                    <a:close/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4" name="任意多边形: 形状 153">
                <a:extLst>
                  <a:ext uri="{FF2B5EF4-FFF2-40B4-BE49-F238E27FC236}">
                    <a16:creationId xmlns:a16="http://schemas.microsoft.com/office/drawing/2014/main" id="{EA3D2B27-E219-4963-875E-017DF6B28C0F}"/>
                  </a:ext>
                </a:extLst>
              </p:cNvPr>
              <p:cNvSpPr/>
              <p:nvPr/>
            </p:nvSpPr>
            <p:spPr bwMode="auto">
              <a:xfrm>
                <a:off x="7594589" y="2306050"/>
                <a:ext cx="256599" cy="243372"/>
              </a:xfrm>
              <a:custGeom>
                <a:avLst/>
                <a:gdLst>
                  <a:gd name="T0" fmla="*/ 27 w 47"/>
                  <a:gd name="T1" fmla="*/ 0 h 44"/>
                  <a:gd name="T2" fmla="*/ 0 w 47"/>
                  <a:gd name="T3" fmla="*/ 33 h 44"/>
                  <a:gd name="T4" fmla="*/ 19 w 47"/>
                  <a:gd name="T5" fmla="*/ 43 h 44"/>
                  <a:gd name="T6" fmla="*/ 27 w 47"/>
                  <a:gd name="T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" h="44">
                    <a:moveTo>
                      <a:pt x="27" y="0"/>
                    </a:moveTo>
                    <a:cubicBezTo>
                      <a:pt x="27" y="0"/>
                      <a:pt x="9" y="5"/>
                      <a:pt x="0" y="33"/>
                    </a:cubicBezTo>
                    <a:cubicBezTo>
                      <a:pt x="0" y="33"/>
                      <a:pt x="7" y="44"/>
                      <a:pt x="19" y="43"/>
                    </a:cubicBezTo>
                    <a:cubicBezTo>
                      <a:pt x="19" y="43"/>
                      <a:pt x="47" y="2"/>
                      <a:pt x="27" y="0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5" name="任意多边形: 形状 154">
                <a:extLst>
                  <a:ext uri="{FF2B5EF4-FFF2-40B4-BE49-F238E27FC236}">
                    <a16:creationId xmlns:a16="http://schemas.microsoft.com/office/drawing/2014/main" id="{1B8CC8CB-D86C-48EE-BA38-79E1A8089D4F}"/>
                  </a:ext>
                </a:extLst>
              </p:cNvPr>
              <p:cNvSpPr/>
              <p:nvPr/>
            </p:nvSpPr>
            <p:spPr bwMode="auto">
              <a:xfrm>
                <a:off x="7599880" y="2922417"/>
                <a:ext cx="137558" cy="66134"/>
              </a:xfrm>
              <a:custGeom>
                <a:avLst/>
                <a:gdLst>
                  <a:gd name="T0" fmla="*/ 25 w 25"/>
                  <a:gd name="T1" fmla="*/ 5 h 12"/>
                  <a:gd name="T2" fmla="*/ 9 w 25"/>
                  <a:gd name="T3" fmla="*/ 4 h 12"/>
                  <a:gd name="T4" fmla="*/ 22 w 25"/>
                  <a:gd name="T5" fmla="*/ 12 h 12"/>
                  <a:gd name="T6" fmla="*/ 23 w 25"/>
                  <a:gd name="T7" fmla="*/ 11 h 12"/>
                  <a:gd name="T8" fmla="*/ 25 w 25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2">
                    <a:moveTo>
                      <a:pt x="25" y="5"/>
                    </a:moveTo>
                    <a:cubicBezTo>
                      <a:pt x="23" y="4"/>
                      <a:pt x="17" y="0"/>
                      <a:pt x="9" y="4"/>
                    </a:cubicBezTo>
                    <a:cubicBezTo>
                      <a:pt x="0" y="8"/>
                      <a:pt x="22" y="12"/>
                      <a:pt x="22" y="12"/>
                    </a:cubicBezTo>
                    <a:cubicBezTo>
                      <a:pt x="23" y="11"/>
                      <a:pt x="23" y="11"/>
                      <a:pt x="23" y="11"/>
                    </a:cubicBezTo>
                    <a:lnTo>
                      <a:pt x="25" y="5"/>
                    </a:lnTo>
                    <a:close/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6" name="任意多边形: 形状 155">
                <a:extLst>
                  <a:ext uri="{FF2B5EF4-FFF2-40B4-BE49-F238E27FC236}">
                    <a16:creationId xmlns:a16="http://schemas.microsoft.com/office/drawing/2014/main" id="{0EEA322C-200D-4F7F-A8BD-213A012EB940}"/>
                  </a:ext>
                </a:extLst>
              </p:cNvPr>
              <p:cNvSpPr/>
              <p:nvPr/>
            </p:nvSpPr>
            <p:spPr bwMode="auto">
              <a:xfrm>
                <a:off x="7367090" y="2747824"/>
                <a:ext cx="743343" cy="203693"/>
              </a:xfrm>
              <a:custGeom>
                <a:avLst/>
                <a:gdLst>
                  <a:gd name="T0" fmla="*/ 0 w 135"/>
                  <a:gd name="T1" fmla="*/ 0 h 37"/>
                  <a:gd name="T2" fmla="*/ 58 w 135"/>
                  <a:gd name="T3" fmla="*/ 9 h 37"/>
                  <a:gd name="T4" fmla="*/ 117 w 135"/>
                  <a:gd name="T5" fmla="*/ 15 h 37"/>
                  <a:gd name="T6" fmla="*/ 135 w 135"/>
                  <a:gd name="T7" fmla="*/ 31 h 37"/>
                  <a:gd name="T8" fmla="*/ 79 w 135"/>
                  <a:gd name="T9" fmla="*/ 37 h 37"/>
                  <a:gd name="T10" fmla="*/ 46 w 135"/>
                  <a:gd name="T11" fmla="*/ 34 h 37"/>
                  <a:gd name="T12" fmla="*/ 0 w 135"/>
                  <a:gd name="T13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5" h="37">
                    <a:moveTo>
                      <a:pt x="0" y="0"/>
                    </a:moveTo>
                    <a:cubicBezTo>
                      <a:pt x="58" y="9"/>
                      <a:pt x="58" y="9"/>
                      <a:pt x="58" y="9"/>
                    </a:cubicBezTo>
                    <a:cubicBezTo>
                      <a:pt x="117" y="15"/>
                      <a:pt x="117" y="15"/>
                      <a:pt x="117" y="15"/>
                    </a:cubicBezTo>
                    <a:cubicBezTo>
                      <a:pt x="135" y="31"/>
                      <a:pt x="135" y="31"/>
                      <a:pt x="135" y="31"/>
                    </a:cubicBezTo>
                    <a:cubicBezTo>
                      <a:pt x="79" y="37"/>
                      <a:pt x="79" y="37"/>
                      <a:pt x="79" y="37"/>
                    </a:cubicBezTo>
                    <a:cubicBezTo>
                      <a:pt x="79" y="37"/>
                      <a:pt x="63" y="32"/>
                      <a:pt x="46" y="34"/>
                    </a:cubicBezTo>
                    <a:cubicBezTo>
                      <a:pt x="29" y="36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FFC4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7" name="任意多边形: 形状 156">
                <a:extLst>
                  <a:ext uri="{FF2B5EF4-FFF2-40B4-BE49-F238E27FC236}">
                    <a16:creationId xmlns:a16="http://schemas.microsoft.com/office/drawing/2014/main" id="{519F4823-5F93-40AD-9644-BB02ECEBABDC}"/>
                  </a:ext>
                </a:extLst>
              </p:cNvPr>
              <p:cNvSpPr/>
              <p:nvPr/>
            </p:nvSpPr>
            <p:spPr bwMode="auto">
              <a:xfrm>
                <a:off x="7713629" y="2895963"/>
                <a:ext cx="462937" cy="164011"/>
              </a:xfrm>
              <a:custGeom>
                <a:avLst/>
                <a:gdLst>
                  <a:gd name="T0" fmla="*/ 1 w 84"/>
                  <a:gd name="T1" fmla="*/ 19 h 30"/>
                  <a:gd name="T2" fmla="*/ 4 w 84"/>
                  <a:gd name="T3" fmla="*/ 10 h 30"/>
                  <a:gd name="T4" fmla="*/ 64 w 84"/>
                  <a:gd name="T5" fmla="*/ 2 h 30"/>
                  <a:gd name="T6" fmla="*/ 72 w 84"/>
                  <a:gd name="T7" fmla="*/ 23 h 30"/>
                  <a:gd name="T8" fmla="*/ 1 w 84"/>
                  <a:gd name="T9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30">
                    <a:moveTo>
                      <a:pt x="1" y="19"/>
                    </a:moveTo>
                    <a:cubicBezTo>
                      <a:pt x="1" y="19"/>
                      <a:pt x="0" y="13"/>
                      <a:pt x="4" y="10"/>
                    </a:cubicBezTo>
                    <a:cubicBezTo>
                      <a:pt x="4" y="10"/>
                      <a:pt x="54" y="4"/>
                      <a:pt x="64" y="2"/>
                    </a:cubicBezTo>
                    <a:cubicBezTo>
                      <a:pt x="74" y="0"/>
                      <a:pt x="84" y="16"/>
                      <a:pt x="72" y="23"/>
                    </a:cubicBezTo>
                    <a:cubicBezTo>
                      <a:pt x="60" y="30"/>
                      <a:pt x="1" y="19"/>
                      <a:pt x="1" y="19"/>
                    </a:cubicBez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8" name="任意多边形: 形状 157">
                <a:extLst>
                  <a:ext uri="{FF2B5EF4-FFF2-40B4-BE49-F238E27FC236}">
                    <a16:creationId xmlns:a16="http://schemas.microsoft.com/office/drawing/2014/main" id="{B4CED8B5-B4FE-40B8-95D6-4933ECA5B67E}"/>
                  </a:ext>
                </a:extLst>
              </p:cNvPr>
              <p:cNvSpPr/>
              <p:nvPr/>
            </p:nvSpPr>
            <p:spPr bwMode="auto">
              <a:xfrm>
                <a:off x="7732147" y="3004421"/>
                <a:ext cx="261890" cy="132267"/>
              </a:xfrm>
              <a:custGeom>
                <a:avLst/>
                <a:gdLst>
                  <a:gd name="T0" fmla="*/ 4 w 48"/>
                  <a:gd name="T1" fmla="*/ 0 h 24"/>
                  <a:gd name="T2" fmla="*/ 18 w 48"/>
                  <a:gd name="T3" fmla="*/ 4 h 24"/>
                  <a:gd name="T4" fmla="*/ 41 w 48"/>
                  <a:gd name="T5" fmla="*/ 10 h 24"/>
                  <a:gd name="T6" fmla="*/ 33 w 48"/>
                  <a:gd name="T7" fmla="*/ 24 h 24"/>
                  <a:gd name="T8" fmla="*/ 11 w 48"/>
                  <a:gd name="T9" fmla="*/ 18 h 24"/>
                  <a:gd name="T10" fmla="*/ 1 w 48"/>
                  <a:gd name="T11" fmla="*/ 11 h 24"/>
                  <a:gd name="T12" fmla="*/ 4 w 48"/>
                  <a:gd name="T13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" h="24">
                    <a:moveTo>
                      <a:pt x="4" y="0"/>
                    </a:moveTo>
                    <a:cubicBezTo>
                      <a:pt x="4" y="0"/>
                      <a:pt x="14" y="1"/>
                      <a:pt x="18" y="4"/>
                    </a:cubicBezTo>
                    <a:cubicBezTo>
                      <a:pt x="22" y="8"/>
                      <a:pt x="34" y="3"/>
                      <a:pt x="41" y="10"/>
                    </a:cubicBezTo>
                    <a:cubicBezTo>
                      <a:pt x="48" y="18"/>
                      <a:pt x="41" y="24"/>
                      <a:pt x="33" y="24"/>
                    </a:cubicBezTo>
                    <a:cubicBezTo>
                      <a:pt x="24" y="24"/>
                      <a:pt x="15" y="19"/>
                      <a:pt x="11" y="18"/>
                    </a:cubicBezTo>
                    <a:cubicBezTo>
                      <a:pt x="8" y="17"/>
                      <a:pt x="0" y="14"/>
                      <a:pt x="1" y="11"/>
                    </a:cubicBezTo>
                    <a:cubicBezTo>
                      <a:pt x="1" y="8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59" name="任意多边形: 形状 158">
                <a:extLst>
                  <a:ext uri="{FF2B5EF4-FFF2-40B4-BE49-F238E27FC236}">
                    <a16:creationId xmlns:a16="http://schemas.microsoft.com/office/drawing/2014/main" id="{164FF7A0-7269-43BD-B50F-DF68EA87874F}"/>
                  </a:ext>
                </a:extLst>
              </p:cNvPr>
              <p:cNvSpPr/>
              <p:nvPr/>
            </p:nvSpPr>
            <p:spPr bwMode="auto">
              <a:xfrm>
                <a:off x="7406769" y="2951515"/>
                <a:ext cx="230146" cy="108460"/>
              </a:xfrm>
              <a:custGeom>
                <a:avLst/>
                <a:gdLst>
                  <a:gd name="T0" fmla="*/ 15 w 42"/>
                  <a:gd name="T1" fmla="*/ 1 h 20"/>
                  <a:gd name="T2" fmla="*/ 8 w 42"/>
                  <a:gd name="T3" fmla="*/ 15 h 20"/>
                  <a:gd name="T4" fmla="*/ 42 w 42"/>
                  <a:gd name="T5" fmla="*/ 12 h 20"/>
                  <a:gd name="T6" fmla="*/ 15 w 42"/>
                  <a:gd name="T7" fmla="*/ 1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2" h="20">
                    <a:moveTo>
                      <a:pt x="15" y="1"/>
                    </a:moveTo>
                    <a:cubicBezTo>
                      <a:pt x="8" y="2"/>
                      <a:pt x="0" y="10"/>
                      <a:pt x="8" y="15"/>
                    </a:cubicBezTo>
                    <a:cubicBezTo>
                      <a:pt x="16" y="20"/>
                      <a:pt x="42" y="12"/>
                      <a:pt x="42" y="12"/>
                    </a:cubicBezTo>
                    <a:cubicBezTo>
                      <a:pt x="42" y="12"/>
                      <a:pt x="22" y="0"/>
                      <a:pt x="15" y="1"/>
                    </a:cubicBezTo>
                    <a:close/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0" name="任意多边形: 形状 159">
                <a:extLst>
                  <a:ext uri="{FF2B5EF4-FFF2-40B4-BE49-F238E27FC236}">
                    <a16:creationId xmlns:a16="http://schemas.microsoft.com/office/drawing/2014/main" id="{B8CD0AB8-8B57-47A1-B0BE-D3985D1235A7}"/>
                  </a:ext>
                </a:extLst>
              </p:cNvPr>
              <p:cNvSpPr/>
              <p:nvPr/>
            </p:nvSpPr>
            <p:spPr bwMode="auto">
              <a:xfrm>
                <a:off x="7658078" y="2253143"/>
                <a:ext cx="436483" cy="663983"/>
              </a:xfrm>
              <a:custGeom>
                <a:avLst/>
                <a:gdLst>
                  <a:gd name="T0" fmla="*/ 40 w 79"/>
                  <a:gd name="T1" fmla="*/ 7 h 121"/>
                  <a:gd name="T2" fmla="*/ 4 w 79"/>
                  <a:gd name="T3" fmla="*/ 31 h 121"/>
                  <a:gd name="T4" fmla="*/ 11 w 79"/>
                  <a:gd name="T5" fmla="*/ 56 h 121"/>
                  <a:gd name="T6" fmla="*/ 5 w 79"/>
                  <a:gd name="T7" fmla="*/ 99 h 121"/>
                  <a:gd name="T8" fmla="*/ 64 w 79"/>
                  <a:gd name="T9" fmla="*/ 105 h 121"/>
                  <a:gd name="T10" fmla="*/ 75 w 79"/>
                  <a:gd name="T11" fmla="*/ 38 h 121"/>
                  <a:gd name="T12" fmla="*/ 40 w 79"/>
                  <a:gd name="T13" fmla="*/ 7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9" h="121">
                    <a:moveTo>
                      <a:pt x="40" y="7"/>
                    </a:moveTo>
                    <a:cubicBezTo>
                      <a:pt x="30" y="7"/>
                      <a:pt x="11" y="0"/>
                      <a:pt x="4" y="31"/>
                    </a:cubicBezTo>
                    <a:cubicBezTo>
                      <a:pt x="0" y="51"/>
                      <a:pt x="11" y="56"/>
                      <a:pt x="11" y="56"/>
                    </a:cubicBezTo>
                    <a:cubicBezTo>
                      <a:pt x="14" y="64"/>
                      <a:pt x="6" y="92"/>
                      <a:pt x="5" y="99"/>
                    </a:cubicBezTo>
                    <a:cubicBezTo>
                      <a:pt x="4" y="106"/>
                      <a:pt x="43" y="121"/>
                      <a:pt x="64" y="105"/>
                    </a:cubicBezTo>
                    <a:cubicBezTo>
                      <a:pt x="58" y="66"/>
                      <a:pt x="76" y="53"/>
                      <a:pt x="75" y="38"/>
                    </a:cubicBezTo>
                    <a:cubicBezTo>
                      <a:pt x="76" y="31"/>
                      <a:pt x="79" y="16"/>
                      <a:pt x="40" y="7"/>
                    </a:cubicBez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1" name="任意多边形: 形状 160">
                <a:extLst>
                  <a:ext uri="{FF2B5EF4-FFF2-40B4-BE49-F238E27FC236}">
                    <a16:creationId xmlns:a16="http://schemas.microsoft.com/office/drawing/2014/main" id="{6448D238-9C5A-41BE-AE7E-9AF8495404CC}"/>
                  </a:ext>
                </a:extLst>
              </p:cNvPr>
              <p:cNvSpPr/>
              <p:nvPr/>
            </p:nvSpPr>
            <p:spPr bwMode="auto">
              <a:xfrm>
                <a:off x="7803571" y="2120876"/>
                <a:ext cx="113751" cy="251309"/>
              </a:xfrm>
              <a:custGeom>
                <a:avLst/>
                <a:gdLst>
                  <a:gd name="T0" fmla="*/ 0 w 21"/>
                  <a:gd name="T1" fmla="*/ 25 h 46"/>
                  <a:gd name="T2" fmla="*/ 0 w 21"/>
                  <a:gd name="T3" fmla="*/ 39 h 46"/>
                  <a:gd name="T4" fmla="*/ 21 w 21"/>
                  <a:gd name="T5" fmla="*/ 34 h 46"/>
                  <a:gd name="T6" fmla="*/ 21 w 21"/>
                  <a:gd name="T7" fmla="*/ 0 h 46"/>
                  <a:gd name="T8" fmla="*/ 0 w 21"/>
                  <a:gd name="T9" fmla="*/ 0 h 46"/>
                  <a:gd name="T10" fmla="*/ 0 w 21"/>
                  <a:gd name="T11" fmla="*/ 25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" h="46">
                    <a:moveTo>
                      <a:pt x="0" y="25"/>
                    </a:moveTo>
                    <a:cubicBezTo>
                      <a:pt x="0" y="25"/>
                      <a:pt x="0" y="35"/>
                      <a:pt x="0" y="39"/>
                    </a:cubicBezTo>
                    <a:cubicBezTo>
                      <a:pt x="0" y="42"/>
                      <a:pt x="21" y="46"/>
                      <a:pt x="21" y="34"/>
                    </a:cubicBezTo>
                    <a:cubicBezTo>
                      <a:pt x="21" y="22"/>
                      <a:pt x="21" y="0"/>
                      <a:pt x="21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2" name="任意多边形: 形状 161">
                <a:extLst>
                  <a:ext uri="{FF2B5EF4-FFF2-40B4-BE49-F238E27FC236}">
                    <a16:creationId xmlns:a16="http://schemas.microsoft.com/office/drawing/2014/main" id="{CBC38E8A-371C-46AB-8DFE-458A2A96CDE8}"/>
                  </a:ext>
                </a:extLst>
              </p:cNvPr>
              <p:cNvSpPr/>
              <p:nvPr/>
            </p:nvSpPr>
            <p:spPr bwMode="auto">
              <a:xfrm>
                <a:off x="7737438" y="1972736"/>
                <a:ext cx="195756" cy="301569"/>
              </a:xfrm>
              <a:custGeom>
                <a:avLst/>
                <a:gdLst>
                  <a:gd name="T0" fmla="*/ 11 w 36"/>
                  <a:gd name="T1" fmla="*/ 6 h 55"/>
                  <a:gd name="T2" fmla="*/ 1 w 36"/>
                  <a:gd name="T3" fmla="*/ 21 h 55"/>
                  <a:gd name="T4" fmla="*/ 5 w 36"/>
                  <a:gd name="T5" fmla="*/ 50 h 55"/>
                  <a:gd name="T6" fmla="*/ 25 w 36"/>
                  <a:gd name="T7" fmla="*/ 47 h 55"/>
                  <a:gd name="T8" fmla="*/ 35 w 36"/>
                  <a:gd name="T9" fmla="*/ 27 h 55"/>
                  <a:gd name="T10" fmla="*/ 25 w 36"/>
                  <a:gd name="T11" fmla="*/ 3 h 55"/>
                  <a:gd name="T12" fmla="*/ 11 w 36"/>
                  <a:gd name="T13" fmla="*/ 6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" h="55">
                    <a:moveTo>
                      <a:pt x="11" y="6"/>
                    </a:moveTo>
                    <a:cubicBezTo>
                      <a:pt x="11" y="6"/>
                      <a:pt x="1" y="10"/>
                      <a:pt x="1" y="21"/>
                    </a:cubicBezTo>
                    <a:cubicBezTo>
                      <a:pt x="1" y="32"/>
                      <a:pt x="0" y="48"/>
                      <a:pt x="5" y="50"/>
                    </a:cubicBezTo>
                    <a:cubicBezTo>
                      <a:pt x="8" y="52"/>
                      <a:pt x="17" y="55"/>
                      <a:pt x="25" y="47"/>
                    </a:cubicBezTo>
                    <a:cubicBezTo>
                      <a:pt x="33" y="39"/>
                      <a:pt x="35" y="34"/>
                      <a:pt x="35" y="27"/>
                    </a:cubicBezTo>
                    <a:cubicBezTo>
                      <a:pt x="35" y="19"/>
                      <a:pt x="36" y="6"/>
                      <a:pt x="25" y="3"/>
                    </a:cubicBezTo>
                    <a:cubicBezTo>
                      <a:pt x="14" y="0"/>
                      <a:pt x="11" y="6"/>
                      <a:pt x="11" y="6"/>
                    </a:cubicBezTo>
                    <a:close/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3" name="任意多边形: 形状 162">
                <a:extLst>
                  <a:ext uri="{FF2B5EF4-FFF2-40B4-BE49-F238E27FC236}">
                    <a16:creationId xmlns:a16="http://schemas.microsoft.com/office/drawing/2014/main" id="{B4AAD213-8E65-426D-9E99-2824F9B1FAB9}"/>
                  </a:ext>
                </a:extLst>
              </p:cNvPr>
              <p:cNvSpPr/>
              <p:nvPr/>
            </p:nvSpPr>
            <p:spPr bwMode="auto">
              <a:xfrm>
                <a:off x="7724211" y="1927766"/>
                <a:ext cx="275116" cy="296279"/>
              </a:xfrm>
              <a:custGeom>
                <a:avLst/>
                <a:gdLst>
                  <a:gd name="T0" fmla="*/ 32 w 50"/>
                  <a:gd name="T1" fmla="*/ 33 h 54"/>
                  <a:gd name="T2" fmla="*/ 16 w 50"/>
                  <a:gd name="T3" fmla="*/ 20 h 54"/>
                  <a:gd name="T4" fmla="*/ 3 w 50"/>
                  <a:gd name="T5" fmla="*/ 29 h 54"/>
                  <a:gd name="T6" fmla="*/ 10 w 50"/>
                  <a:gd name="T7" fmla="*/ 7 h 54"/>
                  <a:gd name="T8" fmla="*/ 47 w 50"/>
                  <a:gd name="T9" fmla="*/ 18 h 54"/>
                  <a:gd name="T10" fmla="*/ 35 w 50"/>
                  <a:gd name="T11" fmla="*/ 54 h 54"/>
                  <a:gd name="T12" fmla="*/ 33 w 50"/>
                  <a:gd name="T13" fmla="*/ 42 h 54"/>
                  <a:gd name="T14" fmla="*/ 32 w 50"/>
                  <a:gd name="T15" fmla="*/ 3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0" h="54">
                    <a:moveTo>
                      <a:pt x="32" y="33"/>
                    </a:moveTo>
                    <a:cubicBezTo>
                      <a:pt x="32" y="33"/>
                      <a:pt x="17" y="31"/>
                      <a:pt x="16" y="20"/>
                    </a:cubicBezTo>
                    <a:cubicBezTo>
                      <a:pt x="16" y="20"/>
                      <a:pt x="11" y="29"/>
                      <a:pt x="3" y="29"/>
                    </a:cubicBezTo>
                    <a:cubicBezTo>
                      <a:pt x="3" y="29"/>
                      <a:pt x="0" y="15"/>
                      <a:pt x="10" y="7"/>
                    </a:cubicBezTo>
                    <a:cubicBezTo>
                      <a:pt x="20" y="0"/>
                      <a:pt x="44" y="3"/>
                      <a:pt x="47" y="18"/>
                    </a:cubicBezTo>
                    <a:cubicBezTo>
                      <a:pt x="50" y="34"/>
                      <a:pt x="46" y="46"/>
                      <a:pt x="35" y="54"/>
                    </a:cubicBezTo>
                    <a:cubicBezTo>
                      <a:pt x="35" y="54"/>
                      <a:pt x="36" y="42"/>
                      <a:pt x="33" y="42"/>
                    </a:cubicBezTo>
                    <a:cubicBezTo>
                      <a:pt x="29" y="43"/>
                      <a:pt x="32" y="33"/>
                      <a:pt x="32" y="33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4" name="任意多边形: 形状 163">
                <a:extLst>
                  <a:ext uri="{FF2B5EF4-FFF2-40B4-BE49-F238E27FC236}">
                    <a16:creationId xmlns:a16="http://schemas.microsoft.com/office/drawing/2014/main" id="{E2557409-DE24-45FC-B2A1-41F655491CAE}"/>
                  </a:ext>
                </a:extLst>
              </p:cNvPr>
              <p:cNvSpPr/>
              <p:nvPr/>
            </p:nvSpPr>
            <p:spPr bwMode="auto">
              <a:xfrm>
                <a:off x="7203078" y="2692271"/>
                <a:ext cx="566104" cy="378285"/>
              </a:xfrm>
              <a:custGeom>
                <a:avLst/>
                <a:gdLst>
                  <a:gd name="T0" fmla="*/ 100 w 103"/>
                  <a:gd name="T1" fmla="*/ 57 h 69"/>
                  <a:gd name="T2" fmla="*/ 97 w 103"/>
                  <a:gd name="T3" fmla="*/ 69 h 69"/>
                  <a:gd name="T4" fmla="*/ 15 w 103"/>
                  <a:gd name="T5" fmla="*/ 31 h 69"/>
                  <a:gd name="T6" fmla="*/ 40 w 103"/>
                  <a:gd name="T7" fmla="*/ 14 h 69"/>
                  <a:gd name="T8" fmla="*/ 100 w 103"/>
                  <a:gd name="T9" fmla="*/ 57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3" h="69">
                    <a:moveTo>
                      <a:pt x="100" y="57"/>
                    </a:moveTo>
                    <a:cubicBezTo>
                      <a:pt x="100" y="57"/>
                      <a:pt x="103" y="66"/>
                      <a:pt x="97" y="69"/>
                    </a:cubicBezTo>
                    <a:cubicBezTo>
                      <a:pt x="97" y="69"/>
                      <a:pt x="30" y="40"/>
                      <a:pt x="15" y="31"/>
                    </a:cubicBezTo>
                    <a:cubicBezTo>
                      <a:pt x="0" y="23"/>
                      <a:pt x="16" y="0"/>
                      <a:pt x="40" y="14"/>
                    </a:cubicBezTo>
                    <a:cubicBezTo>
                      <a:pt x="64" y="28"/>
                      <a:pt x="100" y="57"/>
                      <a:pt x="100" y="57"/>
                    </a:cubicBez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5" name="任意多边形: 形状 164">
                <a:extLst>
                  <a:ext uri="{FF2B5EF4-FFF2-40B4-BE49-F238E27FC236}">
                    <a16:creationId xmlns:a16="http://schemas.microsoft.com/office/drawing/2014/main" id="{19771147-D13D-4E30-9955-9496641960FC}"/>
                  </a:ext>
                </a:extLst>
              </p:cNvPr>
              <p:cNvSpPr/>
              <p:nvPr/>
            </p:nvSpPr>
            <p:spPr bwMode="auto">
              <a:xfrm>
                <a:off x="7867059" y="2086487"/>
                <a:ext cx="95232" cy="95232"/>
              </a:xfrm>
              <a:custGeom>
                <a:avLst/>
                <a:gdLst>
                  <a:gd name="T0" fmla="*/ 4 w 17"/>
                  <a:gd name="T1" fmla="*/ 6 h 17"/>
                  <a:gd name="T2" fmla="*/ 5 w 17"/>
                  <a:gd name="T3" fmla="*/ 15 h 17"/>
                  <a:gd name="T4" fmla="*/ 0 w 17"/>
                  <a:gd name="T5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7">
                    <a:moveTo>
                      <a:pt x="4" y="6"/>
                    </a:moveTo>
                    <a:cubicBezTo>
                      <a:pt x="9" y="0"/>
                      <a:pt x="17" y="6"/>
                      <a:pt x="5" y="15"/>
                    </a:cubicBezTo>
                    <a:cubicBezTo>
                      <a:pt x="1" y="17"/>
                      <a:pt x="0" y="15"/>
                      <a:pt x="0" y="15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6" name="任意多边形: 形状 165">
                <a:extLst>
                  <a:ext uri="{FF2B5EF4-FFF2-40B4-BE49-F238E27FC236}">
                    <a16:creationId xmlns:a16="http://schemas.microsoft.com/office/drawing/2014/main" id="{7202F85B-E6EB-4964-9A84-E27425A76AC5}"/>
                  </a:ext>
                </a:extLst>
              </p:cNvPr>
              <p:cNvSpPr/>
              <p:nvPr/>
            </p:nvSpPr>
            <p:spPr bwMode="auto">
              <a:xfrm>
                <a:off x="7599880" y="2575875"/>
                <a:ext cx="280407" cy="320088"/>
              </a:xfrm>
              <a:custGeom>
                <a:avLst/>
                <a:gdLst>
                  <a:gd name="T0" fmla="*/ 2 w 106"/>
                  <a:gd name="T1" fmla="*/ 104 h 121"/>
                  <a:gd name="T2" fmla="*/ 0 w 106"/>
                  <a:gd name="T3" fmla="*/ 0 h 121"/>
                  <a:gd name="T4" fmla="*/ 106 w 106"/>
                  <a:gd name="T5" fmla="*/ 15 h 121"/>
                  <a:gd name="T6" fmla="*/ 106 w 106"/>
                  <a:gd name="T7" fmla="*/ 121 h 121"/>
                  <a:gd name="T8" fmla="*/ 2 w 106"/>
                  <a:gd name="T9" fmla="*/ 10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6" h="121">
                    <a:moveTo>
                      <a:pt x="2" y="104"/>
                    </a:moveTo>
                    <a:lnTo>
                      <a:pt x="0" y="0"/>
                    </a:lnTo>
                    <a:lnTo>
                      <a:pt x="106" y="15"/>
                    </a:lnTo>
                    <a:lnTo>
                      <a:pt x="106" y="121"/>
                    </a:lnTo>
                    <a:lnTo>
                      <a:pt x="2" y="104"/>
                    </a:lnTo>
                    <a:close/>
                  </a:path>
                </a:pathLst>
              </a:custGeom>
              <a:solidFill>
                <a:srgbClr val="FF61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7" name="任意多边形: 形状 166">
                <a:extLst>
                  <a:ext uri="{FF2B5EF4-FFF2-40B4-BE49-F238E27FC236}">
                    <a16:creationId xmlns:a16="http://schemas.microsoft.com/office/drawing/2014/main" id="{D7953AC2-7476-4B15-B53F-15E6ACA18669}"/>
                  </a:ext>
                </a:extLst>
              </p:cNvPr>
              <p:cNvSpPr/>
              <p:nvPr/>
            </p:nvSpPr>
            <p:spPr bwMode="auto">
              <a:xfrm>
                <a:off x="7494066" y="2433027"/>
                <a:ext cx="111105" cy="417965"/>
              </a:xfrm>
              <a:custGeom>
                <a:avLst/>
                <a:gdLst>
                  <a:gd name="T0" fmla="*/ 40 w 42"/>
                  <a:gd name="T1" fmla="*/ 54 h 158"/>
                  <a:gd name="T2" fmla="*/ 0 w 42"/>
                  <a:gd name="T3" fmla="*/ 0 h 158"/>
                  <a:gd name="T4" fmla="*/ 2 w 42"/>
                  <a:gd name="T5" fmla="*/ 106 h 158"/>
                  <a:gd name="T6" fmla="*/ 42 w 42"/>
                  <a:gd name="T7" fmla="*/ 158 h 158"/>
                  <a:gd name="T8" fmla="*/ 40 w 42"/>
                  <a:gd name="T9" fmla="*/ 54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58">
                    <a:moveTo>
                      <a:pt x="40" y="54"/>
                    </a:moveTo>
                    <a:lnTo>
                      <a:pt x="0" y="0"/>
                    </a:lnTo>
                    <a:lnTo>
                      <a:pt x="2" y="106"/>
                    </a:lnTo>
                    <a:lnTo>
                      <a:pt x="42" y="158"/>
                    </a:lnTo>
                    <a:lnTo>
                      <a:pt x="40" y="54"/>
                    </a:lnTo>
                    <a:close/>
                  </a:path>
                </a:pathLst>
              </a:custGeom>
              <a:solidFill>
                <a:srgbClr val="FF61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8" name="任意多边形: 形状 167">
                <a:extLst>
                  <a:ext uri="{FF2B5EF4-FFF2-40B4-BE49-F238E27FC236}">
                    <a16:creationId xmlns:a16="http://schemas.microsoft.com/office/drawing/2014/main" id="{3ED5DFE7-38D7-43D2-BA0D-F6BB3FE13820}"/>
                  </a:ext>
                </a:extLst>
              </p:cNvPr>
              <p:cNvSpPr/>
              <p:nvPr/>
            </p:nvSpPr>
            <p:spPr bwMode="auto">
              <a:xfrm>
                <a:off x="7814152" y="2427736"/>
                <a:ext cx="306860" cy="391511"/>
              </a:xfrm>
              <a:custGeom>
                <a:avLst/>
                <a:gdLst>
                  <a:gd name="T0" fmla="*/ 54 w 56"/>
                  <a:gd name="T1" fmla="*/ 22 h 71"/>
                  <a:gd name="T2" fmla="*/ 35 w 56"/>
                  <a:gd name="T3" fmla="*/ 23 h 71"/>
                  <a:gd name="T4" fmla="*/ 18 w 56"/>
                  <a:gd name="T5" fmla="*/ 57 h 71"/>
                  <a:gd name="T6" fmla="*/ 14 w 56"/>
                  <a:gd name="T7" fmla="*/ 55 h 71"/>
                  <a:gd name="T8" fmla="*/ 10 w 56"/>
                  <a:gd name="T9" fmla="*/ 57 h 71"/>
                  <a:gd name="T10" fmla="*/ 0 w 56"/>
                  <a:gd name="T11" fmla="*/ 64 h 71"/>
                  <a:gd name="T12" fmla="*/ 10 w 56"/>
                  <a:gd name="T13" fmla="*/ 71 h 71"/>
                  <a:gd name="T14" fmla="*/ 19 w 56"/>
                  <a:gd name="T15" fmla="*/ 68 h 71"/>
                  <a:gd name="T16" fmla="*/ 54 w 56"/>
                  <a:gd name="T17" fmla="*/ 2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71">
                    <a:moveTo>
                      <a:pt x="54" y="22"/>
                    </a:moveTo>
                    <a:cubicBezTo>
                      <a:pt x="54" y="22"/>
                      <a:pt x="33" y="0"/>
                      <a:pt x="35" y="23"/>
                    </a:cubicBezTo>
                    <a:cubicBezTo>
                      <a:pt x="45" y="38"/>
                      <a:pt x="30" y="50"/>
                      <a:pt x="18" y="57"/>
                    </a:cubicBezTo>
                    <a:cubicBezTo>
                      <a:pt x="17" y="56"/>
                      <a:pt x="16" y="55"/>
                      <a:pt x="14" y="55"/>
                    </a:cubicBezTo>
                    <a:cubicBezTo>
                      <a:pt x="12" y="55"/>
                      <a:pt x="11" y="56"/>
                      <a:pt x="10" y="57"/>
                    </a:cubicBezTo>
                    <a:cubicBezTo>
                      <a:pt x="4" y="57"/>
                      <a:pt x="0" y="60"/>
                      <a:pt x="0" y="64"/>
                    </a:cubicBezTo>
                    <a:cubicBezTo>
                      <a:pt x="0" y="68"/>
                      <a:pt x="4" y="71"/>
                      <a:pt x="10" y="71"/>
                    </a:cubicBezTo>
                    <a:cubicBezTo>
                      <a:pt x="14" y="71"/>
                      <a:pt x="17" y="70"/>
                      <a:pt x="19" y="68"/>
                    </a:cubicBezTo>
                    <a:cubicBezTo>
                      <a:pt x="42" y="63"/>
                      <a:pt x="56" y="49"/>
                      <a:pt x="54" y="22"/>
                    </a:cubicBezTo>
                    <a:close/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69" name="任意多边形: 形状 168">
                <a:extLst>
                  <a:ext uri="{FF2B5EF4-FFF2-40B4-BE49-F238E27FC236}">
                    <a16:creationId xmlns:a16="http://schemas.microsoft.com/office/drawing/2014/main" id="{8CD6F8D5-A9CA-4D3E-AF90-8AFF8818B85C}"/>
                  </a:ext>
                </a:extLst>
              </p:cNvPr>
              <p:cNvSpPr/>
              <p:nvPr/>
            </p:nvSpPr>
            <p:spPr bwMode="auto">
              <a:xfrm>
                <a:off x="7951710" y="2356312"/>
                <a:ext cx="169302" cy="253953"/>
              </a:xfrm>
              <a:custGeom>
                <a:avLst/>
                <a:gdLst>
                  <a:gd name="T0" fmla="*/ 15 w 31"/>
                  <a:gd name="T1" fmla="*/ 1 h 46"/>
                  <a:gd name="T2" fmla="*/ 31 w 31"/>
                  <a:gd name="T3" fmla="*/ 39 h 46"/>
                  <a:gd name="T4" fmla="*/ 4 w 31"/>
                  <a:gd name="T5" fmla="*/ 42 h 46"/>
                  <a:gd name="T6" fmla="*/ 15 w 31"/>
                  <a:gd name="T7" fmla="*/ 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46">
                    <a:moveTo>
                      <a:pt x="15" y="1"/>
                    </a:moveTo>
                    <a:cubicBezTo>
                      <a:pt x="19" y="0"/>
                      <a:pt x="31" y="12"/>
                      <a:pt x="31" y="39"/>
                    </a:cubicBezTo>
                    <a:cubicBezTo>
                      <a:pt x="27" y="43"/>
                      <a:pt x="18" y="46"/>
                      <a:pt x="4" y="42"/>
                    </a:cubicBezTo>
                    <a:cubicBezTo>
                      <a:pt x="4" y="42"/>
                      <a:pt x="0" y="4"/>
                      <a:pt x="15" y="1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0" name="任意多边形: 形状 169">
                <a:extLst>
                  <a:ext uri="{FF2B5EF4-FFF2-40B4-BE49-F238E27FC236}">
                    <a16:creationId xmlns:a16="http://schemas.microsoft.com/office/drawing/2014/main" id="{46634991-C5B2-4000-95C8-F30D855F72EA}"/>
                  </a:ext>
                </a:extLst>
              </p:cNvPr>
              <p:cNvSpPr/>
              <p:nvPr/>
            </p:nvSpPr>
            <p:spPr bwMode="auto">
              <a:xfrm>
                <a:off x="7835315" y="1866923"/>
                <a:ext cx="198402" cy="177239"/>
              </a:xfrm>
              <a:custGeom>
                <a:avLst/>
                <a:gdLst>
                  <a:gd name="T0" fmla="*/ 32 w 36"/>
                  <a:gd name="T1" fmla="*/ 25 h 32"/>
                  <a:gd name="T2" fmla="*/ 11 w 36"/>
                  <a:gd name="T3" fmla="*/ 27 h 32"/>
                  <a:gd name="T4" fmla="*/ 4 w 36"/>
                  <a:gd name="T5" fmla="*/ 7 h 32"/>
                  <a:gd name="T6" fmla="*/ 25 w 36"/>
                  <a:gd name="T7" fmla="*/ 5 h 32"/>
                  <a:gd name="T8" fmla="*/ 32 w 36"/>
                  <a:gd name="T9" fmla="*/ 25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" h="32">
                    <a:moveTo>
                      <a:pt x="32" y="25"/>
                    </a:moveTo>
                    <a:cubicBezTo>
                      <a:pt x="28" y="31"/>
                      <a:pt x="18" y="32"/>
                      <a:pt x="11" y="27"/>
                    </a:cubicBezTo>
                    <a:cubicBezTo>
                      <a:pt x="3" y="23"/>
                      <a:pt x="0" y="14"/>
                      <a:pt x="4" y="7"/>
                    </a:cubicBezTo>
                    <a:cubicBezTo>
                      <a:pt x="8" y="1"/>
                      <a:pt x="18" y="0"/>
                      <a:pt x="25" y="5"/>
                    </a:cubicBezTo>
                    <a:cubicBezTo>
                      <a:pt x="33" y="10"/>
                      <a:pt x="36" y="19"/>
                      <a:pt x="32" y="25"/>
                    </a:cubicBez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1" name="任意多边形: 形状 170">
                <a:extLst>
                  <a:ext uri="{FF2B5EF4-FFF2-40B4-BE49-F238E27FC236}">
                    <a16:creationId xmlns:a16="http://schemas.microsoft.com/office/drawing/2014/main" id="{3A036FB0-CAA8-4344-BE24-D001FF303BE3}"/>
                  </a:ext>
                </a:extLst>
              </p:cNvPr>
              <p:cNvSpPr/>
              <p:nvPr/>
            </p:nvSpPr>
            <p:spPr bwMode="auto">
              <a:xfrm>
                <a:off x="5449212" y="2657882"/>
                <a:ext cx="177239" cy="161367"/>
              </a:xfrm>
              <a:custGeom>
                <a:avLst/>
                <a:gdLst>
                  <a:gd name="T0" fmla="*/ 31 w 32"/>
                  <a:gd name="T1" fmla="*/ 6 h 29"/>
                  <a:gd name="T2" fmla="*/ 27 w 32"/>
                  <a:gd name="T3" fmla="*/ 15 h 29"/>
                  <a:gd name="T4" fmla="*/ 4 w 32"/>
                  <a:gd name="T5" fmla="*/ 25 h 29"/>
                  <a:gd name="T6" fmla="*/ 17 w 32"/>
                  <a:gd name="T7" fmla="*/ 5 h 29"/>
                  <a:gd name="T8" fmla="*/ 31 w 32"/>
                  <a:gd name="T9" fmla="*/ 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9">
                    <a:moveTo>
                      <a:pt x="31" y="6"/>
                    </a:moveTo>
                    <a:cubicBezTo>
                      <a:pt x="31" y="10"/>
                      <a:pt x="32" y="12"/>
                      <a:pt x="27" y="15"/>
                    </a:cubicBezTo>
                    <a:cubicBezTo>
                      <a:pt x="22" y="18"/>
                      <a:pt x="10" y="29"/>
                      <a:pt x="4" y="25"/>
                    </a:cubicBezTo>
                    <a:cubicBezTo>
                      <a:pt x="0" y="23"/>
                      <a:pt x="12" y="10"/>
                      <a:pt x="17" y="5"/>
                    </a:cubicBezTo>
                    <a:cubicBezTo>
                      <a:pt x="22" y="0"/>
                      <a:pt x="31" y="6"/>
                      <a:pt x="31" y="6"/>
                    </a:cubicBezTo>
                    <a:close/>
                  </a:path>
                </a:pathLst>
              </a:custGeom>
              <a:solidFill>
                <a:srgbClr val="005D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2" name="任意多边形: 形状 171">
                <a:extLst>
                  <a:ext uri="{FF2B5EF4-FFF2-40B4-BE49-F238E27FC236}">
                    <a16:creationId xmlns:a16="http://schemas.microsoft.com/office/drawing/2014/main" id="{B327C4EF-92E3-491C-990F-1F82AB6C0FB7}"/>
                  </a:ext>
                </a:extLst>
              </p:cNvPr>
              <p:cNvSpPr/>
              <p:nvPr/>
            </p:nvSpPr>
            <p:spPr bwMode="auto">
              <a:xfrm>
                <a:off x="5520637" y="2724015"/>
                <a:ext cx="164011" cy="142849"/>
              </a:xfrm>
              <a:custGeom>
                <a:avLst/>
                <a:gdLst>
                  <a:gd name="T0" fmla="*/ 29 w 30"/>
                  <a:gd name="T1" fmla="*/ 3 h 26"/>
                  <a:gd name="T2" fmla="*/ 25 w 30"/>
                  <a:gd name="T3" fmla="*/ 13 h 26"/>
                  <a:gd name="T4" fmla="*/ 4 w 30"/>
                  <a:gd name="T5" fmla="*/ 23 h 26"/>
                  <a:gd name="T6" fmla="*/ 16 w 30"/>
                  <a:gd name="T7" fmla="*/ 3 h 26"/>
                  <a:gd name="T8" fmla="*/ 29 w 30"/>
                  <a:gd name="T9" fmla="*/ 3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" h="26">
                    <a:moveTo>
                      <a:pt x="29" y="3"/>
                    </a:moveTo>
                    <a:cubicBezTo>
                      <a:pt x="29" y="8"/>
                      <a:pt x="30" y="10"/>
                      <a:pt x="25" y="13"/>
                    </a:cubicBezTo>
                    <a:cubicBezTo>
                      <a:pt x="21" y="16"/>
                      <a:pt x="8" y="26"/>
                      <a:pt x="4" y="23"/>
                    </a:cubicBezTo>
                    <a:cubicBezTo>
                      <a:pt x="0" y="21"/>
                      <a:pt x="9" y="5"/>
                      <a:pt x="16" y="3"/>
                    </a:cubicBezTo>
                    <a:cubicBezTo>
                      <a:pt x="22" y="0"/>
                      <a:pt x="29" y="3"/>
                      <a:pt x="29" y="3"/>
                    </a:cubicBezTo>
                    <a:close/>
                  </a:path>
                </a:pathLst>
              </a:custGeom>
              <a:solidFill>
                <a:srgbClr val="005D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3" name="任意多边形: 形状 172">
                <a:extLst>
                  <a:ext uri="{FF2B5EF4-FFF2-40B4-BE49-F238E27FC236}">
                    <a16:creationId xmlns:a16="http://schemas.microsoft.com/office/drawing/2014/main" id="{71A5B5C0-292C-44A5-822A-EDB1A5ED58EE}"/>
                  </a:ext>
                </a:extLst>
              </p:cNvPr>
              <p:cNvSpPr/>
              <p:nvPr/>
            </p:nvSpPr>
            <p:spPr bwMode="auto">
              <a:xfrm>
                <a:off x="5515347" y="2086487"/>
                <a:ext cx="423255" cy="642820"/>
              </a:xfrm>
              <a:custGeom>
                <a:avLst/>
                <a:gdLst>
                  <a:gd name="T0" fmla="*/ 66 w 77"/>
                  <a:gd name="T1" fmla="*/ 6 h 117"/>
                  <a:gd name="T2" fmla="*/ 24 w 77"/>
                  <a:gd name="T3" fmla="*/ 48 h 117"/>
                  <a:gd name="T4" fmla="*/ 17 w 77"/>
                  <a:gd name="T5" fmla="*/ 112 h 117"/>
                  <a:gd name="T6" fmla="*/ 2 w 77"/>
                  <a:gd name="T7" fmla="*/ 111 h 117"/>
                  <a:gd name="T8" fmla="*/ 3 w 77"/>
                  <a:gd name="T9" fmla="*/ 37 h 117"/>
                  <a:gd name="T10" fmla="*/ 43 w 77"/>
                  <a:gd name="T11" fmla="*/ 0 h 117"/>
                  <a:gd name="T12" fmla="*/ 66 w 77"/>
                  <a:gd name="T13" fmla="*/ 6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7" h="117">
                    <a:moveTo>
                      <a:pt x="66" y="6"/>
                    </a:moveTo>
                    <a:cubicBezTo>
                      <a:pt x="77" y="29"/>
                      <a:pt x="33" y="34"/>
                      <a:pt x="24" y="48"/>
                    </a:cubicBezTo>
                    <a:cubicBezTo>
                      <a:pt x="14" y="62"/>
                      <a:pt x="19" y="103"/>
                      <a:pt x="17" y="112"/>
                    </a:cubicBezTo>
                    <a:cubicBezTo>
                      <a:pt x="15" y="117"/>
                      <a:pt x="2" y="117"/>
                      <a:pt x="2" y="111"/>
                    </a:cubicBezTo>
                    <a:cubicBezTo>
                      <a:pt x="2" y="98"/>
                      <a:pt x="0" y="52"/>
                      <a:pt x="3" y="37"/>
                    </a:cubicBezTo>
                    <a:cubicBezTo>
                      <a:pt x="5" y="23"/>
                      <a:pt x="43" y="0"/>
                      <a:pt x="43" y="0"/>
                    </a:cubicBezTo>
                    <a:lnTo>
                      <a:pt x="66" y="6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4" name="任意多边形: 形状 173">
                <a:extLst>
                  <a:ext uri="{FF2B5EF4-FFF2-40B4-BE49-F238E27FC236}">
                    <a16:creationId xmlns:a16="http://schemas.microsoft.com/office/drawing/2014/main" id="{D231D25A-ADF4-45AB-AD6D-64FE00F06F9E}"/>
                  </a:ext>
                </a:extLst>
              </p:cNvPr>
              <p:cNvSpPr/>
              <p:nvPr/>
            </p:nvSpPr>
            <p:spPr bwMode="auto">
              <a:xfrm>
                <a:off x="5597352" y="2120876"/>
                <a:ext cx="417965" cy="648111"/>
              </a:xfrm>
              <a:custGeom>
                <a:avLst/>
                <a:gdLst>
                  <a:gd name="T0" fmla="*/ 66 w 76"/>
                  <a:gd name="T1" fmla="*/ 6 h 118"/>
                  <a:gd name="T2" fmla="*/ 23 w 76"/>
                  <a:gd name="T3" fmla="*/ 47 h 118"/>
                  <a:gd name="T4" fmla="*/ 15 w 76"/>
                  <a:gd name="T5" fmla="*/ 113 h 118"/>
                  <a:gd name="T6" fmla="*/ 1 w 76"/>
                  <a:gd name="T7" fmla="*/ 112 h 118"/>
                  <a:gd name="T8" fmla="*/ 2 w 76"/>
                  <a:gd name="T9" fmla="*/ 37 h 118"/>
                  <a:gd name="T10" fmla="*/ 42 w 76"/>
                  <a:gd name="T11" fmla="*/ 0 h 118"/>
                  <a:gd name="T12" fmla="*/ 66 w 76"/>
                  <a:gd name="T13" fmla="*/ 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" h="118">
                    <a:moveTo>
                      <a:pt x="66" y="6"/>
                    </a:moveTo>
                    <a:cubicBezTo>
                      <a:pt x="76" y="28"/>
                      <a:pt x="32" y="33"/>
                      <a:pt x="23" y="47"/>
                    </a:cubicBezTo>
                    <a:cubicBezTo>
                      <a:pt x="14" y="61"/>
                      <a:pt x="18" y="104"/>
                      <a:pt x="15" y="113"/>
                    </a:cubicBezTo>
                    <a:cubicBezTo>
                      <a:pt x="14" y="118"/>
                      <a:pt x="1" y="118"/>
                      <a:pt x="1" y="112"/>
                    </a:cubicBezTo>
                    <a:cubicBezTo>
                      <a:pt x="1" y="99"/>
                      <a:pt x="0" y="51"/>
                      <a:pt x="2" y="37"/>
                    </a:cubicBezTo>
                    <a:cubicBezTo>
                      <a:pt x="5" y="23"/>
                      <a:pt x="42" y="0"/>
                      <a:pt x="42" y="0"/>
                    </a:cubicBezTo>
                    <a:lnTo>
                      <a:pt x="66" y="6"/>
                    </a:lnTo>
                    <a:close/>
                  </a:path>
                </a:pathLst>
              </a:custGeom>
              <a:solidFill>
                <a:srgbClr val="388BF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5" name="任意多边形: 形状 174">
                <a:extLst>
                  <a:ext uri="{FF2B5EF4-FFF2-40B4-BE49-F238E27FC236}">
                    <a16:creationId xmlns:a16="http://schemas.microsoft.com/office/drawing/2014/main" id="{995FF9FF-60D5-4417-A06C-48F54FB69CDD}"/>
                  </a:ext>
                </a:extLst>
              </p:cNvPr>
              <p:cNvSpPr/>
              <p:nvPr/>
            </p:nvSpPr>
            <p:spPr bwMode="auto">
              <a:xfrm>
                <a:off x="5465084" y="1663232"/>
                <a:ext cx="325378" cy="402093"/>
              </a:xfrm>
              <a:custGeom>
                <a:avLst/>
                <a:gdLst>
                  <a:gd name="T0" fmla="*/ 59 w 59"/>
                  <a:gd name="T1" fmla="*/ 3 h 73"/>
                  <a:gd name="T2" fmla="*/ 45 w 59"/>
                  <a:gd name="T3" fmla="*/ 8 h 73"/>
                  <a:gd name="T4" fmla="*/ 40 w 59"/>
                  <a:gd name="T5" fmla="*/ 43 h 73"/>
                  <a:gd name="T6" fmla="*/ 0 w 59"/>
                  <a:gd name="T7" fmla="*/ 68 h 73"/>
                  <a:gd name="T8" fmla="*/ 10 w 59"/>
                  <a:gd name="T9" fmla="*/ 73 h 73"/>
                  <a:gd name="T10" fmla="*/ 47 w 59"/>
                  <a:gd name="T11" fmla="*/ 52 h 73"/>
                  <a:gd name="T12" fmla="*/ 52 w 59"/>
                  <a:gd name="T13" fmla="*/ 39 h 73"/>
                  <a:gd name="T14" fmla="*/ 59 w 59"/>
                  <a:gd name="T15" fmla="*/ 3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73">
                    <a:moveTo>
                      <a:pt x="59" y="3"/>
                    </a:moveTo>
                    <a:cubicBezTo>
                      <a:pt x="56" y="0"/>
                      <a:pt x="48" y="1"/>
                      <a:pt x="45" y="8"/>
                    </a:cubicBezTo>
                    <a:cubicBezTo>
                      <a:pt x="41" y="14"/>
                      <a:pt x="40" y="39"/>
                      <a:pt x="40" y="43"/>
                    </a:cubicBezTo>
                    <a:cubicBezTo>
                      <a:pt x="39" y="47"/>
                      <a:pt x="0" y="68"/>
                      <a:pt x="0" y="68"/>
                    </a:cubicBezTo>
                    <a:cubicBezTo>
                      <a:pt x="10" y="73"/>
                      <a:pt x="10" y="73"/>
                      <a:pt x="10" y="73"/>
                    </a:cubicBezTo>
                    <a:cubicBezTo>
                      <a:pt x="10" y="73"/>
                      <a:pt x="43" y="56"/>
                      <a:pt x="47" y="52"/>
                    </a:cubicBezTo>
                    <a:cubicBezTo>
                      <a:pt x="51" y="49"/>
                      <a:pt x="52" y="39"/>
                      <a:pt x="52" y="39"/>
                    </a:cubicBezTo>
                    <a:lnTo>
                      <a:pt x="59" y="3"/>
                    </a:ln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6" name="任意多边形: 形状 175">
                <a:extLst>
                  <a:ext uri="{FF2B5EF4-FFF2-40B4-BE49-F238E27FC236}">
                    <a16:creationId xmlns:a16="http://schemas.microsoft.com/office/drawing/2014/main" id="{AFC89AA7-B0F6-4197-9949-F2C5F469F350}"/>
                  </a:ext>
                </a:extLst>
              </p:cNvPr>
              <p:cNvSpPr/>
              <p:nvPr/>
            </p:nvSpPr>
            <p:spPr bwMode="auto">
              <a:xfrm>
                <a:off x="5684649" y="1657941"/>
                <a:ext cx="309506" cy="560813"/>
              </a:xfrm>
              <a:custGeom>
                <a:avLst/>
                <a:gdLst>
                  <a:gd name="T0" fmla="*/ 39 w 56"/>
                  <a:gd name="T1" fmla="*/ 4 h 102"/>
                  <a:gd name="T2" fmla="*/ 54 w 56"/>
                  <a:gd name="T3" fmla="*/ 24 h 102"/>
                  <a:gd name="T4" fmla="*/ 54 w 56"/>
                  <a:gd name="T5" fmla="*/ 52 h 102"/>
                  <a:gd name="T6" fmla="*/ 52 w 56"/>
                  <a:gd name="T7" fmla="*/ 88 h 102"/>
                  <a:gd name="T8" fmla="*/ 48 w 56"/>
                  <a:gd name="T9" fmla="*/ 94 h 102"/>
                  <a:gd name="T10" fmla="*/ 5 w 56"/>
                  <a:gd name="T11" fmla="*/ 81 h 102"/>
                  <a:gd name="T12" fmla="*/ 2 w 56"/>
                  <a:gd name="T13" fmla="*/ 46 h 102"/>
                  <a:gd name="T14" fmla="*/ 4 w 56"/>
                  <a:gd name="T15" fmla="*/ 15 h 102"/>
                  <a:gd name="T16" fmla="*/ 21 w 56"/>
                  <a:gd name="T17" fmla="*/ 0 h 102"/>
                  <a:gd name="T18" fmla="*/ 39 w 56"/>
                  <a:gd name="T19" fmla="*/ 4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6" h="102">
                    <a:moveTo>
                      <a:pt x="39" y="4"/>
                    </a:moveTo>
                    <a:cubicBezTo>
                      <a:pt x="46" y="8"/>
                      <a:pt x="51" y="11"/>
                      <a:pt x="54" y="24"/>
                    </a:cubicBezTo>
                    <a:cubicBezTo>
                      <a:pt x="56" y="37"/>
                      <a:pt x="55" y="39"/>
                      <a:pt x="54" y="52"/>
                    </a:cubicBezTo>
                    <a:cubicBezTo>
                      <a:pt x="53" y="63"/>
                      <a:pt x="51" y="81"/>
                      <a:pt x="52" y="88"/>
                    </a:cubicBezTo>
                    <a:cubicBezTo>
                      <a:pt x="52" y="90"/>
                      <a:pt x="50" y="93"/>
                      <a:pt x="48" y="94"/>
                    </a:cubicBezTo>
                    <a:cubicBezTo>
                      <a:pt x="38" y="97"/>
                      <a:pt x="14" y="102"/>
                      <a:pt x="5" y="81"/>
                    </a:cubicBezTo>
                    <a:cubicBezTo>
                      <a:pt x="6" y="74"/>
                      <a:pt x="2" y="60"/>
                      <a:pt x="2" y="46"/>
                    </a:cubicBezTo>
                    <a:cubicBezTo>
                      <a:pt x="2" y="31"/>
                      <a:pt x="0" y="26"/>
                      <a:pt x="4" y="15"/>
                    </a:cubicBezTo>
                    <a:cubicBezTo>
                      <a:pt x="9" y="1"/>
                      <a:pt x="12" y="0"/>
                      <a:pt x="21" y="0"/>
                    </a:cubicBezTo>
                    <a:cubicBezTo>
                      <a:pt x="31" y="0"/>
                      <a:pt x="39" y="4"/>
                      <a:pt x="39" y="4"/>
                    </a:cubicBezTo>
                    <a:close/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7" name="任意多边形: 形状 176">
                <a:extLst>
                  <a:ext uri="{FF2B5EF4-FFF2-40B4-BE49-F238E27FC236}">
                    <a16:creationId xmlns:a16="http://schemas.microsoft.com/office/drawing/2014/main" id="{9183BA89-7ABA-4B4D-986D-9F4915E78C3A}"/>
                  </a:ext>
                </a:extLst>
              </p:cNvPr>
              <p:cNvSpPr/>
              <p:nvPr/>
            </p:nvSpPr>
            <p:spPr bwMode="auto">
              <a:xfrm>
                <a:off x="5708456" y="1411923"/>
                <a:ext cx="169302" cy="256599"/>
              </a:xfrm>
              <a:custGeom>
                <a:avLst/>
                <a:gdLst>
                  <a:gd name="T0" fmla="*/ 7 w 31"/>
                  <a:gd name="T1" fmla="*/ 8 h 47"/>
                  <a:gd name="T2" fmla="*/ 0 w 31"/>
                  <a:gd name="T3" fmla="*/ 19 h 47"/>
                  <a:gd name="T4" fmla="*/ 6 w 31"/>
                  <a:gd name="T5" fmla="*/ 46 h 47"/>
                  <a:gd name="T6" fmla="*/ 28 w 31"/>
                  <a:gd name="T7" fmla="*/ 35 h 47"/>
                  <a:gd name="T8" fmla="*/ 31 w 31"/>
                  <a:gd name="T9" fmla="*/ 15 h 47"/>
                  <a:gd name="T10" fmla="*/ 8 w 31"/>
                  <a:gd name="T11" fmla="*/ 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" h="47">
                    <a:moveTo>
                      <a:pt x="7" y="8"/>
                    </a:moveTo>
                    <a:cubicBezTo>
                      <a:pt x="7" y="8"/>
                      <a:pt x="0" y="10"/>
                      <a:pt x="0" y="19"/>
                    </a:cubicBezTo>
                    <a:cubicBezTo>
                      <a:pt x="1" y="29"/>
                      <a:pt x="0" y="46"/>
                      <a:pt x="6" y="46"/>
                    </a:cubicBezTo>
                    <a:cubicBezTo>
                      <a:pt x="13" y="47"/>
                      <a:pt x="25" y="43"/>
                      <a:pt x="28" y="35"/>
                    </a:cubicBezTo>
                    <a:cubicBezTo>
                      <a:pt x="28" y="32"/>
                      <a:pt x="31" y="22"/>
                      <a:pt x="31" y="15"/>
                    </a:cubicBezTo>
                    <a:cubicBezTo>
                      <a:pt x="31" y="7"/>
                      <a:pt x="20" y="0"/>
                      <a:pt x="8" y="7"/>
                    </a:cubicBezTo>
                  </a:path>
                </a:pathLst>
              </a:custGeom>
              <a:solidFill>
                <a:srgbClr val="FFC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8" name="任意多边形: 形状 177">
                <a:extLst>
                  <a:ext uri="{FF2B5EF4-FFF2-40B4-BE49-F238E27FC236}">
                    <a16:creationId xmlns:a16="http://schemas.microsoft.com/office/drawing/2014/main" id="{542713BD-4DFA-4DE7-926A-67E043FEE5C3}"/>
                  </a:ext>
                </a:extLst>
              </p:cNvPr>
              <p:cNvSpPr/>
              <p:nvPr/>
            </p:nvSpPr>
            <p:spPr bwMode="auto">
              <a:xfrm>
                <a:off x="5785172" y="1570644"/>
                <a:ext cx="66135" cy="132267"/>
              </a:xfrm>
              <a:custGeom>
                <a:avLst/>
                <a:gdLst>
                  <a:gd name="T0" fmla="*/ 12 w 12"/>
                  <a:gd name="T1" fmla="*/ 0 h 24"/>
                  <a:gd name="T2" fmla="*/ 12 w 12"/>
                  <a:gd name="T3" fmla="*/ 20 h 24"/>
                  <a:gd name="T4" fmla="*/ 0 w 12"/>
                  <a:gd name="T5" fmla="*/ 20 h 24"/>
                  <a:gd name="T6" fmla="*/ 0 w 12"/>
                  <a:gd name="T7" fmla="*/ 4 h 24"/>
                  <a:gd name="T8" fmla="*/ 12 w 1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4">
                    <a:moveTo>
                      <a:pt x="12" y="0"/>
                    </a:moveTo>
                    <a:cubicBezTo>
                      <a:pt x="12" y="0"/>
                      <a:pt x="12" y="17"/>
                      <a:pt x="12" y="20"/>
                    </a:cubicBezTo>
                    <a:cubicBezTo>
                      <a:pt x="12" y="24"/>
                      <a:pt x="0" y="24"/>
                      <a:pt x="0" y="20"/>
                    </a:cubicBezTo>
                    <a:cubicBezTo>
                      <a:pt x="0" y="15"/>
                      <a:pt x="0" y="4"/>
                      <a:pt x="0" y="4"/>
                    </a:cubicBez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FFC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79" name="任意多边形: 形状 178">
                <a:extLst>
                  <a:ext uri="{FF2B5EF4-FFF2-40B4-BE49-F238E27FC236}">
                    <a16:creationId xmlns:a16="http://schemas.microsoft.com/office/drawing/2014/main" id="{36F75CEB-4601-4665-A974-9A6C0D1E2B77}"/>
                  </a:ext>
                </a:extLst>
              </p:cNvPr>
              <p:cNvSpPr/>
              <p:nvPr/>
            </p:nvSpPr>
            <p:spPr bwMode="auto">
              <a:xfrm>
                <a:off x="5504765" y="2054743"/>
                <a:ext cx="433837" cy="251309"/>
              </a:xfrm>
              <a:custGeom>
                <a:avLst/>
                <a:gdLst>
                  <a:gd name="T0" fmla="*/ 4 w 164"/>
                  <a:gd name="T1" fmla="*/ 37 h 95"/>
                  <a:gd name="T2" fmla="*/ 68 w 164"/>
                  <a:gd name="T3" fmla="*/ 0 h 95"/>
                  <a:gd name="T4" fmla="*/ 160 w 164"/>
                  <a:gd name="T5" fmla="*/ 52 h 95"/>
                  <a:gd name="T6" fmla="*/ 162 w 164"/>
                  <a:gd name="T7" fmla="*/ 52 h 95"/>
                  <a:gd name="T8" fmla="*/ 164 w 164"/>
                  <a:gd name="T9" fmla="*/ 52 h 95"/>
                  <a:gd name="T10" fmla="*/ 164 w 164"/>
                  <a:gd name="T11" fmla="*/ 54 h 95"/>
                  <a:gd name="T12" fmla="*/ 95 w 164"/>
                  <a:gd name="T13" fmla="*/ 95 h 95"/>
                  <a:gd name="T14" fmla="*/ 0 w 164"/>
                  <a:gd name="T15" fmla="*/ 39 h 95"/>
                  <a:gd name="T16" fmla="*/ 0 w 164"/>
                  <a:gd name="T17" fmla="*/ 37 h 95"/>
                  <a:gd name="T18" fmla="*/ 4 w 164"/>
                  <a:gd name="T19" fmla="*/ 37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4" h="95">
                    <a:moveTo>
                      <a:pt x="4" y="37"/>
                    </a:moveTo>
                    <a:lnTo>
                      <a:pt x="68" y="0"/>
                    </a:lnTo>
                    <a:lnTo>
                      <a:pt x="160" y="52"/>
                    </a:lnTo>
                    <a:lnTo>
                      <a:pt x="162" y="52"/>
                    </a:lnTo>
                    <a:lnTo>
                      <a:pt x="164" y="52"/>
                    </a:lnTo>
                    <a:lnTo>
                      <a:pt x="164" y="54"/>
                    </a:lnTo>
                    <a:lnTo>
                      <a:pt x="95" y="95"/>
                    </a:lnTo>
                    <a:lnTo>
                      <a:pt x="0" y="39"/>
                    </a:lnTo>
                    <a:lnTo>
                      <a:pt x="0" y="37"/>
                    </a:ln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0" name="任意多边形: 形状 179">
                <a:extLst>
                  <a:ext uri="{FF2B5EF4-FFF2-40B4-BE49-F238E27FC236}">
                    <a16:creationId xmlns:a16="http://schemas.microsoft.com/office/drawing/2014/main" id="{81F2DA37-4A8B-4075-9A25-8318C7D538E4}"/>
                  </a:ext>
                </a:extLst>
              </p:cNvPr>
              <p:cNvSpPr/>
              <p:nvPr/>
            </p:nvSpPr>
            <p:spPr bwMode="auto">
              <a:xfrm>
                <a:off x="5504765" y="2049452"/>
                <a:ext cx="433837" cy="251309"/>
              </a:xfrm>
              <a:custGeom>
                <a:avLst/>
                <a:gdLst>
                  <a:gd name="T0" fmla="*/ 164 w 164"/>
                  <a:gd name="T1" fmla="*/ 54 h 95"/>
                  <a:gd name="T2" fmla="*/ 93 w 164"/>
                  <a:gd name="T3" fmla="*/ 95 h 95"/>
                  <a:gd name="T4" fmla="*/ 0 w 164"/>
                  <a:gd name="T5" fmla="*/ 39 h 95"/>
                  <a:gd name="T6" fmla="*/ 68 w 164"/>
                  <a:gd name="T7" fmla="*/ 0 h 95"/>
                  <a:gd name="T8" fmla="*/ 164 w 164"/>
                  <a:gd name="T9" fmla="*/ 54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4" h="95">
                    <a:moveTo>
                      <a:pt x="164" y="54"/>
                    </a:moveTo>
                    <a:lnTo>
                      <a:pt x="93" y="95"/>
                    </a:lnTo>
                    <a:lnTo>
                      <a:pt x="0" y="39"/>
                    </a:lnTo>
                    <a:lnTo>
                      <a:pt x="68" y="0"/>
                    </a:lnTo>
                    <a:lnTo>
                      <a:pt x="164" y="54"/>
                    </a:lnTo>
                    <a:close/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1" name="任意多边形: 形状 180">
                <a:extLst>
                  <a:ext uri="{FF2B5EF4-FFF2-40B4-BE49-F238E27FC236}">
                    <a16:creationId xmlns:a16="http://schemas.microsoft.com/office/drawing/2014/main" id="{148DC8EA-80D2-4838-A628-E4DBB2A360AB}"/>
                  </a:ext>
                </a:extLst>
              </p:cNvPr>
              <p:cNvSpPr/>
              <p:nvPr/>
            </p:nvSpPr>
            <p:spPr bwMode="auto">
              <a:xfrm>
                <a:off x="5449212" y="1983318"/>
                <a:ext cx="306860" cy="322732"/>
              </a:xfrm>
              <a:custGeom>
                <a:avLst/>
                <a:gdLst>
                  <a:gd name="T0" fmla="*/ 2 w 116"/>
                  <a:gd name="T1" fmla="*/ 0 h 122"/>
                  <a:gd name="T2" fmla="*/ 98 w 116"/>
                  <a:gd name="T3" fmla="*/ 56 h 122"/>
                  <a:gd name="T4" fmla="*/ 116 w 116"/>
                  <a:gd name="T5" fmla="*/ 122 h 122"/>
                  <a:gd name="T6" fmla="*/ 114 w 116"/>
                  <a:gd name="T7" fmla="*/ 122 h 122"/>
                  <a:gd name="T8" fmla="*/ 112 w 116"/>
                  <a:gd name="T9" fmla="*/ 120 h 122"/>
                  <a:gd name="T10" fmla="*/ 112 w 116"/>
                  <a:gd name="T11" fmla="*/ 120 h 122"/>
                  <a:gd name="T12" fmla="*/ 19 w 116"/>
                  <a:gd name="T13" fmla="*/ 68 h 122"/>
                  <a:gd name="T14" fmla="*/ 2 w 116"/>
                  <a:gd name="T15" fmla="*/ 4 h 122"/>
                  <a:gd name="T16" fmla="*/ 0 w 116"/>
                  <a:gd name="T17" fmla="*/ 4 h 122"/>
                  <a:gd name="T18" fmla="*/ 0 w 116"/>
                  <a:gd name="T19" fmla="*/ 2 h 122"/>
                  <a:gd name="T20" fmla="*/ 2 w 116"/>
                  <a:gd name="T21" fmla="*/ 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6" h="122">
                    <a:moveTo>
                      <a:pt x="2" y="0"/>
                    </a:moveTo>
                    <a:lnTo>
                      <a:pt x="98" y="56"/>
                    </a:lnTo>
                    <a:lnTo>
                      <a:pt x="116" y="122"/>
                    </a:lnTo>
                    <a:lnTo>
                      <a:pt x="114" y="122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9" y="68"/>
                    </a:lnTo>
                    <a:lnTo>
                      <a:pt x="2" y="4"/>
                    </a:lnTo>
                    <a:lnTo>
                      <a:pt x="0" y="4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2" name="任意多边形: 形状 181">
                <a:extLst>
                  <a:ext uri="{FF2B5EF4-FFF2-40B4-BE49-F238E27FC236}">
                    <a16:creationId xmlns:a16="http://schemas.microsoft.com/office/drawing/2014/main" id="{FE937583-F0E7-4748-B7DE-ACE6ACE2F50C}"/>
                  </a:ext>
                </a:extLst>
              </p:cNvPr>
              <p:cNvSpPr/>
              <p:nvPr/>
            </p:nvSpPr>
            <p:spPr bwMode="auto">
              <a:xfrm>
                <a:off x="5449212" y="1988608"/>
                <a:ext cx="301570" cy="317442"/>
              </a:xfrm>
              <a:custGeom>
                <a:avLst/>
                <a:gdLst>
                  <a:gd name="T0" fmla="*/ 114 w 114"/>
                  <a:gd name="T1" fmla="*/ 120 h 120"/>
                  <a:gd name="T2" fmla="*/ 96 w 114"/>
                  <a:gd name="T3" fmla="*/ 54 h 120"/>
                  <a:gd name="T4" fmla="*/ 0 w 114"/>
                  <a:gd name="T5" fmla="*/ 0 h 120"/>
                  <a:gd name="T6" fmla="*/ 19 w 114"/>
                  <a:gd name="T7" fmla="*/ 66 h 120"/>
                  <a:gd name="T8" fmla="*/ 114 w 114"/>
                  <a:gd name="T9" fmla="*/ 120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4" h="120">
                    <a:moveTo>
                      <a:pt x="114" y="120"/>
                    </a:moveTo>
                    <a:lnTo>
                      <a:pt x="96" y="54"/>
                    </a:lnTo>
                    <a:lnTo>
                      <a:pt x="0" y="0"/>
                    </a:lnTo>
                    <a:lnTo>
                      <a:pt x="19" y="66"/>
                    </a:lnTo>
                    <a:lnTo>
                      <a:pt x="114" y="120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3" name="任意多边形: 形状 182">
                <a:extLst>
                  <a:ext uri="{FF2B5EF4-FFF2-40B4-BE49-F238E27FC236}">
                    <a16:creationId xmlns:a16="http://schemas.microsoft.com/office/drawing/2014/main" id="{64AA00FA-FEDD-4B8D-8101-8711190A342D}"/>
                  </a:ext>
                </a:extLst>
              </p:cNvPr>
              <p:cNvSpPr/>
              <p:nvPr/>
            </p:nvSpPr>
            <p:spPr bwMode="auto">
              <a:xfrm>
                <a:off x="5570898" y="2131457"/>
                <a:ext cx="37035" cy="44972"/>
              </a:xfrm>
              <a:custGeom>
                <a:avLst/>
                <a:gdLst>
                  <a:gd name="T0" fmla="*/ 5 w 7"/>
                  <a:gd name="T1" fmla="*/ 3 h 8"/>
                  <a:gd name="T2" fmla="*/ 6 w 7"/>
                  <a:gd name="T3" fmla="*/ 7 h 8"/>
                  <a:gd name="T4" fmla="*/ 2 w 7"/>
                  <a:gd name="T5" fmla="*/ 6 h 8"/>
                  <a:gd name="T6" fmla="*/ 1 w 7"/>
                  <a:gd name="T7" fmla="*/ 1 h 8"/>
                  <a:gd name="T8" fmla="*/ 5 w 7"/>
                  <a:gd name="T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5" y="3"/>
                    </a:moveTo>
                    <a:cubicBezTo>
                      <a:pt x="7" y="4"/>
                      <a:pt x="7" y="6"/>
                      <a:pt x="6" y="7"/>
                    </a:cubicBezTo>
                    <a:cubicBezTo>
                      <a:pt x="5" y="8"/>
                      <a:pt x="3" y="7"/>
                      <a:pt x="2" y="6"/>
                    </a:cubicBezTo>
                    <a:cubicBezTo>
                      <a:pt x="0" y="4"/>
                      <a:pt x="0" y="2"/>
                      <a:pt x="1" y="1"/>
                    </a:cubicBezTo>
                    <a:cubicBezTo>
                      <a:pt x="2" y="0"/>
                      <a:pt x="4" y="1"/>
                      <a:pt x="5" y="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4" name="任意多边形: 形状 183">
                <a:extLst>
                  <a:ext uri="{FF2B5EF4-FFF2-40B4-BE49-F238E27FC236}">
                    <a16:creationId xmlns:a16="http://schemas.microsoft.com/office/drawing/2014/main" id="{150AB3A1-1ED2-44CF-9086-349080F79CA7}"/>
                  </a:ext>
                </a:extLst>
              </p:cNvPr>
              <p:cNvSpPr/>
              <p:nvPr/>
            </p:nvSpPr>
            <p:spPr bwMode="auto">
              <a:xfrm>
                <a:off x="5801044" y="2157911"/>
                <a:ext cx="116395" cy="121686"/>
              </a:xfrm>
              <a:custGeom>
                <a:avLst/>
                <a:gdLst>
                  <a:gd name="T0" fmla="*/ 21 w 21"/>
                  <a:gd name="T1" fmla="*/ 5 h 22"/>
                  <a:gd name="T2" fmla="*/ 12 w 21"/>
                  <a:gd name="T3" fmla="*/ 20 h 22"/>
                  <a:gd name="T4" fmla="*/ 2 w 21"/>
                  <a:gd name="T5" fmla="*/ 20 h 22"/>
                  <a:gd name="T6" fmla="*/ 7 w 21"/>
                  <a:gd name="T7" fmla="*/ 9 h 22"/>
                  <a:gd name="T8" fmla="*/ 1 w 21"/>
                  <a:gd name="T9" fmla="*/ 10 h 22"/>
                  <a:gd name="T10" fmla="*/ 4 w 21"/>
                  <a:gd name="T11" fmla="*/ 6 h 22"/>
                  <a:gd name="T12" fmla="*/ 13 w 21"/>
                  <a:gd name="T13" fmla="*/ 2 h 22"/>
                  <a:gd name="T14" fmla="*/ 19 w 21"/>
                  <a:gd name="T15" fmla="*/ 3 h 22"/>
                  <a:gd name="T16" fmla="*/ 21 w 21"/>
                  <a:gd name="T1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22">
                    <a:moveTo>
                      <a:pt x="21" y="5"/>
                    </a:moveTo>
                    <a:cubicBezTo>
                      <a:pt x="21" y="5"/>
                      <a:pt x="17" y="17"/>
                      <a:pt x="12" y="20"/>
                    </a:cubicBezTo>
                    <a:cubicBezTo>
                      <a:pt x="6" y="22"/>
                      <a:pt x="2" y="21"/>
                      <a:pt x="2" y="20"/>
                    </a:cubicBezTo>
                    <a:cubicBezTo>
                      <a:pt x="1" y="19"/>
                      <a:pt x="7" y="12"/>
                      <a:pt x="7" y="9"/>
                    </a:cubicBezTo>
                    <a:cubicBezTo>
                      <a:pt x="7" y="9"/>
                      <a:pt x="3" y="12"/>
                      <a:pt x="1" y="10"/>
                    </a:cubicBezTo>
                    <a:cubicBezTo>
                      <a:pt x="0" y="9"/>
                      <a:pt x="3" y="8"/>
                      <a:pt x="4" y="6"/>
                    </a:cubicBezTo>
                    <a:cubicBezTo>
                      <a:pt x="5" y="5"/>
                      <a:pt x="13" y="3"/>
                      <a:pt x="13" y="2"/>
                    </a:cubicBezTo>
                    <a:cubicBezTo>
                      <a:pt x="14" y="0"/>
                      <a:pt x="19" y="3"/>
                      <a:pt x="19" y="3"/>
                    </a:cubicBezTo>
                    <a:lnTo>
                      <a:pt x="21" y="5"/>
                    </a:lnTo>
                    <a:close/>
                  </a:path>
                </a:pathLst>
              </a:custGeom>
              <a:solidFill>
                <a:srgbClr val="FFC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5" name="任意多边形: 形状 184">
                <a:extLst>
                  <a:ext uri="{FF2B5EF4-FFF2-40B4-BE49-F238E27FC236}">
                    <a16:creationId xmlns:a16="http://schemas.microsoft.com/office/drawing/2014/main" id="{AA444CFB-035B-4AEA-9DFC-D3B4E684A10D}"/>
                  </a:ext>
                </a:extLst>
              </p:cNvPr>
              <p:cNvSpPr/>
              <p:nvPr/>
            </p:nvSpPr>
            <p:spPr bwMode="auto">
              <a:xfrm>
                <a:off x="5867177" y="1687039"/>
                <a:ext cx="177239" cy="515843"/>
              </a:xfrm>
              <a:custGeom>
                <a:avLst/>
                <a:gdLst>
                  <a:gd name="T0" fmla="*/ 7 w 32"/>
                  <a:gd name="T1" fmla="*/ 5 h 94"/>
                  <a:gd name="T2" fmla="*/ 9 w 32"/>
                  <a:gd name="T3" fmla="*/ 25 h 94"/>
                  <a:gd name="T4" fmla="*/ 17 w 32"/>
                  <a:gd name="T5" fmla="*/ 56 h 94"/>
                  <a:gd name="T6" fmla="*/ 0 w 32"/>
                  <a:gd name="T7" fmla="*/ 88 h 94"/>
                  <a:gd name="T8" fmla="*/ 11 w 32"/>
                  <a:gd name="T9" fmla="*/ 93 h 94"/>
                  <a:gd name="T10" fmla="*/ 32 w 32"/>
                  <a:gd name="T11" fmla="*/ 56 h 94"/>
                  <a:gd name="T12" fmla="*/ 22 w 32"/>
                  <a:gd name="T13" fmla="*/ 11 h 94"/>
                  <a:gd name="T14" fmla="*/ 7 w 32"/>
                  <a:gd name="T15" fmla="*/ 5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" h="94">
                    <a:moveTo>
                      <a:pt x="7" y="5"/>
                    </a:moveTo>
                    <a:cubicBezTo>
                      <a:pt x="2" y="9"/>
                      <a:pt x="5" y="16"/>
                      <a:pt x="9" y="25"/>
                    </a:cubicBezTo>
                    <a:cubicBezTo>
                      <a:pt x="13" y="34"/>
                      <a:pt x="18" y="52"/>
                      <a:pt x="17" y="56"/>
                    </a:cubicBezTo>
                    <a:cubicBezTo>
                      <a:pt x="16" y="60"/>
                      <a:pt x="1" y="85"/>
                      <a:pt x="0" y="88"/>
                    </a:cubicBezTo>
                    <a:cubicBezTo>
                      <a:pt x="0" y="88"/>
                      <a:pt x="4" y="94"/>
                      <a:pt x="11" y="93"/>
                    </a:cubicBezTo>
                    <a:cubicBezTo>
                      <a:pt x="11" y="93"/>
                      <a:pt x="31" y="64"/>
                      <a:pt x="32" y="56"/>
                    </a:cubicBezTo>
                    <a:cubicBezTo>
                      <a:pt x="32" y="46"/>
                      <a:pt x="26" y="19"/>
                      <a:pt x="22" y="11"/>
                    </a:cubicBezTo>
                    <a:cubicBezTo>
                      <a:pt x="18" y="4"/>
                      <a:pt x="12" y="0"/>
                      <a:pt x="7" y="5"/>
                    </a:cubicBezTo>
                    <a:close/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6" name="任意多边形: 形状 185">
                <a:extLst>
                  <a:ext uri="{FF2B5EF4-FFF2-40B4-BE49-F238E27FC236}">
                    <a16:creationId xmlns:a16="http://schemas.microsoft.com/office/drawing/2014/main" id="{3067989C-8CC8-4B05-A1C4-BC5770168FC7}"/>
                  </a:ext>
                </a:extLst>
              </p:cNvPr>
              <p:cNvSpPr/>
              <p:nvPr/>
            </p:nvSpPr>
            <p:spPr bwMode="auto">
              <a:xfrm>
                <a:off x="5679358" y="1393406"/>
                <a:ext cx="248663" cy="269825"/>
              </a:xfrm>
              <a:custGeom>
                <a:avLst/>
                <a:gdLst>
                  <a:gd name="T0" fmla="*/ 30 w 45"/>
                  <a:gd name="T1" fmla="*/ 30 h 49"/>
                  <a:gd name="T2" fmla="*/ 22 w 45"/>
                  <a:gd name="T3" fmla="*/ 22 h 49"/>
                  <a:gd name="T4" fmla="*/ 0 w 45"/>
                  <a:gd name="T5" fmla="*/ 17 h 49"/>
                  <a:gd name="T6" fmla="*/ 25 w 45"/>
                  <a:gd name="T7" fmla="*/ 4 h 49"/>
                  <a:gd name="T8" fmla="*/ 38 w 45"/>
                  <a:gd name="T9" fmla="*/ 13 h 49"/>
                  <a:gd name="T10" fmla="*/ 31 w 45"/>
                  <a:gd name="T11" fmla="*/ 49 h 49"/>
                  <a:gd name="T12" fmla="*/ 31 w 45"/>
                  <a:gd name="T13" fmla="*/ 33 h 49"/>
                  <a:gd name="T14" fmla="*/ 30 w 45"/>
                  <a:gd name="T15" fmla="*/ 3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5" h="49">
                    <a:moveTo>
                      <a:pt x="30" y="30"/>
                    </a:moveTo>
                    <a:cubicBezTo>
                      <a:pt x="30" y="30"/>
                      <a:pt x="23" y="27"/>
                      <a:pt x="22" y="22"/>
                    </a:cubicBezTo>
                    <a:cubicBezTo>
                      <a:pt x="22" y="22"/>
                      <a:pt x="4" y="25"/>
                      <a:pt x="0" y="17"/>
                    </a:cubicBezTo>
                    <a:cubicBezTo>
                      <a:pt x="3" y="16"/>
                      <a:pt x="11" y="0"/>
                      <a:pt x="25" y="4"/>
                    </a:cubicBezTo>
                    <a:cubicBezTo>
                      <a:pt x="38" y="8"/>
                      <a:pt x="38" y="13"/>
                      <a:pt x="38" y="13"/>
                    </a:cubicBezTo>
                    <a:cubicBezTo>
                      <a:pt x="45" y="18"/>
                      <a:pt x="42" y="35"/>
                      <a:pt x="31" y="49"/>
                    </a:cubicBezTo>
                    <a:cubicBezTo>
                      <a:pt x="31" y="49"/>
                      <a:pt x="31" y="38"/>
                      <a:pt x="31" y="33"/>
                    </a:cubicBezTo>
                    <a:lnTo>
                      <a:pt x="30" y="30"/>
                    </a:lnTo>
                    <a:close/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7" name="任意多边形: 形状 186">
                <a:extLst>
                  <a:ext uri="{FF2B5EF4-FFF2-40B4-BE49-F238E27FC236}">
                    <a16:creationId xmlns:a16="http://schemas.microsoft.com/office/drawing/2014/main" id="{0F0DFC18-07A9-4D60-A725-B175A36161D4}"/>
                  </a:ext>
                </a:extLst>
              </p:cNvPr>
              <p:cNvSpPr/>
              <p:nvPr/>
            </p:nvSpPr>
            <p:spPr bwMode="auto">
              <a:xfrm>
                <a:off x="5840724" y="1530964"/>
                <a:ext cx="37035" cy="71425"/>
              </a:xfrm>
              <a:custGeom>
                <a:avLst/>
                <a:gdLst>
                  <a:gd name="T0" fmla="*/ 0 w 7"/>
                  <a:gd name="T1" fmla="*/ 13 h 13"/>
                  <a:gd name="T2" fmla="*/ 6 w 7"/>
                  <a:gd name="T3" fmla="*/ 5 h 13"/>
                  <a:gd name="T4" fmla="*/ 0 w 7"/>
                  <a:gd name="T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13"/>
                    </a:moveTo>
                    <a:cubicBezTo>
                      <a:pt x="3" y="13"/>
                      <a:pt x="6" y="7"/>
                      <a:pt x="6" y="5"/>
                    </a:cubicBezTo>
                    <a:cubicBezTo>
                      <a:pt x="7" y="2"/>
                      <a:pt x="5" y="0"/>
                      <a:pt x="0" y="4"/>
                    </a:cubicBezTo>
                  </a:path>
                </a:pathLst>
              </a:custGeom>
              <a:solidFill>
                <a:srgbClr val="FFC2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8" name="任意多边形: 形状 187">
                <a:extLst>
                  <a:ext uri="{FF2B5EF4-FFF2-40B4-BE49-F238E27FC236}">
                    <a16:creationId xmlns:a16="http://schemas.microsoft.com/office/drawing/2014/main" id="{C34DC137-C915-4A8D-9ED7-E48C24ABA679}"/>
                  </a:ext>
                </a:extLst>
              </p:cNvPr>
              <p:cNvSpPr/>
              <p:nvPr/>
            </p:nvSpPr>
            <p:spPr bwMode="auto">
              <a:xfrm>
                <a:off x="5131771" y="4115467"/>
                <a:ext cx="47616" cy="34390"/>
              </a:xfrm>
              <a:custGeom>
                <a:avLst/>
                <a:gdLst>
                  <a:gd name="T0" fmla="*/ 4 w 9"/>
                  <a:gd name="T1" fmla="*/ 6 h 6"/>
                  <a:gd name="T2" fmla="*/ 9 w 9"/>
                  <a:gd name="T3" fmla="*/ 3 h 6"/>
                  <a:gd name="T4" fmla="*/ 9 w 9"/>
                  <a:gd name="T5" fmla="*/ 0 h 6"/>
                  <a:gd name="T6" fmla="*/ 0 w 9"/>
                  <a:gd name="T7" fmla="*/ 0 h 6"/>
                  <a:gd name="T8" fmla="*/ 0 w 9"/>
                  <a:gd name="T9" fmla="*/ 3 h 6"/>
                  <a:gd name="T10" fmla="*/ 4 w 9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6">
                    <a:moveTo>
                      <a:pt x="4" y="6"/>
                    </a:moveTo>
                    <a:cubicBezTo>
                      <a:pt x="7" y="6"/>
                      <a:pt x="9" y="4"/>
                      <a:pt x="9" y="3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2" y="6"/>
                      <a:pt x="4" y="6"/>
                    </a:cubicBezTo>
                    <a:close/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89" name="椭圆 188">
                <a:extLst>
                  <a:ext uri="{FF2B5EF4-FFF2-40B4-BE49-F238E27FC236}">
                    <a16:creationId xmlns:a16="http://schemas.microsoft.com/office/drawing/2014/main" id="{D199C4C7-3BD3-4BF5-974D-9BE1CB4FDA50}"/>
                  </a:ext>
                </a:extLst>
              </p:cNvPr>
              <p:cNvSpPr/>
              <p:nvPr/>
            </p:nvSpPr>
            <p:spPr bwMode="auto">
              <a:xfrm>
                <a:off x="5131771" y="4104886"/>
                <a:ext cx="47616" cy="26453"/>
              </a:xfrm>
              <a:prstGeom prst="ellipse">
                <a:avLst/>
              </a:pr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0" name="任意多边形: 形状 189">
                <a:extLst>
                  <a:ext uri="{FF2B5EF4-FFF2-40B4-BE49-F238E27FC236}">
                    <a16:creationId xmlns:a16="http://schemas.microsoft.com/office/drawing/2014/main" id="{12AA5868-C6AD-438F-B5BC-D3EA07ADC5F3}"/>
                  </a:ext>
                </a:extLst>
              </p:cNvPr>
              <p:cNvSpPr/>
              <p:nvPr/>
            </p:nvSpPr>
            <p:spPr bwMode="auto">
              <a:xfrm>
                <a:off x="5137061" y="3686921"/>
                <a:ext cx="37035" cy="439128"/>
              </a:xfrm>
              <a:custGeom>
                <a:avLst/>
                <a:gdLst>
                  <a:gd name="T0" fmla="*/ 3 w 7"/>
                  <a:gd name="T1" fmla="*/ 80 h 80"/>
                  <a:gd name="T2" fmla="*/ 7 w 7"/>
                  <a:gd name="T3" fmla="*/ 78 h 80"/>
                  <a:gd name="T4" fmla="*/ 7 w 7"/>
                  <a:gd name="T5" fmla="*/ 0 h 80"/>
                  <a:gd name="T6" fmla="*/ 0 w 7"/>
                  <a:gd name="T7" fmla="*/ 0 h 80"/>
                  <a:gd name="T8" fmla="*/ 0 w 7"/>
                  <a:gd name="T9" fmla="*/ 78 h 80"/>
                  <a:gd name="T10" fmla="*/ 3 w 7"/>
                  <a:gd name="T1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0">
                    <a:moveTo>
                      <a:pt x="3" y="80"/>
                    </a:moveTo>
                    <a:cubicBezTo>
                      <a:pt x="5" y="80"/>
                      <a:pt x="7" y="79"/>
                      <a:pt x="7" y="78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  <a:close/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1" name="椭圆 190">
                <a:extLst>
                  <a:ext uri="{FF2B5EF4-FFF2-40B4-BE49-F238E27FC236}">
                    <a16:creationId xmlns:a16="http://schemas.microsoft.com/office/drawing/2014/main" id="{6A3AC6CB-CA71-4E8E-ADFB-8A437788D0D0}"/>
                  </a:ext>
                </a:extLst>
              </p:cNvPr>
              <p:cNvSpPr/>
              <p:nvPr/>
            </p:nvSpPr>
            <p:spPr bwMode="auto">
              <a:xfrm>
                <a:off x="5137061" y="3676339"/>
                <a:ext cx="37035" cy="26453"/>
              </a:xfrm>
              <a:prstGeom prst="ellipse">
                <a:avLst/>
              </a:pr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2" name="任意多边形: 形状 191">
                <a:extLst>
                  <a:ext uri="{FF2B5EF4-FFF2-40B4-BE49-F238E27FC236}">
                    <a16:creationId xmlns:a16="http://schemas.microsoft.com/office/drawing/2014/main" id="{F3A129CE-F68D-4D52-B289-38F66FDE7DFB}"/>
                  </a:ext>
                </a:extLst>
              </p:cNvPr>
              <p:cNvSpPr/>
              <p:nvPr/>
            </p:nvSpPr>
            <p:spPr bwMode="auto">
              <a:xfrm>
                <a:off x="5861886" y="3702793"/>
                <a:ext cx="44972" cy="29100"/>
              </a:xfrm>
              <a:custGeom>
                <a:avLst/>
                <a:gdLst>
                  <a:gd name="T0" fmla="*/ 4 w 8"/>
                  <a:gd name="T1" fmla="*/ 5 h 5"/>
                  <a:gd name="T2" fmla="*/ 8 w 8"/>
                  <a:gd name="T3" fmla="*/ 3 h 5"/>
                  <a:gd name="T4" fmla="*/ 8 w 8"/>
                  <a:gd name="T5" fmla="*/ 0 h 5"/>
                  <a:gd name="T6" fmla="*/ 0 w 8"/>
                  <a:gd name="T7" fmla="*/ 0 h 5"/>
                  <a:gd name="T8" fmla="*/ 0 w 8"/>
                  <a:gd name="T9" fmla="*/ 3 h 5"/>
                  <a:gd name="T10" fmla="*/ 4 w 8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4" y="5"/>
                    </a:moveTo>
                    <a:cubicBezTo>
                      <a:pt x="6" y="5"/>
                      <a:pt x="8" y="4"/>
                      <a:pt x="8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2" y="5"/>
                      <a:pt x="4" y="5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3" name="椭圆 192">
                <a:extLst>
                  <a:ext uri="{FF2B5EF4-FFF2-40B4-BE49-F238E27FC236}">
                    <a16:creationId xmlns:a16="http://schemas.microsoft.com/office/drawing/2014/main" id="{E62A46B0-3674-45EC-BD39-D38D707A85AD}"/>
                  </a:ext>
                </a:extLst>
              </p:cNvPr>
              <p:cNvSpPr/>
              <p:nvPr/>
            </p:nvSpPr>
            <p:spPr bwMode="auto">
              <a:xfrm>
                <a:off x="5861886" y="3692212"/>
                <a:ext cx="44972" cy="29100"/>
              </a:xfrm>
              <a:prstGeom prst="ellipse">
                <a:avLst/>
              </a:pr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4" name="任意多边形: 形状 193">
                <a:extLst>
                  <a:ext uri="{FF2B5EF4-FFF2-40B4-BE49-F238E27FC236}">
                    <a16:creationId xmlns:a16="http://schemas.microsoft.com/office/drawing/2014/main" id="{B4482AFF-E79A-4F31-B21F-101446FBFE0A}"/>
                  </a:ext>
                </a:extLst>
              </p:cNvPr>
              <p:cNvSpPr/>
              <p:nvPr/>
            </p:nvSpPr>
            <p:spPr bwMode="auto">
              <a:xfrm>
                <a:off x="5861886" y="3274247"/>
                <a:ext cx="44972" cy="441774"/>
              </a:xfrm>
              <a:custGeom>
                <a:avLst/>
                <a:gdLst>
                  <a:gd name="T0" fmla="*/ 4 w 8"/>
                  <a:gd name="T1" fmla="*/ 80 h 80"/>
                  <a:gd name="T2" fmla="*/ 8 w 8"/>
                  <a:gd name="T3" fmla="*/ 78 h 80"/>
                  <a:gd name="T4" fmla="*/ 8 w 8"/>
                  <a:gd name="T5" fmla="*/ 0 h 80"/>
                  <a:gd name="T6" fmla="*/ 0 w 8"/>
                  <a:gd name="T7" fmla="*/ 0 h 80"/>
                  <a:gd name="T8" fmla="*/ 0 w 8"/>
                  <a:gd name="T9" fmla="*/ 78 h 80"/>
                  <a:gd name="T10" fmla="*/ 4 w 8"/>
                  <a:gd name="T1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80">
                    <a:moveTo>
                      <a:pt x="4" y="80"/>
                    </a:moveTo>
                    <a:cubicBezTo>
                      <a:pt x="6" y="80"/>
                      <a:pt x="8" y="79"/>
                      <a:pt x="8" y="7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2" y="80"/>
                      <a:pt x="4" y="8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5" name="任意多边形: 形状 194">
                <a:extLst>
                  <a:ext uri="{FF2B5EF4-FFF2-40B4-BE49-F238E27FC236}">
                    <a16:creationId xmlns:a16="http://schemas.microsoft.com/office/drawing/2014/main" id="{B069E6CF-AC2A-4160-AE1E-9E9E28E1EE69}"/>
                  </a:ext>
                </a:extLst>
              </p:cNvPr>
              <p:cNvSpPr/>
              <p:nvPr/>
            </p:nvSpPr>
            <p:spPr bwMode="auto">
              <a:xfrm>
                <a:off x="5861886" y="3263665"/>
                <a:ext cx="44972" cy="26453"/>
              </a:xfrm>
              <a:custGeom>
                <a:avLst/>
                <a:gdLst>
                  <a:gd name="T0" fmla="*/ 4 w 8"/>
                  <a:gd name="T1" fmla="*/ 0 h 5"/>
                  <a:gd name="T2" fmla="*/ 0 w 8"/>
                  <a:gd name="T3" fmla="*/ 2 h 5"/>
                  <a:gd name="T4" fmla="*/ 4 w 8"/>
                  <a:gd name="T5" fmla="*/ 5 h 5"/>
                  <a:gd name="T6" fmla="*/ 8 w 8"/>
                  <a:gd name="T7" fmla="*/ 2 h 5"/>
                  <a:gd name="T8" fmla="*/ 4 w 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cubicBezTo>
                      <a:pt x="2" y="0"/>
                      <a:pt x="0" y="1"/>
                      <a:pt x="0" y="2"/>
                    </a:cubicBezTo>
                    <a:cubicBezTo>
                      <a:pt x="0" y="4"/>
                      <a:pt x="2" y="5"/>
                      <a:pt x="4" y="5"/>
                    </a:cubicBezTo>
                    <a:cubicBezTo>
                      <a:pt x="6" y="5"/>
                      <a:pt x="8" y="3"/>
                      <a:pt x="8" y="2"/>
                    </a:cubicBezTo>
                    <a:cubicBezTo>
                      <a:pt x="8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6" name="任意多边形: 形状 195">
                <a:extLst>
                  <a:ext uri="{FF2B5EF4-FFF2-40B4-BE49-F238E27FC236}">
                    <a16:creationId xmlns:a16="http://schemas.microsoft.com/office/drawing/2014/main" id="{5CFAB161-F3E8-479C-BF5A-5F3911DD6C54}"/>
                  </a:ext>
                </a:extLst>
              </p:cNvPr>
              <p:cNvSpPr/>
              <p:nvPr/>
            </p:nvSpPr>
            <p:spPr bwMode="auto">
              <a:xfrm>
                <a:off x="4785231" y="3917067"/>
                <a:ext cx="42326" cy="34390"/>
              </a:xfrm>
              <a:custGeom>
                <a:avLst/>
                <a:gdLst>
                  <a:gd name="T0" fmla="*/ 4 w 8"/>
                  <a:gd name="T1" fmla="*/ 6 h 6"/>
                  <a:gd name="T2" fmla="*/ 8 w 8"/>
                  <a:gd name="T3" fmla="*/ 3 h 6"/>
                  <a:gd name="T4" fmla="*/ 8 w 8"/>
                  <a:gd name="T5" fmla="*/ 0 h 6"/>
                  <a:gd name="T6" fmla="*/ 0 w 8"/>
                  <a:gd name="T7" fmla="*/ 1 h 6"/>
                  <a:gd name="T8" fmla="*/ 0 w 8"/>
                  <a:gd name="T9" fmla="*/ 3 h 6"/>
                  <a:gd name="T10" fmla="*/ 4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4" y="6"/>
                    </a:moveTo>
                    <a:cubicBezTo>
                      <a:pt x="7" y="6"/>
                      <a:pt x="8" y="4"/>
                      <a:pt x="8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4"/>
                      <a:pt x="2" y="6"/>
                      <a:pt x="4" y="6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7" name="任意多边形: 形状 196">
                <a:extLst>
                  <a:ext uri="{FF2B5EF4-FFF2-40B4-BE49-F238E27FC236}">
                    <a16:creationId xmlns:a16="http://schemas.microsoft.com/office/drawing/2014/main" id="{01D54530-CBD0-45D8-8103-42D6DD48561E}"/>
                  </a:ext>
                </a:extLst>
              </p:cNvPr>
              <p:cNvSpPr/>
              <p:nvPr/>
            </p:nvSpPr>
            <p:spPr bwMode="auto">
              <a:xfrm>
                <a:off x="4785231" y="3906485"/>
                <a:ext cx="42326" cy="29100"/>
              </a:xfrm>
              <a:custGeom>
                <a:avLst/>
                <a:gdLst>
                  <a:gd name="T0" fmla="*/ 4 w 8"/>
                  <a:gd name="T1" fmla="*/ 0 h 5"/>
                  <a:gd name="T2" fmla="*/ 0 w 8"/>
                  <a:gd name="T3" fmla="*/ 3 h 5"/>
                  <a:gd name="T4" fmla="*/ 4 w 8"/>
                  <a:gd name="T5" fmla="*/ 5 h 5"/>
                  <a:gd name="T6" fmla="*/ 8 w 8"/>
                  <a:gd name="T7" fmla="*/ 2 h 5"/>
                  <a:gd name="T8" fmla="*/ 4 w 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4" y="5"/>
                    </a:cubicBezTo>
                    <a:cubicBezTo>
                      <a:pt x="7" y="5"/>
                      <a:pt x="8" y="4"/>
                      <a:pt x="8" y="2"/>
                    </a:cubicBezTo>
                    <a:cubicBezTo>
                      <a:pt x="8" y="1"/>
                      <a:pt x="6" y="0"/>
                      <a:pt x="4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8" name="任意多边形: 形状 197">
                <a:extLst>
                  <a:ext uri="{FF2B5EF4-FFF2-40B4-BE49-F238E27FC236}">
                    <a16:creationId xmlns:a16="http://schemas.microsoft.com/office/drawing/2014/main" id="{55727151-ABFB-4A81-9230-EE36B90E192E}"/>
                  </a:ext>
                </a:extLst>
              </p:cNvPr>
              <p:cNvSpPr/>
              <p:nvPr/>
            </p:nvSpPr>
            <p:spPr bwMode="auto">
              <a:xfrm>
                <a:off x="4790522" y="3488521"/>
                <a:ext cx="37035" cy="441774"/>
              </a:xfrm>
              <a:custGeom>
                <a:avLst/>
                <a:gdLst>
                  <a:gd name="T0" fmla="*/ 3 w 7"/>
                  <a:gd name="T1" fmla="*/ 80 h 80"/>
                  <a:gd name="T2" fmla="*/ 7 w 7"/>
                  <a:gd name="T3" fmla="*/ 78 h 80"/>
                  <a:gd name="T4" fmla="*/ 7 w 7"/>
                  <a:gd name="T5" fmla="*/ 0 h 80"/>
                  <a:gd name="T6" fmla="*/ 0 w 7"/>
                  <a:gd name="T7" fmla="*/ 0 h 80"/>
                  <a:gd name="T8" fmla="*/ 0 w 7"/>
                  <a:gd name="T9" fmla="*/ 78 h 80"/>
                  <a:gd name="T10" fmla="*/ 3 w 7"/>
                  <a:gd name="T1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0">
                    <a:moveTo>
                      <a:pt x="3" y="80"/>
                    </a:moveTo>
                    <a:cubicBezTo>
                      <a:pt x="5" y="80"/>
                      <a:pt x="7" y="79"/>
                      <a:pt x="7" y="78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1" y="80"/>
                      <a:pt x="3" y="8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99" name="椭圆 198">
                <a:extLst>
                  <a:ext uri="{FF2B5EF4-FFF2-40B4-BE49-F238E27FC236}">
                    <a16:creationId xmlns:a16="http://schemas.microsoft.com/office/drawing/2014/main" id="{62C2F958-047E-4E3A-BF4B-977FE311A868}"/>
                  </a:ext>
                </a:extLst>
              </p:cNvPr>
              <p:cNvSpPr/>
              <p:nvPr/>
            </p:nvSpPr>
            <p:spPr bwMode="auto">
              <a:xfrm>
                <a:off x="4790522" y="3477939"/>
                <a:ext cx="37035" cy="29100"/>
              </a:xfrm>
              <a:prstGeom prst="ellipse">
                <a:avLst/>
              </a:pr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0" name="任意多边形: 形状 199">
                <a:extLst>
                  <a:ext uri="{FF2B5EF4-FFF2-40B4-BE49-F238E27FC236}">
                    <a16:creationId xmlns:a16="http://schemas.microsoft.com/office/drawing/2014/main" id="{41DF56FF-7E01-4287-A4B3-2034B1E95F8C}"/>
                  </a:ext>
                </a:extLst>
              </p:cNvPr>
              <p:cNvSpPr/>
              <p:nvPr/>
            </p:nvSpPr>
            <p:spPr bwMode="auto">
              <a:xfrm>
                <a:off x="4761422" y="3083782"/>
                <a:ext cx="1177180" cy="653401"/>
              </a:xfrm>
              <a:custGeom>
                <a:avLst/>
                <a:gdLst>
                  <a:gd name="T0" fmla="*/ 214 w 214"/>
                  <a:gd name="T1" fmla="*/ 35 h 119"/>
                  <a:gd name="T2" fmla="*/ 214 w 214"/>
                  <a:gd name="T3" fmla="*/ 35 h 119"/>
                  <a:gd name="T4" fmla="*/ 214 w 214"/>
                  <a:gd name="T5" fmla="*/ 29 h 119"/>
                  <a:gd name="T6" fmla="*/ 206 w 214"/>
                  <a:gd name="T7" fmla="*/ 35 h 119"/>
                  <a:gd name="T8" fmla="*/ 154 w 214"/>
                  <a:gd name="T9" fmla="*/ 5 h 119"/>
                  <a:gd name="T10" fmla="*/ 130 w 214"/>
                  <a:gd name="T11" fmla="*/ 5 h 119"/>
                  <a:gd name="T12" fmla="*/ 7 w 214"/>
                  <a:gd name="T13" fmla="*/ 75 h 119"/>
                  <a:gd name="T14" fmla="*/ 5 w 214"/>
                  <a:gd name="T15" fmla="*/ 71 h 119"/>
                  <a:gd name="T16" fmla="*/ 0 w 214"/>
                  <a:gd name="T17" fmla="*/ 69 h 119"/>
                  <a:gd name="T18" fmla="*/ 0 w 214"/>
                  <a:gd name="T19" fmla="*/ 75 h 119"/>
                  <a:gd name="T20" fmla="*/ 4 w 214"/>
                  <a:gd name="T21" fmla="*/ 82 h 119"/>
                  <a:gd name="T22" fmla="*/ 59 w 214"/>
                  <a:gd name="T23" fmla="*/ 114 h 119"/>
                  <a:gd name="T24" fmla="*/ 87 w 214"/>
                  <a:gd name="T25" fmla="*/ 114 h 119"/>
                  <a:gd name="T26" fmla="*/ 209 w 214"/>
                  <a:gd name="T27" fmla="*/ 44 h 119"/>
                  <a:gd name="T28" fmla="*/ 214 w 214"/>
                  <a:gd name="T29" fmla="*/ 35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119">
                    <a:moveTo>
                      <a:pt x="214" y="35"/>
                    </a:moveTo>
                    <a:cubicBezTo>
                      <a:pt x="214" y="35"/>
                      <a:pt x="214" y="35"/>
                      <a:pt x="214" y="35"/>
                    </a:cubicBezTo>
                    <a:cubicBezTo>
                      <a:pt x="214" y="29"/>
                      <a:pt x="214" y="29"/>
                      <a:pt x="214" y="29"/>
                    </a:cubicBezTo>
                    <a:cubicBezTo>
                      <a:pt x="206" y="35"/>
                      <a:pt x="206" y="35"/>
                      <a:pt x="206" y="35"/>
                    </a:cubicBezTo>
                    <a:cubicBezTo>
                      <a:pt x="154" y="5"/>
                      <a:pt x="154" y="5"/>
                      <a:pt x="154" y="5"/>
                    </a:cubicBezTo>
                    <a:cubicBezTo>
                      <a:pt x="147" y="0"/>
                      <a:pt x="138" y="0"/>
                      <a:pt x="130" y="5"/>
                    </a:cubicBezTo>
                    <a:cubicBezTo>
                      <a:pt x="7" y="75"/>
                      <a:pt x="7" y="75"/>
                      <a:pt x="7" y="75"/>
                    </a:cubicBezTo>
                    <a:cubicBezTo>
                      <a:pt x="6" y="73"/>
                      <a:pt x="5" y="71"/>
                      <a:pt x="5" y="71"/>
                    </a:cubicBezTo>
                    <a:cubicBezTo>
                      <a:pt x="5" y="71"/>
                      <a:pt x="0" y="69"/>
                      <a:pt x="0" y="69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8"/>
                      <a:pt x="1" y="81"/>
                      <a:pt x="4" y="82"/>
                    </a:cubicBezTo>
                    <a:cubicBezTo>
                      <a:pt x="59" y="114"/>
                      <a:pt x="59" y="114"/>
                      <a:pt x="59" y="114"/>
                    </a:cubicBezTo>
                    <a:cubicBezTo>
                      <a:pt x="68" y="119"/>
                      <a:pt x="79" y="119"/>
                      <a:pt x="87" y="114"/>
                    </a:cubicBezTo>
                    <a:cubicBezTo>
                      <a:pt x="209" y="44"/>
                      <a:pt x="209" y="44"/>
                      <a:pt x="209" y="44"/>
                    </a:cubicBezTo>
                    <a:cubicBezTo>
                      <a:pt x="213" y="42"/>
                      <a:pt x="214" y="38"/>
                      <a:pt x="214" y="35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1" name="任意多边形: 形状 200">
                <a:extLst>
                  <a:ext uri="{FF2B5EF4-FFF2-40B4-BE49-F238E27FC236}">
                    <a16:creationId xmlns:a16="http://schemas.microsoft.com/office/drawing/2014/main" id="{0877380E-F12C-4C13-AA31-775BE4EB68D0}"/>
                  </a:ext>
                </a:extLst>
              </p:cNvPr>
              <p:cNvSpPr/>
              <p:nvPr/>
            </p:nvSpPr>
            <p:spPr bwMode="auto">
              <a:xfrm>
                <a:off x="4750841" y="2993840"/>
                <a:ext cx="1198343" cy="708953"/>
              </a:xfrm>
              <a:custGeom>
                <a:avLst/>
                <a:gdLst>
                  <a:gd name="T0" fmla="*/ 6 w 218"/>
                  <a:gd name="T1" fmla="*/ 77 h 129"/>
                  <a:gd name="T2" fmla="*/ 132 w 218"/>
                  <a:gd name="T3" fmla="*/ 4 h 129"/>
                  <a:gd name="T4" fmla="*/ 156 w 218"/>
                  <a:gd name="T5" fmla="*/ 4 h 129"/>
                  <a:gd name="T6" fmla="*/ 211 w 218"/>
                  <a:gd name="T7" fmla="*/ 36 h 129"/>
                  <a:gd name="T8" fmla="*/ 211 w 218"/>
                  <a:gd name="T9" fmla="*/ 54 h 129"/>
                  <a:gd name="T10" fmla="*/ 89 w 218"/>
                  <a:gd name="T11" fmla="*/ 124 h 129"/>
                  <a:gd name="T12" fmla="*/ 61 w 218"/>
                  <a:gd name="T13" fmla="*/ 124 h 129"/>
                  <a:gd name="T14" fmla="*/ 6 w 218"/>
                  <a:gd name="T15" fmla="*/ 92 h 129"/>
                  <a:gd name="T16" fmla="*/ 6 w 218"/>
                  <a:gd name="T17" fmla="*/ 7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8" h="129">
                    <a:moveTo>
                      <a:pt x="6" y="77"/>
                    </a:moveTo>
                    <a:cubicBezTo>
                      <a:pt x="132" y="4"/>
                      <a:pt x="132" y="4"/>
                      <a:pt x="132" y="4"/>
                    </a:cubicBezTo>
                    <a:cubicBezTo>
                      <a:pt x="140" y="0"/>
                      <a:pt x="149" y="0"/>
                      <a:pt x="156" y="4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8" y="40"/>
                      <a:pt x="218" y="50"/>
                      <a:pt x="211" y="54"/>
                    </a:cubicBezTo>
                    <a:cubicBezTo>
                      <a:pt x="89" y="124"/>
                      <a:pt x="89" y="124"/>
                      <a:pt x="89" y="124"/>
                    </a:cubicBezTo>
                    <a:cubicBezTo>
                      <a:pt x="81" y="129"/>
                      <a:pt x="70" y="129"/>
                      <a:pt x="61" y="124"/>
                    </a:cubicBezTo>
                    <a:cubicBezTo>
                      <a:pt x="6" y="92"/>
                      <a:pt x="6" y="92"/>
                      <a:pt x="6" y="92"/>
                    </a:cubicBezTo>
                    <a:cubicBezTo>
                      <a:pt x="0" y="89"/>
                      <a:pt x="0" y="80"/>
                      <a:pt x="6" y="77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2" name="任意多边形: 形状 201">
                <a:extLst>
                  <a:ext uri="{FF2B5EF4-FFF2-40B4-BE49-F238E27FC236}">
                    <a16:creationId xmlns:a16="http://schemas.microsoft.com/office/drawing/2014/main" id="{24BAA935-4F54-4EB8-A2F0-9BB1931A74ED}"/>
                  </a:ext>
                </a:extLst>
              </p:cNvPr>
              <p:cNvSpPr/>
              <p:nvPr/>
            </p:nvSpPr>
            <p:spPr bwMode="auto">
              <a:xfrm>
                <a:off x="5041829" y="3181661"/>
                <a:ext cx="566104" cy="301569"/>
              </a:xfrm>
              <a:custGeom>
                <a:avLst/>
                <a:gdLst>
                  <a:gd name="T0" fmla="*/ 96 w 103"/>
                  <a:gd name="T1" fmla="*/ 20 h 55"/>
                  <a:gd name="T2" fmla="*/ 96 w 103"/>
                  <a:gd name="T3" fmla="*/ 20 h 55"/>
                  <a:gd name="T4" fmla="*/ 60 w 103"/>
                  <a:gd name="T5" fmla="*/ 0 h 55"/>
                  <a:gd name="T6" fmla="*/ 8 w 103"/>
                  <a:gd name="T7" fmla="*/ 30 h 55"/>
                  <a:gd name="T8" fmla="*/ 0 w 103"/>
                  <a:gd name="T9" fmla="*/ 29 h 55"/>
                  <a:gd name="T10" fmla="*/ 0 w 103"/>
                  <a:gd name="T11" fmla="*/ 30 h 55"/>
                  <a:gd name="T12" fmla="*/ 43 w 103"/>
                  <a:gd name="T13" fmla="*/ 55 h 55"/>
                  <a:gd name="T14" fmla="*/ 72 w 103"/>
                  <a:gd name="T15" fmla="*/ 38 h 55"/>
                  <a:gd name="T16" fmla="*/ 79 w 103"/>
                  <a:gd name="T17" fmla="*/ 35 h 55"/>
                  <a:gd name="T18" fmla="*/ 103 w 103"/>
                  <a:gd name="T19" fmla="*/ 20 h 55"/>
                  <a:gd name="T20" fmla="*/ 103 w 103"/>
                  <a:gd name="T21" fmla="*/ 19 h 55"/>
                  <a:gd name="T22" fmla="*/ 96 w 103"/>
                  <a:gd name="T23" fmla="*/ 2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" h="55">
                    <a:moveTo>
                      <a:pt x="96" y="20"/>
                    </a:moveTo>
                    <a:cubicBezTo>
                      <a:pt x="96" y="20"/>
                      <a:pt x="96" y="20"/>
                      <a:pt x="96" y="2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8"/>
                      <a:pt x="77" y="38"/>
                      <a:pt x="79" y="35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96" y="20"/>
                      <a:pt x="96" y="20"/>
                      <a:pt x="96" y="20"/>
                    </a:cubicBezTo>
                  </a:path>
                </a:pathLst>
              </a:custGeom>
              <a:solidFill>
                <a:srgbClr val="7D5C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3" name="任意多边形: 形状 202">
                <a:extLst>
                  <a:ext uri="{FF2B5EF4-FFF2-40B4-BE49-F238E27FC236}">
                    <a16:creationId xmlns:a16="http://schemas.microsoft.com/office/drawing/2014/main" id="{5460ABBA-68C4-4FF4-906D-455EA9267AED}"/>
                  </a:ext>
                </a:extLst>
              </p:cNvPr>
              <p:cNvSpPr/>
              <p:nvPr/>
            </p:nvSpPr>
            <p:spPr bwMode="auto">
              <a:xfrm>
                <a:off x="5041829" y="3147270"/>
                <a:ext cx="566104" cy="330669"/>
              </a:xfrm>
              <a:custGeom>
                <a:avLst/>
                <a:gdLst>
                  <a:gd name="T0" fmla="*/ 0 w 103"/>
                  <a:gd name="T1" fmla="*/ 35 h 60"/>
                  <a:gd name="T2" fmla="*/ 43 w 103"/>
                  <a:gd name="T3" fmla="*/ 60 h 60"/>
                  <a:gd name="T4" fmla="*/ 72 w 103"/>
                  <a:gd name="T5" fmla="*/ 43 h 60"/>
                  <a:gd name="T6" fmla="*/ 79 w 103"/>
                  <a:gd name="T7" fmla="*/ 39 h 60"/>
                  <a:gd name="T8" fmla="*/ 103 w 103"/>
                  <a:gd name="T9" fmla="*/ 25 h 60"/>
                  <a:gd name="T10" fmla="*/ 60 w 103"/>
                  <a:gd name="T11" fmla="*/ 0 h 60"/>
                  <a:gd name="T12" fmla="*/ 0 w 103"/>
                  <a:gd name="T13" fmla="*/ 3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0">
                    <a:moveTo>
                      <a:pt x="0" y="35"/>
                    </a:moveTo>
                    <a:cubicBezTo>
                      <a:pt x="43" y="60"/>
                      <a:pt x="43" y="60"/>
                      <a:pt x="43" y="60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43"/>
                      <a:pt x="76" y="43"/>
                      <a:pt x="79" y="39"/>
                    </a:cubicBezTo>
                    <a:cubicBezTo>
                      <a:pt x="103" y="25"/>
                      <a:pt x="103" y="25"/>
                      <a:pt x="103" y="25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35"/>
                      <a:pt x="0" y="35"/>
                      <a:pt x="0" y="35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4" name="任意多边形: 形状 203">
                <a:extLst>
                  <a:ext uri="{FF2B5EF4-FFF2-40B4-BE49-F238E27FC236}">
                    <a16:creationId xmlns:a16="http://schemas.microsoft.com/office/drawing/2014/main" id="{6571930C-9D1E-4ABC-B821-15DD72A09942}"/>
                  </a:ext>
                </a:extLst>
              </p:cNvPr>
              <p:cNvSpPr/>
              <p:nvPr/>
            </p:nvSpPr>
            <p:spPr bwMode="auto">
              <a:xfrm>
                <a:off x="5234940" y="3165788"/>
                <a:ext cx="362413" cy="198402"/>
              </a:xfrm>
              <a:custGeom>
                <a:avLst/>
                <a:gdLst>
                  <a:gd name="T0" fmla="*/ 62 w 66"/>
                  <a:gd name="T1" fmla="*/ 20 h 36"/>
                  <a:gd name="T2" fmla="*/ 61 w 66"/>
                  <a:gd name="T3" fmla="*/ 21 h 36"/>
                  <a:gd name="T4" fmla="*/ 61 w 66"/>
                  <a:gd name="T5" fmla="*/ 21 h 36"/>
                  <a:gd name="T6" fmla="*/ 24 w 66"/>
                  <a:gd name="T7" fmla="*/ 0 h 36"/>
                  <a:gd name="T8" fmla="*/ 0 w 66"/>
                  <a:gd name="T9" fmla="*/ 13 h 36"/>
                  <a:gd name="T10" fmla="*/ 39 w 66"/>
                  <a:gd name="T11" fmla="*/ 35 h 36"/>
                  <a:gd name="T12" fmla="*/ 43 w 66"/>
                  <a:gd name="T13" fmla="*/ 36 h 36"/>
                  <a:gd name="T14" fmla="*/ 66 w 66"/>
                  <a:gd name="T15" fmla="*/ 22 h 36"/>
                  <a:gd name="T16" fmla="*/ 66 w 66"/>
                  <a:gd name="T17" fmla="*/ 20 h 36"/>
                  <a:gd name="T18" fmla="*/ 62 w 66"/>
                  <a:gd name="T1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36">
                    <a:moveTo>
                      <a:pt x="62" y="20"/>
                    </a:moveTo>
                    <a:cubicBezTo>
                      <a:pt x="61" y="21"/>
                      <a:pt x="61" y="21"/>
                      <a:pt x="61" y="21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5"/>
                      <a:pt x="40" y="33"/>
                      <a:pt x="43" y="36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2" y="20"/>
                      <a:pt x="62" y="20"/>
                      <a:pt x="62" y="20"/>
                    </a:cubicBezTo>
                  </a:path>
                </a:pathLst>
              </a:custGeom>
              <a:solidFill>
                <a:srgbClr val="C2B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5" name="任意多边形: 形状 204">
                <a:extLst>
                  <a:ext uri="{FF2B5EF4-FFF2-40B4-BE49-F238E27FC236}">
                    <a16:creationId xmlns:a16="http://schemas.microsoft.com/office/drawing/2014/main" id="{BC441A32-DE05-4590-8556-0AD9A864887F}"/>
                  </a:ext>
                </a:extLst>
              </p:cNvPr>
              <p:cNvSpPr/>
              <p:nvPr/>
            </p:nvSpPr>
            <p:spPr bwMode="auto">
              <a:xfrm>
                <a:off x="5208487" y="3141979"/>
                <a:ext cx="388867" cy="214274"/>
              </a:xfrm>
              <a:custGeom>
                <a:avLst/>
                <a:gdLst>
                  <a:gd name="T0" fmla="*/ 44 w 71"/>
                  <a:gd name="T1" fmla="*/ 39 h 39"/>
                  <a:gd name="T2" fmla="*/ 71 w 71"/>
                  <a:gd name="T3" fmla="*/ 24 h 39"/>
                  <a:gd name="T4" fmla="*/ 28 w 71"/>
                  <a:gd name="T5" fmla="*/ 0 h 39"/>
                  <a:gd name="T6" fmla="*/ 0 w 71"/>
                  <a:gd name="T7" fmla="*/ 15 h 39"/>
                  <a:gd name="T8" fmla="*/ 44 w 71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39">
                    <a:moveTo>
                      <a:pt x="44" y="39"/>
                    </a:moveTo>
                    <a:cubicBezTo>
                      <a:pt x="45" y="30"/>
                      <a:pt x="65" y="28"/>
                      <a:pt x="71" y="2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1" y="6"/>
                      <a:pt x="1" y="8"/>
                      <a:pt x="0" y="15"/>
                    </a:cubicBezTo>
                    <a:lnTo>
                      <a:pt x="44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6" name="任意多边形: 形状 205">
                <a:extLst>
                  <a:ext uri="{FF2B5EF4-FFF2-40B4-BE49-F238E27FC236}">
                    <a16:creationId xmlns:a16="http://schemas.microsoft.com/office/drawing/2014/main" id="{021988F9-EF80-4381-819B-BED50B21F290}"/>
                  </a:ext>
                </a:extLst>
              </p:cNvPr>
              <p:cNvSpPr/>
              <p:nvPr/>
            </p:nvSpPr>
            <p:spPr bwMode="auto">
              <a:xfrm>
                <a:off x="5052410" y="3253084"/>
                <a:ext cx="396802" cy="214274"/>
              </a:xfrm>
              <a:custGeom>
                <a:avLst/>
                <a:gdLst>
                  <a:gd name="T0" fmla="*/ 70 w 72"/>
                  <a:gd name="T1" fmla="*/ 18 h 39"/>
                  <a:gd name="T2" fmla="*/ 61 w 72"/>
                  <a:gd name="T3" fmla="*/ 17 h 39"/>
                  <a:gd name="T4" fmla="*/ 60 w 72"/>
                  <a:gd name="T5" fmla="*/ 18 h 39"/>
                  <a:gd name="T6" fmla="*/ 28 w 72"/>
                  <a:gd name="T7" fmla="*/ 0 h 39"/>
                  <a:gd name="T8" fmla="*/ 5 w 72"/>
                  <a:gd name="T9" fmla="*/ 14 h 39"/>
                  <a:gd name="T10" fmla="*/ 5 w 72"/>
                  <a:gd name="T11" fmla="*/ 13 h 39"/>
                  <a:gd name="T12" fmla="*/ 2 w 72"/>
                  <a:gd name="T13" fmla="*/ 12 h 39"/>
                  <a:gd name="T14" fmla="*/ 0 w 72"/>
                  <a:gd name="T15" fmla="*/ 12 h 39"/>
                  <a:gd name="T16" fmla="*/ 0 w 72"/>
                  <a:gd name="T17" fmla="*/ 15 h 39"/>
                  <a:gd name="T18" fmla="*/ 42 w 72"/>
                  <a:gd name="T19" fmla="*/ 39 h 39"/>
                  <a:gd name="T20" fmla="*/ 69 w 72"/>
                  <a:gd name="T21" fmla="*/ 23 h 39"/>
                  <a:gd name="T22" fmla="*/ 72 w 72"/>
                  <a:gd name="T23" fmla="*/ 19 h 39"/>
                  <a:gd name="T24" fmla="*/ 70 w 72"/>
                  <a:gd name="T25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" h="39">
                    <a:moveTo>
                      <a:pt x="70" y="18"/>
                    </a:moveTo>
                    <a:cubicBezTo>
                      <a:pt x="61" y="17"/>
                      <a:pt x="61" y="17"/>
                      <a:pt x="61" y="17"/>
                    </a:cubicBezTo>
                    <a:cubicBezTo>
                      <a:pt x="60" y="18"/>
                      <a:pt x="60" y="18"/>
                      <a:pt x="60" y="18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69" y="23"/>
                      <a:pt x="69" y="23"/>
                      <a:pt x="69" y="23"/>
                    </a:cubicBezTo>
                    <a:cubicBezTo>
                      <a:pt x="70" y="19"/>
                      <a:pt x="72" y="19"/>
                      <a:pt x="72" y="19"/>
                    </a:cubicBezTo>
                    <a:cubicBezTo>
                      <a:pt x="70" y="18"/>
                      <a:pt x="70" y="18"/>
                      <a:pt x="70" y="18"/>
                    </a:cubicBezTo>
                  </a:path>
                </a:pathLst>
              </a:custGeom>
              <a:solidFill>
                <a:srgbClr val="C2B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7" name="任意多边形: 形状 206">
                <a:extLst>
                  <a:ext uri="{FF2B5EF4-FFF2-40B4-BE49-F238E27FC236}">
                    <a16:creationId xmlns:a16="http://schemas.microsoft.com/office/drawing/2014/main" id="{A471C59E-4240-4E90-8311-ABB0630CC6B2}"/>
                  </a:ext>
                </a:extLst>
              </p:cNvPr>
              <p:cNvSpPr/>
              <p:nvPr/>
            </p:nvSpPr>
            <p:spPr bwMode="auto">
              <a:xfrm>
                <a:off x="5052410" y="3197533"/>
                <a:ext cx="396802" cy="253953"/>
              </a:xfrm>
              <a:custGeom>
                <a:avLst/>
                <a:gdLst>
                  <a:gd name="T0" fmla="*/ 72 w 72"/>
                  <a:gd name="T1" fmla="*/ 29 h 46"/>
                  <a:gd name="T2" fmla="*/ 42 w 72"/>
                  <a:gd name="T3" fmla="*/ 46 h 46"/>
                  <a:gd name="T4" fmla="*/ 0 w 72"/>
                  <a:gd name="T5" fmla="*/ 22 h 46"/>
                  <a:gd name="T6" fmla="*/ 28 w 72"/>
                  <a:gd name="T7" fmla="*/ 5 h 46"/>
                  <a:gd name="T8" fmla="*/ 72 w 72"/>
                  <a:gd name="T9" fmla="*/ 29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46">
                    <a:moveTo>
                      <a:pt x="72" y="29"/>
                    </a:moveTo>
                    <a:cubicBezTo>
                      <a:pt x="62" y="25"/>
                      <a:pt x="53" y="42"/>
                      <a:pt x="42" y="46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22"/>
                      <a:pt x="19" y="0"/>
                      <a:pt x="28" y="5"/>
                    </a:cubicBezTo>
                    <a:cubicBezTo>
                      <a:pt x="72" y="29"/>
                      <a:pt x="72" y="29"/>
                      <a:pt x="72" y="2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8" name="任意多边形: 形状 207">
                <a:extLst>
                  <a:ext uri="{FF2B5EF4-FFF2-40B4-BE49-F238E27FC236}">
                    <a16:creationId xmlns:a16="http://schemas.microsoft.com/office/drawing/2014/main" id="{EE525C39-13E9-4D83-BA97-3853449CCA7E}"/>
                  </a:ext>
                </a:extLst>
              </p:cNvPr>
              <p:cNvSpPr/>
              <p:nvPr/>
            </p:nvSpPr>
            <p:spPr bwMode="auto">
              <a:xfrm>
                <a:off x="5443922" y="3110235"/>
                <a:ext cx="320088" cy="208983"/>
              </a:xfrm>
              <a:custGeom>
                <a:avLst/>
                <a:gdLst>
                  <a:gd name="T0" fmla="*/ 17 w 58"/>
                  <a:gd name="T1" fmla="*/ 10 h 38"/>
                  <a:gd name="T2" fmla="*/ 14 w 58"/>
                  <a:gd name="T3" fmla="*/ 5 h 38"/>
                  <a:gd name="T4" fmla="*/ 7 w 58"/>
                  <a:gd name="T5" fmla="*/ 0 h 38"/>
                  <a:gd name="T6" fmla="*/ 0 w 58"/>
                  <a:gd name="T7" fmla="*/ 3 h 38"/>
                  <a:gd name="T8" fmla="*/ 1 w 58"/>
                  <a:gd name="T9" fmla="*/ 6 h 38"/>
                  <a:gd name="T10" fmla="*/ 7 w 58"/>
                  <a:gd name="T11" fmla="*/ 11 h 38"/>
                  <a:gd name="T12" fmla="*/ 4 w 58"/>
                  <a:gd name="T13" fmla="*/ 10 h 38"/>
                  <a:gd name="T14" fmla="*/ 1 w 58"/>
                  <a:gd name="T15" fmla="*/ 12 h 38"/>
                  <a:gd name="T16" fmla="*/ 4 w 58"/>
                  <a:gd name="T17" fmla="*/ 13 h 38"/>
                  <a:gd name="T18" fmla="*/ 10 w 58"/>
                  <a:gd name="T19" fmla="*/ 13 h 38"/>
                  <a:gd name="T20" fmla="*/ 13 w 58"/>
                  <a:gd name="T21" fmla="*/ 15 h 38"/>
                  <a:gd name="T22" fmla="*/ 34 w 58"/>
                  <a:gd name="T23" fmla="*/ 31 h 38"/>
                  <a:gd name="T24" fmla="*/ 56 w 58"/>
                  <a:gd name="T25" fmla="*/ 36 h 38"/>
                  <a:gd name="T26" fmla="*/ 22 w 58"/>
                  <a:gd name="T27" fmla="*/ 11 h 38"/>
                  <a:gd name="T28" fmla="*/ 17 w 58"/>
                  <a:gd name="T29" fmla="*/ 1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8" h="38">
                    <a:moveTo>
                      <a:pt x="17" y="10"/>
                    </a:moveTo>
                    <a:cubicBezTo>
                      <a:pt x="14" y="5"/>
                      <a:pt x="14" y="5"/>
                      <a:pt x="14" y="5"/>
                    </a:cubicBezTo>
                    <a:cubicBezTo>
                      <a:pt x="14" y="5"/>
                      <a:pt x="10" y="1"/>
                      <a:pt x="7" y="0"/>
                    </a:cubicBezTo>
                    <a:cubicBezTo>
                      <a:pt x="4" y="0"/>
                      <a:pt x="2" y="1"/>
                      <a:pt x="0" y="3"/>
                    </a:cubicBezTo>
                    <a:cubicBezTo>
                      <a:pt x="0" y="4"/>
                      <a:pt x="0" y="6"/>
                      <a:pt x="1" y="6"/>
                    </a:cubicBezTo>
                    <a:cubicBezTo>
                      <a:pt x="4" y="7"/>
                      <a:pt x="7" y="9"/>
                      <a:pt x="7" y="11"/>
                    </a:cubicBezTo>
                    <a:cubicBezTo>
                      <a:pt x="7" y="11"/>
                      <a:pt x="6" y="11"/>
                      <a:pt x="4" y="10"/>
                    </a:cubicBezTo>
                    <a:cubicBezTo>
                      <a:pt x="2" y="9"/>
                      <a:pt x="1" y="11"/>
                      <a:pt x="1" y="12"/>
                    </a:cubicBezTo>
                    <a:cubicBezTo>
                      <a:pt x="2" y="12"/>
                      <a:pt x="2" y="12"/>
                      <a:pt x="4" y="13"/>
                    </a:cubicBezTo>
                    <a:cubicBezTo>
                      <a:pt x="5" y="14"/>
                      <a:pt x="9" y="13"/>
                      <a:pt x="10" y="13"/>
                    </a:cubicBezTo>
                    <a:cubicBezTo>
                      <a:pt x="11" y="13"/>
                      <a:pt x="13" y="15"/>
                      <a:pt x="13" y="15"/>
                    </a:cubicBezTo>
                    <a:cubicBezTo>
                      <a:pt x="16" y="17"/>
                      <a:pt x="28" y="27"/>
                      <a:pt x="34" y="31"/>
                    </a:cubicBezTo>
                    <a:cubicBezTo>
                      <a:pt x="41" y="35"/>
                      <a:pt x="54" y="38"/>
                      <a:pt x="56" y="36"/>
                    </a:cubicBezTo>
                    <a:cubicBezTo>
                      <a:pt x="58" y="33"/>
                      <a:pt x="22" y="11"/>
                      <a:pt x="22" y="11"/>
                    </a:cubicBezTo>
                    <a:cubicBezTo>
                      <a:pt x="17" y="10"/>
                      <a:pt x="17" y="10"/>
                      <a:pt x="17" y="10"/>
                    </a:cubicBezTo>
                  </a:path>
                </a:pathLst>
              </a:custGeom>
              <a:solidFill>
                <a:srgbClr val="F7C3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09" name="任意多边形: 形状 208">
                <a:extLst>
                  <a:ext uri="{FF2B5EF4-FFF2-40B4-BE49-F238E27FC236}">
                    <a16:creationId xmlns:a16="http://schemas.microsoft.com/office/drawing/2014/main" id="{2357645F-F46D-42F4-9366-D9B2A89C1F44}"/>
                  </a:ext>
                </a:extLst>
              </p:cNvPr>
              <p:cNvSpPr/>
              <p:nvPr/>
            </p:nvSpPr>
            <p:spPr bwMode="auto">
              <a:xfrm>
                <a:off x="5811626" y="4165729"/>
                <a:ext cx="34390" cy="15872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1 h 3"/>
                  <a:gd name="T6" fmla="*/ 3 w 6"/>
                  <a:gd name="T7" fmla="*/ 3 h 3"/>
                  <a:gd name="T8" fmla="*/ 3 w 6"/>
                  <a:gd name="T9" fmla="*/ 3 h 3"/>
                  <a:gd name="T10" fmla="*/ 6 w 6"/>
                  <a:gd name="T11" fmla="*/ 1 h 3"/>
                  <a:gd name="T12" fmla="*/ 6 w 6"/>
                  <a:gd name="T13" fmla="*/ 0 h 3"/>
                  <a:gd name="T14" fmla="*/ 3 w 6"/>
                  <a:gd name="T15" fmla="*/ 1 h 3"/>
                  <a:gd name="T16" fmla="*/ 3 w 6"/>
                  <a:gd name="T17" fmla="*/ 1 h 3"/>
                  <a:gd name="T18" fmla="*/ 0 w 6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6" y="2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4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0" name="任意多边形: 形状 209">
                <a:extLst>
                  <a:ext uri="{FF2B5EF4-FFF2-40B4-BE49-F238E27FC236}">
                    <a16:creationId xmlns:a16="http://schemas.microsoft.com/office/drawing/2014/main" id="{760A6E76-3003-4528-B5A4-C2246ED62ED7}"/>
                  </a:ext>
                </a:extLst>
              </p:cNvPr>
              <p:cNvSpPr/>
              <p:nvPr/>
            </p:nvSpPr>
            <p:spPr bwMode="auto">
              <a:xfrm>
                <a:off x="5811626" y="4160439"/>
                <a:ext cx="34390" cy="10581"/>
              </a:xfrm>
              <a:custGeom>
                <a:avLst/>
                <a:gdLst>
                  <a:gd name="T0" fmla="*/ 5 w 6"/>
                  <a:gd name="T1" fmla="*/ 0 h 2"/>
                  <a:gd name="T2" fmla="*/ 5 w 6"/>
                  <a:gd name="T3" fmla="*/ 0 h 2"/>
                  <a:gd name="T4" fmla="*/ 3 w 6"/>
                  <a:gd name="T5" fmla="*/ 2 h 2"/>
                  <a:gd name="T6" fmla="*/ 3 w 6"/>
                  <a:gd name="T7" fmla="*/ 2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1 h 2"/>
                  <a:gd name="T14" fmla="*/ 0 w 6"/>
                  <a:gd name="T15" fmla="*/ 1 h 2"/>
                  <a:gd name="T16" fmla="*/ 3 w 6"/>
                  <a:gd name="T17" fmla="*/ 2 h 2"/>
                  <a:gd name="T18" fmla="*/ 3 w 6"/>
                  <a:gd name="T19" fmla="*/ 2 h 2"/>
                  <a:gd name="T20" fmla="*/ 6 w 6"/>
                  <a:gd name="T21" fmla="*/ 1 h 2"/>
                  <a:gd name="T22" fmla="*/ 6 w 6"/>
                  <a:gd name="T23" fmla="*/ 0 h 2"/>
                  <a:gd name="T24" fmla="*/ 5 w 6"/>
                  <a:gd name="T2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2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4" y="2"/>
                      <a:pt x="6" y="2"/>
                      <a:pt x="6" y="1"/>
                    </a:cubicBezTo>
                    <a:cubicBezTo>
                      <a:pt x="6" y="1"/>
                      <a:pt x="6" y="0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1" name="任意多边形: 形状 210">
                <a:extLst>
                  <a:ext uri="{FF2B5EF4-FFF2-40B4-BE49-F238E27FC236}">
                    <a16:creationId xmlns:a16="http://schemas.microsoft.com/office/drawing/2014/main" id="{315DDB48-AA74-41CA-8FA7-0018898E859E}"/>
                  </a:ext>
                </a:extLst>
              </p:cNvPr>
              <p:cNvSpPr/>
              <p:nvPr/>
            </p:nvSpPr>
            <p:spPr bwMode="auto">
              <a:xfrm>
                <a:off x="5811626" y="3819188"/>
                <a:ext cx="29100" cy="351832"/>
              </a:xfrm>
              <a:custGeom>
                <a:avLst/>
                <a:gdLst>
                  <a:gd name="T0" fmla="*/ 0 w 5"/>
                  <a:gd name="T1" fmla="*/ 6 h 64"/>
                  <a:gd name="T2" fmla="*/ 0 w 5"/>
                  <a:gd name="T3" fmla="*/ 62 h 64"/>
                  <a:gd name="T4" fmla="*/ 0 w 5"/>
                  <a:gd name="T5" fmla="*/ 62 h 64"/>
                  <a:gd name="T6" fmla="*/ 3 w 5"/>
                  <a:gd name="T7" fmla="*/ 64 h 64"/>
                  <a:gd name="T8" fmla="*/ 3 w 5"/>
                  <a:gd name="T9" fmla="*/ 64 h 64"/>
                  <a:gd name="T10" fmla="*/ 5 w 5"/>
                  <a:gd name="T11" fmla="*/ 62 h 64"/>
                  <a:gd name="T12" fmla="*/ 5 w 5"/>
                  <a:gd name="T13" fmla="*/ 62 h 64"/>
                  <a:gd name="T14" fmla="*/ 5 w 5"/>
                  <a:gd name="T15" fmla="*/ 7 h 64"/>
                  <a:gd name="T16" fmla="*/ 5 w 5"/>
                  <a:gd name="T17" fmla="*/ 7 h 64"/>
                  <a:gd name="T18" fmla="*/ 1 w 5"/>
                  <a:gd name="T19" fmla="*/ 6 h 64"/>
                  <a:gd name="T20" fmla="*/ 0 w 5"/>
                  <a:gd name="T21" fmla="*/ 6 h 64"/>
                  <a:gd name="T22" fmla="*/ 5 w 5"/>
                  <a:gd name="T23" fmla="*/ 0 h 64"/>
                  <a:gd name="T24" fmla="*/ 5 w 5"/>
                  <a:gd name="T25" fmla="*/ 0 h 64"/>
                  <a:gd name="T26" fmla="*/ 2 w 5"/>
                  <a:gd name="T27" fmla="*/ 2 h 64"/>
                  <a:gd name="T28" fmla="*/ 3 w 5"/>
                  <a:gd name="T29" fmla="*/ 3 h 64"/>
                  <a:gd name="T30" fmla="*/ 5 w 5"/>
                  <a:gd name="T31" fmla="*/ 3 h 64"/>
                  <a:gd name="T32" fmla="*/ 5 w 5"/>
                  <a:gd name="T33" fmla="*/ 3 h 64"/>
                  <a:gd name="T34" fmla="*/ 5 w 5"/>
                  <a:gd name="T35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" h="64">
                    <a:moveTo>
                      <a:pt x="0" y="6"/>
                    </a:moveTo>
                    <a:cubicBezTo>
                      <a:pt x="0" y="62"/>
                      <a:pt x="0" y="62"/>
                      <a:pt x="0" y="62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1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4" y="64"/>
                      <a:pt x="5" y="63"/>
                      <a:pt x="5" y="62"/>
                    </a:cubicBezTo>
                    <a:cubicBezTo>
                      <a:pt x="5" y="62"/>
                      <a:pt x="5" y="62"/>
                      <a:pt x="5" y="62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5" y="7"/>
                      <a:pt x="5" y="7"/>
                      <a:pt x="5" y="7"/>
                    </a:cubicBezTo>
                    <a:cubicBezTo>
                      <a:pt x="4" y="7"/>
                      <a:pt x="2" y="7"/>
                      <a:pt x="1" y="6"/>
                    </a:cubicBezTo>
                    <a:cubicBezTo>
                      <a:pt x="0" y="6"/>
                      <a:pt x="0" y="6"/>
                      <a:pt x="0" y="6"/>
                    </a:cubicBezTo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2" name="任意多边形: 形状 211">
                <a:extLst>
                  <a:ext uri="{FF2B5EF4-FFF2-40B4-BE49-F238E27FC236}">
                    <a16:creationId xmlns:a16="http://schemas.microsoft.com/office/drawing/2014/main" id="{5F2065B5-8F16-4753-AA57-7639F3A3BCFF}"/>
                  </a:ext>
                </a:extLst>
              </p:cNvPr>
              <p:cNvSpPr/>
              <p:nvPr/>
            </p:nvSpPr>
            <p:spPr bwMode="auto">
              <a:xfrm>
                <a:off x="5602642" y="4038753"/>
                <a:ext cx="23809" cy="21163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0 w 4"/>
                  <a:gd name="T5" fmla="*/ 2 h 4"/>
                  <a:gd name="T6" fmla="*/ 3 w 4"/>
                  <a:gd name="T7" fmla="*/ 4 h 4"/>
                  <a:gd name="T8" fmla="*/ 3 w 4"/>
                  <a:gd name="T9" fmla="*/ 4 h 4"/>
                  <a:gd name="T10" fmla="*/ 4 w 4"/>
                  <a:gd name="T11" fmla="*/ 3 h 4"/>
                  <a:gd name="T12" fmla="*/ 4 w 4"/>
                  <a:gd name="T13" fmla="*/ 2 h 4"/>
                  <a:gd name="T14" fmla="*/ 3 w 4"/>
                  <a:gd name="T15" fmla="*/ 2 h 4"/>
                  <a:gd name="T16" fmla="*/ 3 w 4"/>
                  <a:gd name="T17" fmla="*/ 2 h 4"/>
                  <a:gd name="T18" fmla="*/ 0 w 4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4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3" name="任意多边形: 形状 212">
                <a:extLst>
                  <a:ext uri="{FF2B5EF4-FFF2-40B4-BE49-F238E27FC236}">
                    <a16:creationId xmlns:a16="http://schemas.microsoft.com/office/drawing/2014/main" id="{342D2CB6-4116-4129-A9DC-3E33BFE89A43}"/>
                  </a:ext>
                </a:extLst>
              </p:cNvPr>
              <p:cNvSpPr/>
              <p:nvPr/>
            </p:nvSpPr>
            <p:spPr bwMode="auto">
              <a:xfrm>
                <a:off x="5602642" y="4033462"/>
                <a:ext cx="23809" cy="15872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1 h 3"/>
                  <a:gd name="T4" fmla="*/ 0 w 4"/>
                  <a:gd name="T5" fmla="*/ 1 h 3"/>
                  <a:gd name="T6" fmla="*/ 3 w 4"/>
                  <a:gd name="T7" fmla="*/ 3 h 3"/>
                  <a:gd name="T8" fmla="*/ 3 w 4"/>
                  <a:gd name="T9" fmla="*/ 3 h 3"/>
                  <a:gd name="T10" fmla="*/ 4 w 4"/>
                  <a:gd name="T11" fmla="*/ 3 h 3"/>
                  <a:gd name="T12" fmla="*/ 4 w 4"/>
                  <a:gd name="T13" fmla="*/ 2 h 3"/>
                  <a:gd name="T14" fmla="*/ 3 w 4"/>
                  <a:gd name="T15" fmla="*/ 3 h 3"/>
                  <a:gd name="T16" fmla="*/ 3 w 4"/>
                  <a:gd name="T17" fmla="*/ 3 h 3"/>
                  <a:gd name="T18" fmla="*/ 0 w 4"/>
                  <a:gd name="T19" fmla="*/ 1 h 3"/>
                  <a:gd name="T20" fmla="*/ 0 w 4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4" y="2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4" name="任意多边形: 形状 213">
                <a:extLst>
                  <a:ext uri="{FF2B5EF4-FFF2-40B4-BE49-F238E27FC236}">
                    <a16:creationId xmlns:a16="http://schemas.microsoft.com/office/drawing/2014/main" id="{B17D119D-723C-451E-9B99-E3490674958A}"/>
                  </a:ext>
                </a:extLst>
              </p:cNvPr>
              <p:cNvSpPr/>
              <p:nvPr/>
            </p:nvSpPr>
            <p:spPr bwMode="auto">
              <a:xfrm>
                <a:off x="5602642" y="3906485"/>
                <a:ext cx="23809" cy="142849"/>
              </a:xfrm>
              <a:custGeom>
                <a:avLst/>
                <a:gdLst>
                  <a:gd name="T0" fmla="*/ 0 w 4"/>
                  <a:gd name="T1" fmla="*/ 0 h 26"/>
                  <a:gd name="T2" fmla="*/ 0 w 4"/>
                  <a:gd name="T3" fmla="*/ 23 h 26"/>
                  <a:gd name="T4" fmla="*/ 0 w 4"/>
                  <a:gd name="T5" fmla="*/ 24 h 26"/>
                  <a:gd name="T6" fmla="*/ 3 w 4"/>
                  <a:gd name="T7" fmla="*/ 26 h 26"/>
                  <a:gd name="T8" fmla="*/ 3 w 4"/>
                  <a:gd name="T9" fmla="*/ 26 h 26"/>
                  <a:gd name="T10" fmla="*/ 4 w 4"/>
                  <a:gd name="T11" fmla="*/ 25 h 26"/>
                  <a:gd name="T12" fmla="*/ 4 w 4"/>
                  <a:gd name="T13" fmla="*/ 1 h 26"/>
                  <a:gd name="T14" fmla="*/ 0 w 4"/>
                  <a:gd name="T1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6">
                    <a:moveTo>
                      <a:pt x="0" y="0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4" y="25"/>
                      <a:pt x="4" y="25"/>
                      <a:pt x="4" y="25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2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5" name="任意多边形: 形状 214">
                <a:extLst>
                  <a:ext uri="{FF2B5EF4-FFF2-40B4-BE49-F238E27FC236}">
                    <a16:creationId xmlns:a16="http://schemas.microsoft.com/office/drawing/2014/main" id="{8B96D450-6DE4-4911-9F98-2512C78F5BD2}"/>
                  </a:ext>
                </a:extLst>
              </p:cNvPr>
              <p:cNvSpPr/>
              <p:nvPr/>
            </p:nvSpPr>
            <p:spPr bwMode="auto">
              <a:xfrm>
                <a:off x="5626451" y="4263606"/>
                <a:ext cx="31744" cy="23809"/>
              </a:xfrm>
              <a:custGeom>
                <a:avLst/>
                <a:gdLst>
                  <a:gd name="T0" fmla="*/ 6 w 6"/>
                  <a:gd name="T1" fmla="*/ 0 h 4"/>
                  <a:gd name="T2" fmla="*/ 3 w 6"/>
                  <a:gd name="T3" fmla="*/ 2 h 4"/>
                  <a:gd name="T4" fmla="*/ 3 w 6"/>
                  <a:gd name="T5" fmla="*/ 2 h 4"/>
                  <a:gd name="T6" fmla="*/ 0 w 6"/>
                  <a:gd name="T7" fmla="*/ 0 h 4"/>
                  <a:gd name="T8" fmla="*/ 0 w 6"/>
                  <a:gd name="T9" fmla="*/ 0 h 4"/>
                  <a:gd name="T10" fmla="*/ 0 w 6"/>
                  <a:gd name="T11" fmla="*/ 2 h 4"/>
                  <a:gd name="T12" fmla="*/ 3 w 6"/>
                  <a:gd name="T13" fmla="*/ 4 h 4"/>
                  <a:gd name="T14" fmla="*/ 3 w 6"/>
                  <a:gd name="T15" fmla="*/ 4 h 4"/>
                  <a:gd name="T16" fmla="*/ 6 w 6"/>
                  <a:gd name="T17" fmla="*/ 2 h 4"/>
                  <a:gd name="T18" fmla="*/ 6 w 6"/>
                  <a:gd name="T19" fmla="*/ 0 h 4"/>
                  <a:gd name="T20" fmla="*/ 6 w 6"/>
                  <a:gd name="T21" fmla="*/ 0 h 4"/>
                  <a:gd name="T22" fmla="*/ 6 w 6"/>
                  <a:gd name="T23" fmla="*/ 0 h 4"/>
                  <a:gd name="T24" fmla="*/ 6 w 6"/>
                  <a:gd name="T25" fmla="*/ 0 h 4"/>
                  <a:gd name="T26" fmla="*/ 6 w 6"/>
                  <a:gd name="T2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cubicBezTo>
                      <a:pt x="6" y="1"/>
                      <a:pt x="5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4"/>
                      <a:pt x="6" y="3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6" name="任意多边形: 形状 215">
                <a:extLst>
                  <a:ext uri="{FF2B5EF4-FFF2-40B4-BE49-F238E27FC236}">
                    <a16:creationId xmlns:a16="http://schemas.microsoft.com/office/drawing/2014/main" id="{605D988F-C897-4A5A-93C7-5380B3634D41}"/>
                  </a:ext>
                </a:extLst>
              </p:cNvPr>
              <p:cNvSpPr/>
              <p:nvPr/>
            </p:nvSpPr>
            <p:spPr bwMode="auto">
              <a:xfrm>
                <a:off x="5626451" y="4258316"/>
                <a:ext cx="31744" cy="18518"/>
              </a:xfrm>
              <a:custGeom>
                <a:avLst/>
                <a:gdLst>
                  <a:gd name="T0" fmla="*/ 6 w 6"/>
                  <a:gd name="T1" fmla="*/ 0 h 3"/>
                  <a:gd name="T2" fmla="*/ 6 w 6"/>
                  <a:gd name="T3" fmla="*/ 1 h 3"/>
                  <a:gd name="T4" fmla="*/ 3 w 6"/>
                  <a:gd name="T5" fmla="*/ 3 h 3"/>
                  <a:gd name="T6" fmla="*/ 3 w 6"/>
                  <a:gd name="T7" fmla="*/ 3 h 3"/>
                  <a:gd name="T8" fmla="*/ 0 w 6"/>
                  <a:gd name="T9" fmla="*/ 1 h 3"/>
                  <a:gd name="T10" fmla="*/ 0 w 6"/>
                  <a:gd name="T11" fmla="*/ 0 h 3"/>
                  <a:gd name="T12" fmla="*/ 0 w 6"/>
                  <a:gd name="T13" fmla="*/ 1 h 3"/>
                  <a:gd name="T14" fmla="*/ 0 w 6"/>
                  <a:gd name="T15" fmla="*/ 1 h 3"/>
                  <a:gd name="T16" fmla="*/ 3 w 6"/>
                  <a:gd name="T17" fmla="*/ 3 h 3"/>
                  <a:gd name="T18" fmla="*/ 3 w 6"/>
                  <a:gd name="T19" fmla="*/ 3 h 3"/>
                  <a:gd name="T20" fmla="*/ 6 w 6"/>
                  <a:gd name="T21" fmla="*/ 1 h 3"/>
                  <a:gd name="T22" fmla="*/ 6 w 6"/>
                  <a:gd name="T23" fmla="*/ 1 h 3"/>
                  <a:gd name="T24" fmla="*/ 6 w 6"/>
                  <a:gd name="T25" fmla="*/ 1 h 3"/>
                  <a:gd name="T26" fmla="*/ 6 w 6"/>
                  <a:gd name="T27" fmla="*/ 1 h 3"/>
                  <a:gd name="T28" fmla="*/ 6 w 6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5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7" name="任意多边形: 形状 216">
                <a:extLst>
                  <a:ext uri="{FF2B5EF4-FFF2-40B4-BE49-F238E27FC236}">
                    <a16:creationId xmlns:a16="http://schemas.microsoft.com/office/drawing/2014/main" id="{85BA8E05-7766-47D3-AE40-9B9EA194381C}"/>
                  </a:ext>
                </a:extLst>
              </p:cNvPr>
              <p:cNvSpPr/>
              <p:nvPr/>
            </p:nvSpPr>
            <p:spPr bwMode="auto">
              <a:xfrm>
                <a:off x="5626451" y="3911776"/>
                <a:ext cx="31744" cy="365058"/>
              </a:xfrm>
              <a:custGeom>
                <a:avLst/>
                <a:gdLst>
                  <a:gd name="T0" fmla="*/ 0 w 6"/>
                  <a:gd name="T1" fmla="*/ 0 h 66"/>
                  <a:gd name="T2" fmla="*/ 0 w 6"/>
                  <a:gd name="T3" fmla="*/ 24 h 66"/>
                  <a:gd name="T4" fmla="*/ 0 w 6"/>
                  <a:gd name="T5" fmla="*/ 25 h 66"/>
                  <a:gd name="T6" fmla="*/ 0 w 6"/>
                  <a:gd name="T7" fmla="*/ 26 h 66"/>
                  <a:gd name="T8" fmla="*/ 0 w 6"/>
                  <a:gd name="T9" fmla="*/ 63 h 66"/>
                  <a:gd name="T10" fmla="*/ 0 w 6"/>
                  <a:gd name="T11" fmla="*/ 64 h 66"/>
                  <a:gd name="T12" fmla="*/ 3 w 6"/>
                  <a:gd name="T13" fmla="*/ 66 h 66"/>
                  <a:gd name="T14" fmla="*/ 3 w 6"/>
                  <a:gd name="T15" fmla="*/ 66 h 66"/>
                  <a:gd name="T16" fmla="*/ 6 w 6"/>
                  <a:gd name="T17" fmla="*/ 64 h 66"/>
                  <a:gd name="T18" fmla="*/ 6 w 6"/>
                  <a:gd name="T19" fmla="*/ 63 h 66"/>
                  <a:gd name="T20" fmla="*/ 6 w 6"/>
                  <a:gd name="T21" fmla="*/ 0 h 66"/>
                  <a:gd name="T22" fmla="*/ 4 w 6"/>
                  <a:gd name="T23" fmla="*/ 0 h 66"/>
                  <a:gd name="T24" fmla="*/ 0 w 6"/>
                  <a:gd name="T25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6">
                    <a:moveTo>
                      <a:pt x="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1" y="65"/>
                      <a:pt x="2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5" y="66"/>
                      <a:pt x="6" y="65"/>
                      <a:pt x="6" y="64"/>
                    </a:cubicBezTo>
                    <a:cubicBezTo>
                      <a:pt x="6" y="63"/>
                      <a:pt x="6" y="63"/>
                      <a:pt x="6" y="63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0"/>
                      <a:pt x="4" y="0"/>
                    </a:cubicBezTo>
                    <a:cubicBezTo>
                      <a:pt x="3" y="0"/>
                      <a:pt x="2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8" name="任意多边形: 形状 217">
                <a:extLst>
                  <a:ext uri="{FF2B5EF4-FFF2-40B4-BE49-F238E27FC236}">
                    <a16:creationId xmlns:a16="http://schemas.microsoft.com/office/drawing/2014/main" id="{1399FAB8-F7B4-4353-8913-434C021E386B}"/>
                  </a:ext>
                </a:extLst>
              </p:cNvPr>
              <p:cNvSpPr/>
              <p:nvPr/>
            </p:nvSpPr>
            <p:spPr bwMode="auto">
              <a:xfrm>
                <a:off x="5417468" y="4144567"/>
                <a:ext cx="31744" cy="15872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2 h 3"/>
                  <a:gd name="T6" fmla="*/ 3 w 6"/>
                  <a:gd name="T7" fmla="*/ 3 h 3"/>
                  <a:gd name="T8" fmla="*/ 3 w 6"/>
                  <a:gd name="T9" fmla="*/ 3 h 3"/>
                  <a:gd name="T10" fmla="*/ 6 w 6"/>
                  <a:gd name="T11" fmla="*/ 1 h 3"/>
                  <a:gd name="T12" fmla="*/ 6 w 6"/>
                  <a:gd name="T13" fmla="*/ 0 h 3"/>
                  <a:gd name="T14" fmla="*/ 3 w 6"/>
                  <a:gd name="T15" fmla="*/ 2 h 3"/>
                  <a:gd name="T16" fmla="*/ 3 w 6"/>
                  <a:gd name="T17" fmla="*/ 2 h 3"/>
                  <a:gd name="T18" fmla="*/ 0 w 6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5" y="3"/>
                      <a:pt x="6" y="3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5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0" y="1"/>
                      <a:pt x="0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19" name="任意多边形: 形状 218">
                <a:extLst>
                  <a:ext uri="{FF2B5EF4-FFF2-40B4-BE49-F238E27FC236}">
                    <a16:creationId xmlns:a16="http://schemas.microsoft.com/office/drawing/2014/main" id="{2DCD273F-AA17-4747-BB5E-17C623AA286F}"/>
                  </a:ext>
                </a:extLst>
              </p:cNvPr>
              <p:cNvSpPr/>
              <p:nvPr/>
            </p:nvSpPr>
            <p:spPr bwMode="auto">
              <a:xfrm>
                <a:off x="5417468" y="4139276"/>
                <a:ext cx="31744" cy="15872"/>
              </a:xfrm>
              <a:custGeom>
                <a:avLst/>
                <a:gdLst>
                  <a:gd name="T0" fmla="*/ 6 w 6"/>
                  <a:gd name="T1" fmla="*/ 0 h 3"/>
                  <a:gd name="T2" fmla="*/ 6 w 6"/>
                  <a:gd name="T3" fmla="*/ 1 h 3"/>
                  <a:gd name="T4" fmla="*/ 3 w 6"/>
                  <a:gd name="T5" fmla="*/ 2 h 3"/>
                  <a:gd name="T6" fmla="*/ 3 w 6"/>
                  <a:gd name="T7" fmla="*/ 2 h 3"/>
                  <a:gd name="T8" fmla="*/ 1 w 6"/>
                  <a:gd name="T9" fmla="*/ 1 h 3"/>
                  <a:gd name="T10" fmla="*/ 1 w 6"/>
                  <a:gd name="T11" fmla="*/ 0 h 3"/>
                  <a:gd name="T12" fmla="*/ 0 w 6"/>
                  <a:gd name="T13" fmla="*/ 1 h 3"/>
                  <a:gd name="T14" fmla="*/ 0 w 6"/>
                  <a:gd name="T15" fmla="*/ 1 h 3"/>
                  <a:gd name="T16" fmla="*/ 3 w 6"/>
                  <a:gd name="T17" fmla="*/ 3 h 3"/>
                  <a:gd name="T18" fmla="*/ 3 w 6"/>
                  <a:gd name="T19" fmla="*/ 3 h 3"/>
                  <a:gd name="T20" fmla="*/ 6 w 6"/>
                  <a:gd name="T21" fmla="*/ 1 h 3"/>
                  <a:gd name="T22" fmla="*/ 6 w 6"/>
                  <a:gd name="T23" fmla="*/ 1 h 3"/>
                  <a:gd name="T24" fmla="*/ 6 w 6"/>
                  <a:gd name="T25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5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0"/>
                      <a:pt x="6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0" name="任意多边形: 形状 219">
                <a:extLst>
                  <a:ext uri="{FF2B5EF4-FFF2-40B4-BE49-F238E27FC236}">
                    <a16:creationId xmlns:a16="http://schemas.microsoft.com/office/drawing/2014/main" id="{A0D3DE79-CD32-4115-B231-1CC0C63F5834}"/>
                  </a:ext>
                </a:extLst>
              </p:cNvPr>
              <p:cNvSpPr/>
              <p:nvPr/>
            </p:nvSpPr>
            <p:spPr bwMode="auto">
              <a:xfrm>
                <a:off x="5422759" y="3803316"/>
                <a:ext cx="26453" cy="346541"/>
              </a:xfrm>
              <a:custGeom>
                <a:avLst/>
                <a:gdLst>
                  <a:gd name="T0" fmla="*/ 0 w 5"/>
                  <a:gd name="T1" fmla="*/ 0 h 63"/>
                  <a:gd name="T2" fmla="*/ 0 w 5"/>
                  <a:gd name="T3" fmla="*/ 61 h 63"/>
                  <a:gd name="T4" fmla="*/ 0 w 5"/>
                  <a:gd name="T5" fmla="*/ 62 h 63"/>
                  <a:gd name="T6" fmla="*/ 2 w 5"/>
                  <a:gd name="T7" fmla="*/ 63 h 63"/>
                  <a:gd name="T8" fmla="*/ 2 w 5"/>
                  <a:gd name="T9" fmla="*/ 63 h 63"/>
                  <a:gd name="T10" fmla="*/ 5 w 5"/>
                  <a:gd name="T11" fmla="*/ 62 h 63"/>
                  <a:gd name="T12" fmla="*/ 5 w 5"/>
                  <a:gd name="T13" fmla="*/ 61 h 63"/>
                  <a:gd name="T14" fmla="*/ 5 w 5"/>
                  <a:gd name="T15" fmla="*/ 3 h 63"/>
                  <a:gd name="T16" fmla="*/ 0 w 5"/>
                  <a:gd name="T17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3">
                    <a:moveTo>
                      <a:pt x="0" y="0"/>
                    </a:move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1" y="63"/>
                      <a:pt x="2" y="63"/>
                    </a:cubicBezTo>
                    <a:cubicBezTo>
                      <a:pt x="2" y="63"/>
                      <a:pt x="2" y="63"/>
                      <a:pt x="2" y="63"/>
                    </a:cubicBezTo>
                    <a:cubicBezTo>
                      <a:pt x="4" y="63"/>
                      <a:pt x="5" y="63"/>
                      <a:pt x="5" y="62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1" name="任意多边形: 形状 220">
                <a:extLst>
                  <a:ext uri="{FF2B5EF4-FFF2-40B4-BE49-F238E27FC236}">
                    <a16:creationId xmlns:a16="http://schemas.microsoft.com/office/drawing/2014/main" id="{67BBD8FD-2937-4C4A-A6E9-663EF2E697EC}"/>
                  </a:ext>
                </a:extLst>
              </p:cNvPr>
              <p:cNvSpPr/>
              <p:nvPr/>
            </p:nvSpPr>
            <p:spPr bwMode="auto">
              <a:xfrm>
                <a:off x="5393661" y="3758346"/>
                <a:ext cx="473518" cy="153430"/>
              </a:xfrm>
              <a:custGeom>
                <a:avLst/>
                <a:gdLst>
                  <a:gd name="T0" fmla="*/ 85 w 86"/>
                  <a:gd name="T1" fmla="*/ 3 h 28"/>
                  <a:gd name="T2" fmla="*/ 81 w 86"/>
                  <a:gd name="T3" fmla="*/ 8 h 28"/>
                  <a:gd name="T4" fmla="*/ 67 w 86"/>
                  <a:gd name="T5" fmla="*/ 17 h 28"/>
                  <a:gd name="T6" fmla="*/ 67 w 86"/>
                  <a:gd name="T7" fmla="*/ 20 h 28"/>
                  <a:gd name="T8" fmla="*/ 76 w 86"/>
                  <a:gd name="T9" fmla="*/ 14 h 28"/>
                  <a:gd name="T10" fmla="*/ 78 w 86"/>
                  <a:gd name="T11" fmla="*/ 13 h 28"/>
                  <a:gd name="T12" fmla="*/ 78 w 86"/>
                  <a:gd name="T13" fmla="*/ 13 h 28"/>
                  <a:gd name="T14" fmla="*/ 81 w 86"/>
                  <a:gd name="T15" fmla="*/ 11 h 28"/>
                  <a:gd name="T16" fmla="*/ 81 w 86"/>
                  <a:gd name="T17" fmla="*/ 11 h 28"/>
                  <a:gd name="T18" fmla="*/ 85 w 86"/>
                  <a:gd name="T19" fmla="*/ 3 h 28"/>
                  <a:gd name="T20" fmla="*/ 1 w 86"/>
                  <a:gd name="T21" fmla="*/ 0 h 28"/>
                  <a:gd name="T22" fmla="*/ 4 w 86"/>
                  <a:gd name="T23" fmla="*/ 7 h 28"/>
                  <a:gd name="T24" fmla="*/ 5 w 86"/>
                  <a:gd name="T25" fmla="*/ 8 h 28"/>
                  <a:gd name="T26" fmla="*/ 10 w 86"/>
                  <a:gd name="T27" fmla="*/ 11 h 28"/>
                  <a:gd name="T28" fmla="*/ 35 w 86"/>
                  <a:gd name="T29" fmla="*/ 25 h 28"/>
                  <a:gd name="T30" fmla="*/ 38 w 86"/>
                  <a:gd name="T31" fmla="*/ 27 h 28"/>
                  <a:gd name="T32" fmla="*/ 42 w 86"/>
                  <a:gd name="T33" fmla="*/ 28 h 28"/>
                  <a:gd name="T34" fmla="*/ 46 w 86"/>
                  <a:gd name="T35" fmla="*/ 28 h 28"/>
                  <a:gd name="T36" fmla="*/ 48 w 86"/>
                  <a:gd name="T37" fmla="*/ 28 h 28"/>
                  <a:gd name="T38" fmla="*/ 49 w 86"/>
                  <a:gd name="T39" fmla="*/ 28 h 28"/>
                  <a:gd name="T40" fmla="*/ 49 w 86"/>
                  <a:gd name="T41" fmla="*/ 28 h 28"/>
                  <a:gd name="T42" fmla="*/ 54 w 86"/>
                  <a:gd name="T43" fmla="*/ 27 h 28"/>
                  <a:gd name="T44" fmla="*/ 54 w 86"/>
                  <a:gd name="T45" fmla="*/ 27 h 28"/>
                  <a:gd name="T46" fmla="*/ 54 w 86"/>
                  <a:gd name="T47" fmla="*/ 27 h 28"/>
                  <a:gd name="T48" fmla="*/ 54 w 86"/>
                  <a:gd name="T49" fmla="*/ 27 h 28"/>
                  <a:gd name="T50" fmla="*/ 57 w 86"/>
                  <a:gd name="T51" fmla="*/ 25 h 28"/>
                  <a:gd name="T52" fmla="*/ 63 w 86"/>
                  <a:gd name="T53" fmla="*/ 22 h 28"/>
                  <a:gd name="T54" fmla="*/ 63 w 86"/>
                  <a:gd name="T55" fmla="*/ 19 h 28"/>
                  <a:gd name="T56" fmla="*/ 57 w 86"/>
                  <a:gd name="T57" fmla="*/ 22 h 28"/>
                  <a:gd name="T58" fmla="*/ 46 w 86"/>
                  <a:gd name="T59" fmla="*/ 25 h 28"/>
                  <a:gd name="T60" fmla="*/ 35 w 86"/>
                  <a:gd name="T61" fmla="*/ 22 h 28"/>
                  <a:gd name="T62" fmla="*/ 4 w 86"/>
                  <a:gd name="T63" fmla="*/ 4 h 28"/>
                  <a:gd name="T64" fmla="*/ 1 w 86"/>
                  <a:gd name="T6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28">
                    <a:moveTo>
                      <a:pt x="85" y="3"/>
                    </a:moveTo>
                    <a:cubicBezTo>
                      <a:pt x="85" y="5"/>
                      <a:pt x="83" y="7"/>
                      <a:pt x="81" y="8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76" y="14"/>
                      <a:pt x="76" y="14"/>
                      <a:pt x="76" y="14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84" y="10"/>
                      <a:pt x="86" y="6"/>
                      <a:pt x="85" y="3"/>
                    </a:cubicBezTo>
                    <a:moveTo>
                      <a:pt x="1" y="0"/>
                    </a:moveTo>
                    <a:cubicBezTo>
                      <a:pt x="0" y="3"/>
                      <a:pt x="1" y="6"/>
                      <a:pt x="4" y="7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35" y="25"/>
                      <a:pt x="35" y="25"/>
                      <a:pt x="35" y="25"/>
                    </a:cubicBezTo>
                    <a:cubicBezTo>
                      <a:pt x="36" y="26"/>
                      <a:pt x="37" y="26"/>
                      <a:pt x="38" y="27"/>
                    </a:cubicBezTo>
                    <a:cubicBezTo>
                      <a:pt x="40" y="27"/>
                      <a:pt x="41" y="28"/>
                      <a:pt x="42" y="28"/>
                    </a:cubicBezTo>
                    <a:cubicBezTo>
                      <a:pt x="44" y="28"/>
                      <a:pt x="45" y="28"/>
                      <a:pt x="46" y="28"/>
                    </a:cubicBezTo>
                    <a:cubicBezTo>
                      <a:pt x="47" y="28"/>
                      <a:pt x="47" y="28"/>
                      <a:pt x="48" y="28"/>
                    </a:cubicBezTo>
                    <a:cubicBezTo>
                      <a:pt x="48" y="28"/>
                      <a:pt x="49" y="28"/>
                      <a:pt x="4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1" y="28"/>
                      <a:pt x="52" y="28"/>
                      <a:pt x="54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5" y="26"/>
                      <a:pt x="56" y="26"/>
                      <a:pt x="57" y="25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4" y="24"/>
                      <a:pt x="50" y="25"/>
                      <a:pt x="46" y="25"/>
                    </a:cubicBezTo>
                    <a:cubicBezTo>
                      <a:pt x="42" y="25"/>
                      <a:pt x="39" y="24"/>
                      <a:pt x="35" y="2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3"/>
                      <a:pt x="1" y="2"/>
                      <a:pt x="1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2" name="任意多边形: 形状 221">
                <a:extLst>
                  <a:ext uri="{FF2B5EF4-FFF2-40B4-BE49-F238E27FC236}">
                    <a16:creationId xmlns:a16="http://schemas.microsoft.com/office/drawing/2014/main" id="{8AC462DC-EAEC-46C6-9F2B-8313467EC4B5}"/>
                  </a:ext>
                </a:extLst>
              </p:cNvPr>
              <p:cNvSpPr/>
              <p:nvPr/>
            </p:nvSpPr>
            <p:spPr bwMode="auto">
              <a:xfrm>
                <a:off x="5393661" y="3708084"/>
                <a:ext cx="473518" cy="187820"/>
              </a:xfrm>
              <a:custGeom>
                <a:avLst/>
                <a:gdLst>
                  <a:gd name="T0" fmla="*/ 2 w 86"/>
                  <a:gd name="T1" fmla="*/ 4 h 34"/>
                  <a:gd name="T2" fmla="*/ 1 w 86"/>
                  <a:gd name="T3" fmla="*/ 9 h 34"/>
                  <a:gd name="T4" fmla="*/ 4 w 86"/>
                  <a:gd name="T5" fmla="*/ 13 h 34"/>
                  <a:gd name="T6" fmla="*/ 35 w 86"/>
                  <a:gd name="T7" fmla="*/ 31 h 34"/>
                  <a:gd name="T8" fmla="*/ 46 w 86"/>
                  <a:gd name="T9" fmla="*/ 34 h 34"/>
                  <a:gd name="T10" fmla="*/ 57 w 86"/>
                  <a:gd name="T11" fmla="*/ 31 h 34"/>
                  <a:gd name="T12" fmla="*/ 63 w 86"/>
                  <a:gd name="T13" fmla="*/ 28 h 34"/>
                  <a:gd name="T14" fmla="*/ 63 w 86"/>
                  <a:gd name="T15" fmla="*/ 20 h 34"/>
                  <a:gd name="T16" fmla="*/ 48 w 86"/>
                  <a:gd name="T17" fmla="*/ 23 h 34"/>
                  <a:gd name="T18" fmla="*/ 40 w 86"/>
                  <a:gd name="T19" fmla="*/ 22 h 34"/>
                  <a:gd name="T20" fmla="*/ 2 w 86"/>
                  <a:gd name="T21" fmla="*/ 4 h 34"/>
                  <a:gd name="T22" fmla="*/ 75 w 86"/>
                  <a:gd name="T23" fmla="*/ 0 h 34"/>
                  <a:gd name="T24" fmla="*/ 67 w 86"/>
                  <a:gd name="T25" fmla="*/ 18 h 34"/>
                  <a:gd name="T26" fmla="*/ 67 w 86"/>
                  <a:gd name="T27" fmla="*/ 26 h 34"/>
                  <a:gd name="T28" fmla="*/ 81 w 86"/>
                  <a:gd name="T29" fmla="*/ 17 h 34"/>
                  <a:gd name="T30" fmla="*/ 85 w 86"/>
                  <a:gd name="T31" fmla="*/ 12 h 34"/>
                  <a:gd name="T32" fmla="*/ 81 w 86"/>
                  <a:gd name="T33" fmla="*/ 4 h 34"/>
                  <a:gd name="T34" fmla="*/ 75 w 86"/>
                  <a:gd name="T3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6" h="34">
                    <a:moveTo>
                      <a:pt x="2" y="4"/>
                    </a:moveTo>
                    <a:cubicBezTo>
                      <a:pt x="1" y="5"/>
                      <a:pt x="0" y="7"/>
                      <a:pt x="1" y="9"/>
                    </a:cubicBezTo>
                    <a:cubicBezTo>
                      <a:pt x="1" y="11"/>
                      <a:pt x="2" y="12"/>
                      <a:pt x="4" y="1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9" y="33"/>
                      <a:pt x="42" y="34"/>
                      <a:pt x="46" y="34"/>
                    </a:cubicBezTo>
                    <a:cubicBezTo>
                      <a:pt x="50" y="34"/>
                      <a:pt x="54" y="33"/>
                      <a:pt x="57" y="31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0"/>
                      <a:pt x="63" y="20"/>
                      <a:pt x="63" y="20"/>
                    </a:cubicBezTo>
                    <a:cubicBezTo>
                      <a:pt x="58" y="22"/>
                      <a:pt x="53" y="23"/>
                      <a:pt x="48" y="23"/>
                    </a:cubicBezTo>
                    <a:cubicBezTo>
                      <a:pt x="45" y="23"/>
                      <a:pt x="42" y="23"/>
                      <a:pt x="40" y="22"/>
                    </a:cubicBezTo>
                    <a:cubicBezTo>
                      <a:pt x="28" y="19"/>
                      <a:pt x="8" y="7"/>
                      <a:pt x="2" y="4"/>
                    </a:cubicBezTo>
                    <a:moveTo>
                      <a:pt x="75" y="0"/>
                    </a:moveTo>
                    <a:cubicBezTo>
                      <a:pt x="75" y="8"/>
                      <a:pt x="72" y="14"/>
                      <a:pt x="67" y="18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81" y="17"/>
                      <a:pt x="81" y="17"/>
                      <a:pt x="81" y="17"/>
                    </a:cubicBezTo>
                    <a:cubicBezTo>
                      <a:pt x="83" y="16"/>
                      <a:pt x="85" y="14"/>
                      <a:pt x="85" y="12"/>
                    </a:cubicBezTo>
                    <a:cubicBezTo>
                      <a:pt x="86" y="9"/>
                      <a:pt x="84" y="6"/>
                      <a:pt x="81" y="4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3" name="任意多边形: 形状 222">
                <a:extLst>
                  <a:ext uri="{FF2B5EF4-FFF2-40B4-BE49-F238E27FC236}">
                    <a16:creationId xmlns:a16="http://schemas.microsoft.com/office/drawing/2014/main" id="{9FB6ABDB-F3C6-41D3-9B72-045A3707F26C}"/>
                  </a:ext>
                </a:extLst>
              </p:cNvPr>
              <p:cNvSpPr/>
              <p:nvPr/>
            </p:nvSpPr>
            <p:spPr bwMode="auto">
              <a:xfrm>
                <a:off x="5219068" y="3977909"/>
                <a:ext cx="193111" cy="100523"/>
              </a:xfrm>
              <a:custGeom>
                <a:avLst/>
                <a:gdLst>
                  <a:gd name="T0" fmla="*/ 8 w 35"/>
                  <a:gd name="T1" fmla="*/ 0 h 18"/>
                  <a:gd name="T2" fmla="*/ 4 w 35"/>
                  <a:gd name="T3" fmla="*/ 1 h 18"/>
                  <a:gd name="T4" fmla="*/ 1 w 35"/>
                  <a:gd name="T5" fmla="*/ 5 h 18"/>
                  <a:gd name="T6" fmla="*/ 15 w 35"/>
                  <a:gd name="T7" fmla="*/ 14 h 18"/>
                  <a:gd name="T8" fmla="*/ 26 w 35"/>
                  <a:gd name="T9" fmla="*/ 18 h 18"/>
                  <a:gd name="T10" fmla="*/ 29 w 35"/>
                  <a:gd name="T11" fmla="*/ 17 h 18"/>
                  <a:gd name="T12" fmla="*/ 31 w 35"/>
                  <a:gd name="T13" fmla="*/ 6 h 18"/>
                  <a:gd name="T14" fmla="*/ 31 w 35"/>
                  <a:gd name="T15" fmla="*/ 6 h 18"/>
                  <a:gd name="T16" fmla="*/ 26 w 35"/>
                  <a:gd name="T17" fmla="*/ 9 h 18"/>
                  <a:gd name="T18" fmla="*/ 20 w 35"/>
                  <a:gd name="T19" fmla="*/ 3 h 18"/>
                  <a:gd name="T20" fmla="*/ 20 w 35"/>
                  <a:gd name="T21" fmla="*/ 1 h 18"/>
                  <a:gd name="T22" fmla="*/ 11 w 35"/>
                  <a:gd name="T23" fmla="*/ 0 h 18"/>
                  <a:gd name="T24" fmla="*/ 8 w 35"/>
                  <a:gd name="T25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18">
                    <a:moveTo>
                      <a:pt x="8" y="0"/>
                    </a:moveTo>
                    <a:cubicBezTo>
                      <a:pt x="6" y="0"/>
                      <a:pt x="5" y="1"/>
                      <a:pt x="4" y="1"/>
                    </a:cubicBezTo>
                    <a:cubicBezTo>
                      <a:pt x="1" y="2"/>
                      <a:pt x="0" y="4"/>
                      <a:pt x="1" y="5"/>
                    </a:cubicBezTo>
                    <a:cubicBezTo>
                      <a:pt x="2" y="6"/>
                      <a:pt x="9" y="10"/>
                      <a:pt x="15" y="14"/>
                    </a:cubicBezTo>
                    <a:cubicBezTo>
                      <a:pt x="20" y="16"/>
                      <a:pt x="23" y="18"/>
                      <a:pt x="26" y="18"/>
                    </a:cubicBezTo>
                    <a:cubicBezTo>
                      <a:pt x="27" y="18"/>
                      <a:pt x="28" y="18"/>
                      <a:pt x="29" y="17"/>
                    </a:cubicBezTo>
                    <a:cubicBezTo>
                      <a:pt x="35" y="14"/>
                      <a:pt x="31" y="6"/>
                      <a:pt x="31" y="6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31" y="8"/>
                      <a:pt x="28" y="9"/>
                      <a:pt x="26" y="9"/>
                    </a:cubicBezTo>
                    <a:cubicBezTo>
                      <a:pt x="23" y="9"/>
                      <a:pt x="20" y="7"/>
                      <a:pt x="20" y="3"/>
                    </a:cubicBezTo>
                    <a:cubicBezTo>
                      <a:pt x="20" y="2"/>
                      <a:pt x="20" y="2"/>
                      <a:pt x="20" y="1"/>
                    </a:cubicBezTo>
                    <a:cubicBezTo>
                      <a:pt x="17" y="1"/>
                      <a:pt x="13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4" name="任意多边形: 形状 223">
                <a:extLst>
                  <a:ext uri="{FF2B5EF4-FFF2-40B4-BE49-F238E27FC236}">
                    <a16:creationId xmlns:a16="http://schemas.microsoft.com/office/drawing/2014/main" id="{488B1B0A-C0A1-4243-8CBC-F4E44041BCAA}"/>
                  </a:ext>
                </a:extLst>
              </p:cNvPr>
              <p:cNvSpPr/>
              <p:nvPr/>
            </p:nvSpPr>
            <p:spPr bwMode="auto">
              <a:xfrm>
                <a:off x="5327526" y="3967328"/>
                <a:ext cx="60844" cy="60844"/>
              </a:xfrm>
              <a:custGeom>
                <a:avLst/>
                <a:gdLst>
                  <a:gd name="T0" fmla="*/ 0 w 11"/>
                  <a:gd name="T1" fmla="*/ 0 h 11"/>
                  <a:gd name="T2" fmla="*/ 0 w 11"/>
                  <a:gd name="T3" fmla="*/ 3 h 11"/>
                  <a:gd name="T4" fmla="*/ 0 w 11"/>
                  <a:gd name="T5" fmla="*/ 5 h 11"/>
                  <a:gd name="T6" fmla="*/ 6 w 11"/>
                  <a:gd name="T7" fmla="*/ 11 h 11"/>
                  <a:gd name="T8" fmla="*/ 11 w 11"/>
                  <a:gd name="T9" fmla="*/ 8 h 11"/>
                  <a:gd name="T10" fmla="*/ 11 w 11"/>
                  <a:gd name="T11" fmla="*/ 8 h 11"/>
                  <a:gd name="T12" fmla="*/ 11 w 11"/>
                  <a:gd name="T13" fmla="*/ 2 h 11"/>
                  <a:gd name="T14" fmla="*/ 7 w 11"/>
                  <a:gd name="T15" fmla="*/ 2 h 11"/>
                  <a:gd name="T16" fmla="*/ 0 w 11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1">
                    <a:moveTo>
                      <a:pt x="0" y="0"/>
                    </a:move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0" y="4"/>
                      <a:pt x="0" y="5"/>
                    </a:cubicBezTo>
                    <a:cubicBezTo>
                      <a:pt x="0" y="9"/>
                      <a:pt x="3" y="11"/>
                      <a:pt x="6" y="11"/>
                    </a:cubicBezTo>
                    <a:cubicBezTo>
                      <a:pt x="8" y="11"/>
                      <a:pt x="11" y="10"/>
                      <a:pt x="11" y="8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1" y="7"/>
                      <a:pt x="11" y="5"/>
                      <a:pt x="11" y="2"/>
                    </a:cubicBezTo>
                    <a:cubicBezTo>
                      <a:pt x="10" y="2"/>
                      <a:pt x="9" y="2"/>
                      <a:pt x="7" y="2"/>
                    </a:cubicBezTo>
                    <a:cubicBezTo>
                      <a:pt x="5" y="2"/>
                      <a:pt x="2" y="2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5" name="任意多边形: 形状 224">
                <a:extLst>
                  <a:ext uri="{FF2B5EF4-FFF2-40B4-BE49-F238E27FC236}">
                    <a16:creationId xmlns:a16="http://schemas.microsoft.com/office/drawing/2014/main" id="{239AE0DB-42B6-41B2-A69D-4D1F7658D5BB}"/>
                  </a:ext>
                </a:extLst>
              </p:cNvPr>
              <p:cNvSpPr/>
              <p:nvPr/>
            </p:nvSpPr>
            <p:spPr bwMode="auto">
              <a:xfrm>
                <a:off x="5626451" y="3226631"/>
                <a:ext cx="92588" cy="52907"/>
              </a:xfrm>
              <a:custGeom>
                <a:avLst/>
                <a:gdLst>
                  <a:gd name="T0" fmla="*/ 0 w 17"/>
                  <a:gd name="T1" fmla="*/ 9 h 10"/>
                  <a:gd name="T2" fmla="*/ 0 w 17"/>
                  <a:gd name="T3" fmla="*/ 10 h 10"/>
                  <a:gd name="T4" fmla="*/ 2 w 17"/>
                  <a:gd name="T5" fmla="*/ 10 h 10"/>
                  <a:gd name="T6" fmla="*/ 1 w 17"/>
                  <a:gd name="T7" fmla="*/ 10 h 10"/>
                  <a:gd name="T8" fmla="*/ 0 w 17"/>
                  <a:gd name="T9" fmla="*/ 9 h 10"/>
                  <a:gd name="T10" fmla="*/ 16 w 17"/>
                  <a:gd name="T11" fmla="*/ 0 h 10"/>
                  <a:gd name="T12" fmla="*/ 16 w 17"/>
                  <a:gd name="T13" fmla="*/ 0 h 10"/>
                  <a:gd name="T14" fmla="*/ 9 w 17"/>
                  <a:gd name="T15" fmla="*/ 3 h 10"/>
                  <a:gd name="T16" fmla="*/ 15 w 17"/>
                  <a:gd name="T17" fmla="*/ 8 h 10"/>
                  <a:gd name="T18" fmla="*/ 17 w 17"/>
                  <a:gd name="T19" fmla="*/ 5 h 10"/>
                  <a:gd name="T20" fmla="*/ 17 w 17"/>
                  <a:gd name="T21" fmla="*/ 5 h 10"/>
                  <a:gd name="T22" fmla="*/ 16 w 17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10">
                    <a:moveTo>
                      <a:pt x="0" y="9"/>
                    </a:moveTo>
                    <a:cubicBezTo>
                      <a:pt x="0" y="9"/>
                      <a:pt x="0" y="10"/>
                      <a:pt x="0" y="10"/>
                    </a:cubicBezTo>
                    <a:cubicBezTo>
                      <a:pt x="1" y="10"/>
                      <a:pt x="1" y="10"/>
                      <a:pt x="2" y="10"/>
                    </a:cubicBezTo>
                    <a:cubicBezTo>
                      <a:pt x="2" y="10"/>
                      <a:pt x="2" y="10"/>
                      <a:pt x="1" y="10"/>
                    </a:cubicBezTo>
                    <a:cubicBezTo>
                      <a:pt x="1" y="10"/>
                      <a:pt x="1" y="10"/>
                      <a:pt x="0" y="9"/>
                    </a:cubicBezTo>
                    <a:moveTo>
                      <a:pt x="16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15" y="2"/>
                      <a:pt x="12" y="3"/>
                      <a:pt x="9" y="3"/>
                    </a:cubicBezTo>
                    <a:cubicBezTo>
                      <a:pt x="11" y="5"/>
                      <a:pt x="13" y="6"/>
                      <a:pt x="15" y="8"/>
                    </a:cubicBezTo>
                    <a:cubicBezTo>
                      <a:pt x="17" y="6"/>
                      <a:pt x="17" y="5"/>
                      <a:pt x="17" y="5"/>
                    </a:cubicBezTo>
                    <a:cubicBezTo>
                      <a:pt x="17" y="5"/>
                      <a:pt x="17" y="5"/>
                      <a:pt x="17" y="5"/>
                    </a:cubicBezTo>
                    <a:cubicBezTo>
                      <a:pt x="17" y="3"/>
                      <a:pt x="16" y="2"/>
                      <a:pt x="16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6" name="任意多边形: 形状 225">
                <a:extLst>
                  <a:ext uri="{FF2B5EF4-FFF2-40B4-BE49-F238E27FC236}">
                    <a16:creationId xmlns:a16="http://schemas.microsoft.com/office/drawing/2014/main" id="{2F69368F-FDC4-4646-999A-2A6CE7C1D007}"/>
                  </a:ext>
                </a:extLst>
              </p:cNvPr>
              <p:cNvSpPr/>
              <p:nvPr/>
            </p:nvSpPr>
            <p:spPr bwMode="auto">
              <a:xfrm>
                <a:off x="5621161" y="3226631"/>
                <a:ext cx="87297" cy="52907"/>
              </a:xfrm>
              <a:custGeom>
                <a:avLst/>
                <a:gdLst>
                  <a:gd name="T0" fmla="*/ 3 w 16"/>
                  <a:gd name="T1" fmla="*/ 0 h 10"/>
                  <a:gd name="T2" fmla="*/ 0 w 16"/>
                  <a:gd name="T3" fmla="*/ 1 h 10"/>
                  <a:gd name="T4" fmla="*/ 0 w 16"/>
                  <a:gd name="T5" fmla="*/ 1 h 10"/>
                  <a:gd name="T6" fmla="*/ 1 w 16"/>
                  <a:gd name="T7" fmla="*/ 9 h 10"/>
                  <a:gd name="T8" fmla="*/ 2 w 16"/>
                  <a:gd name="T9" fmla="*/ 10 h 10"/>
                  <a:gd name="T10" fmla="*/ 3 w 16"/>
                  <a:gd name="T11" fmla="*/ 10 h 10"/>
                  <a:gd name="T12" fmla="*/ 6 w 16"/>
                  <a:gd name="T13" fmla="*/ 10 h 10"/>
                  <a:gd name="T14" fmla="*/ 14 w 16"/>
                  <a:gd name="T15" fmla="*/ 9 h 10"/>
                  <a:gd name="T16" fmla="*/ 16 w 16"/>
                  <a:gd name="T17" fmla="*/ 8 h 10"/>
                  <a:gd name="T18" fmla="*/ 10 w 16"/>
                  <a:gd name="T19" fmla="*/ 3 h 10"/>
                  <a:gd name="T20" fmla="*/ 9 w 16"/>
                  <a:gd name="T21" fmla="*/ 3 h 10"/>
                  <a:gd name="T22" fmla="*/ 3 w 16"/>
                  <a:gd name="T23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0">
                    <a:moveTo>
                      <a:pt x="3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1" y="6"/>
                      <a:pt x="1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4" y="10"/>
                      <a:pt x="5" y="10"/>
                      <a:pt x="6" y="10"/>
                    </a:cubicBezTo>
                    <a:cubicBezTo>
                      <a:pt x="9" y="10"/>
                      <a:pt x="11" y="10"/>
                      <a:pt x="14" y="9"/>
                    </a:cubicBezTo>
                    <a:cubicBezTo>
                      <a:pt x="15" y="9"/>
                      <a:pt x="16" y="8"/>
                      <a:pt x="16" y="8"/>
                    </a:cubicBezTo>
                    <a:cubicBezTo>
                      <a:pt x="14" y="6"/>
                      <a:pt x="12" y="5"/>
                      <a:pt x="10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6" y="3"/>
                      <a:pt x="3" y="2"/>
                      <a:pt x="3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7" name="任意多边形: 形状 226">
                <a:extLst>
                  <a:ext uri="{FF2B5EF4-FFF2-40B4-BE49-F238E27FC236}">
                    <a16:creationId xmlns:a16="http://schemas.microsoft.com/office/drawing/2014/main" id="{3B59F3A3-EF8E-4C40-8F29-F1BBA1ECE880}"/>
                  </a:ext>
                </a:extLst>
              </p:cNvPr>
              <p:cNvSpPr/>
              <p:nvPr/>
            </p:nvSpPr>
            <p:spPr bwMode="auto">
              <a:xfrm>
                <a:off x="5541800" y="3059975"/>
                <a:ext cx="89942" cy="153430"/>
              </a:xfrm>
              <a:custGeom>
                <a:avLst/>
                <a:gdLst>
                  <a:gd name="T0" fmla="*/ 0 w 16"/>
                  <a:gd name="T1" fmla="*/ 0 h 28"/>
                  <a:gd name="T2" fmla="*/ 0 w 16"/>
                  <a:gd name="T3" fmla="*/ 2 h 28"/>
                  <a:gd name="T4" fmla="*/ 0 w 16"/>
                  <a:gd name="T5" fmla="*/ 19 h 28"/>
                  <a:gd name="T6" fmla="*/ 4 w 16"/>
                  <a:gd name="T7" fmla="*/ 20 h 28"/>
                  <a:gd name="T8" fmla="*/ 16 w 16"/>
                  <a:gd name="T9" fmla="*/ 28 h 28"/>
                  <a:gd name="T10" fmla="*/ 9 w 16"/>
                  <a:gd name="T11" fmla="*/ 20 h 28"/>
                  <a:gd name="T12" fmla="*/ 7 w 16"/>
                  <a:gd name="T13" fmla="*/ 22 h 28"/>
                  <a:gd name="T14" fmla="*/ 5 w 16"/>
                  <a:gd name="T15" fmla="*/ 20 h 28"/>
                  <a:gd name="T16" fmla="*/ 6 w 16"/>
                  <a:gd name="T17" fmla="*/ 16 h 28"/>
                  <a:gd name="T18" fmla="*/ 5 w 16"/>
                  <a:gd name="T19" fmla="*/ 4 h 28"/>
                  <a:gd name="T20" fmla="*/ 0 w 16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6" h="28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"/>
                      <a:pt x="0" y="13"/>
                      <a:pt x="0" y="19"/>
                    </a:cubicBezTo>
                    <a:cubicBezTo>
                      <a:pt x="4" y="20"/>
                      <a:pt x="4" y="20"/>
                      <a:pt x="4" y="20"/>
                    </a:cubicBezTo>
                    <a:cubicBezTo>
                      <a:pt x="4" y="20"/>
                      <a:pt x="9" y="24"/>
                      <a:pt x="16" y="28"/>
                    </a:cubicBezTo>
                    <a:cubicBezTo>
                      <a:pt x="14" y="25"/>
                      <a:pt x="11" y="22"/>
                      <a:pt x="9" y="20"/>
                    </a:cubicBezTo>
                    <a:cubicBezTo>
                      <a:pt x="9" y="22"/>
                      <a:pt x="8" y="22"/>
                      <a:pt x="7" y="22"/>
                    </a:cubicBezTo>
                    <a:cubicBezTo>
                      <a:pt x="6" y="22"/>
                      <a:pt x="5" y="20"/>
                      <a:pt x="5" y="20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1" y="12"/>
                      <a:pt x="5" y="4"/>
                      <a:pt x="5" y="4"/>
                    </a:cubicBezTo>
                    <a:cubicBezTo>
                      <a:pt x="3" y="2"/>
                      <a:pt x="1" y="1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8" name="任意多边形: 形状 227">
                <a:extLst>
                  <a:ext uri="{FF2B5EF4-FFF2-40B4-BE49-F238E27FC236}">
                    <a16:creationId xmlns:a16="http://schemas.microsoft.com/office/drawing/2014/main" id="{7D35B2F8-C422-428C-8734-2632F1513665}"/>
                  </a:ext>
                </a:extLst>
              </p:cNvPr>
              <p:cNvSpPr/>
              <p:nvPr/>
            </p:nvSpPr>
            <p:spPr bwMode="auto">
              <a:xfrm>
                <a:off x="5541800" y="3165788"/>
                <a:ext cx="95232" cy="71425"/>
              </a:xfrm>
              <a:custGeom>
                <a:avLst/>
                <a:gdLst>
                  <a:gd name="T0" fmla="*/ 0 w 17"/>
                  <a:gd name="T1" fmla="*/ 0 h 13"/>
                  <a:gd name="T2" fmla="*/ 0 w 17"/>
                  <a:gd name="T3" fmla="*/ 2 h 13"/>
                  <a:gd name="T4" fmla="*/ 10 w 17"/>
                  <a:gd name="T5" fmla="*/ 13 h 13"/>
                  <a:gd name="T6" fmla="*/ 14 w 17"/>
                  <a:gd name="T7" fmla="*/ 12 h 13"/>
                  <a:gd name="T8" fmla="*/ 14 w 17"/>
                  <a:gd name="T9" fmla="*/ 12 h 13"/>
                  <a:gd name="T10" fmla="*/ 17 w 17"/>
                  <a:gd name="T11" fmla="*/ 11 h 13"/>
                  <a:gd name="T12" fmla="*/ 17 w 17"/>
                  <a:gd name="T13" fmla="*/ 11 h 13"/>
                  <a:gd name="T14" fmla="*/ 16 w 17"/>
                  <a:gd name="T15" fmla="*/ 9 h 13"/>
                  <a:gd name="T16" fmla="*/ 4 w 17"/>
                  <a:gd name="T17" fmla="*/ 1 h 13"/>
                  <a:gd name="T18" fmla="*/ 0 w 17"/>
                  <a:gd name="T1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13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6"/>
                      <a:pt x="3" y="13"/>
                      <a:pt x="10" y="13"/>
                    </a:cubicBezTo>
                    <a:cubicBezTo>
                      <a:pt x="11" y="13"/>
                      <a:pt x="12" y="13"/>
                      <a:pt x="14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5" y="12"/>
                      <a:pt x="16" y="12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6" y="10"/>
                      <a:pt x="16" y="10"/>
                      <a:pt x="16" y="9"/>
                    </a:cubicBezTo>
                    <a:cubicBezTo>
                      <a:pt x="9" y="5"/>
                      <a:pt x="4" y="1"/>
                      <a:pt x="4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9" name="任意多边形: 形状 228">
                <a:extLst>
                  <a:ext uri="{FF2B5EF4-FFF2-40B4-BE49-F238E27FC236}">
                    <a16:creationId xmlns:a16="http://schemas.microsoft.com/office/drawing/2014/main" id="{86E690FE-202E-4405-A493-5587F6C46358}"/>
                  </a:ext>
                </a:extLst>
              </p:cNvPr>
              <p:cNvSpPr/>
              <p:nvPr/>
            </p:nvSpPr>
            <p:spPr bwMode="auto">
              <a:xfrm>
                <a:off x="5428050" y="3544072"/>
                <a:ext cx="132267" cy="116395"/>
              </a:xfrm>
              <a:custGeom>
                <a:avLst/>
                <a:gdLst>
                  <a:gd name="T0" fmla="*/ 18 w 24"/>
                  <a:gd name="T1" fmla="*/ 0 h 21"/>
                  <a:gd name="T2" fmla="*/ 0 w 24"/>
                  <a:gd name="T3" fmla="*/ 11 h 21"/>
                  <a:gd name="T4" fmla="*/ 23 w 24"/>
                  <a:gd name="T5" fmla="*/ 21 h 21"/>
                  <a:gd name="T6" fmla="*/ 24 w 24"/>
                  <a:gd name="T7" fmla="*/ 3 h 21"/>
                  <a:gd name="T8" fmla="*/ 18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18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5" y="13"/>
                      <a:pt x="16" y="18"/>
                      <a:pt x="23" y="21"/>
                    </a:cubicBezTo>
                    <a:cubicBezTo>
                      <a:pt x="23" y="16"/>
                      <a:pt x="24" y="9"/>
                      <a:pt x="24" y="3"/>
                    </a:cubicBezTo>
                    <a:cubicBezTo>
                      <a:pt x="22" y="2"/>
                      <a:pt x="20" y="1"/>
                      <a:pt x="18" y="0"/>
                    </a:cubicBezTo>
                  </a:path>
                </a:pathLst>
              </a:custGeom>
              <a:solidFill>
                <a:srgbClr val="005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0" name="任意多边形: 形状 229">
                <a:extLst>
                  <a:ext uri="{FF2B5EF4-FFF2-40B4-BE49-F238E27FC236}">
                    <a16:creationId xmlns:a16="http://schemas.microsoft.com/office/drawing/2014/main" id="{9967091A-6FD0-4C31-98F9-6FAA022D1E3B}"/>
                  </a:ext>
                </a:extLst>
              </p:cNvPr>
              <p:cNvSpPr/>
              <p:nvPr/>
            </p:nvSpPr>
            <p:spPr bwMode="auto">
              <a:xfrm>
                <a:off x="5428050" y="3544072"/>
                <a:ext cx="97879" cy="60844"/>
              </a:xfrm>
              <a:custGeom>
                <a:avLst/>
                <a:gdLst>
                  <a:gd name="T0" fmla="*/ 18 w 18"/>
                  <a:gd name="T1" fmla="*/ 0 h 11"/>
                  <a:gd name="T2" fmla="*/ 0 w 18"/>
                  <a:gd name="T3" fmla="*/ 11 h 11"/>
                  <a:gd name="T4" fmla="*/ 0 w 18"/>
                  <a:gd name="T5" fmla="*/ 11 h 11"/>
                  <a:gd name="T6" fmla="*/ 18 w 18"/>
                  <a:gd name="T7" fmla="*/ 0 h 11"/>
                  <a:gd name="T8" fmla="*/ 18 w 18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1">
                    <a:moveTo>
                      <a:pt x="18" y="0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05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1" name="任意多边形: 形状 230">
                <a:extLst>
                  <a:ext uri="{FF2B5EF4-FFF2-40B4-BE49-F238E27FC236}">
                    <a16:creationId xmlns:a16="http://schemas.microsoft.com/office/drawing/2014/main" id="{D07A43F2-5FC4-4E44-9BC1-9F847BC1EC36}"/>
                  </a:ext>
                </a:extLst>
              </p:cNvPr>
              <p:cNvSpPr/>
              <p:nvPr/>
            </p:nvSpPr>
            <p:spPr bwMode="auto">
              <a:xfrm>
                <a:off x="5311654" y="3604914"/>
                <a:ext cx="494681" cy="330669"/>
              </a:xfrm>
              <a:custGeom>
                <a:avLst/>
                <a:gdLst>
                  <a:gd name="T0" fmla="*/ 89 w 90"/>
                  <a:gd name="T1" fmla="*/ 14 h 60"/>
                  <a:gd name="T2" fmla="*/ 82 w 90"/>
                  <a:gd name="T3" fmla="*/ 20 h 60"/>
                  <a:gd name="T4" fmla="*/ 82 w 90"/>
                  <a:gd name="T5" fmla="*/ 37 h 60"/>
                  <a:gd name="T6" fmla="*/ 90 w 90"/>
                  <a:gd name="T7" fmla="*/ 19 h 60"/>
                  <a:gd name="T8" fmla="*/ 89 w 90"/>
                  <a:gd name="T9" fmla="*/ 14 h 60"/>
                  <a:gd name="T10" fmla="*/ 21 w 90"/>
                  <a:gd name="T11" fmla="*/ 0 h 60"/>
                  <a:gd name="T12" fmla="*/ 0 w 90"/>
                  <a:gd name="T13" fmla="*/ 12 h 60"/>
                  <a:gd name="T14" fmla="*/ 0 w 90"/>
                  <a:gd name="T15" fmla="*/ 56 h 60"/>
                  <a:gd name="T16" fmla="*/ 3 w 90"/>
                  <a:gd name="T17" fmla="*/ 58 h 60"/>
                  <a:gd name="T18" fmla="*/ 8 w 90"/>
                  <a:gd name="T19" fmla="*/ 60 h 60"/>
                  <a:gd name="T20" fmla="*/ 9 w 90"/>
                  <a:gd name="T21" fmla="*/ 60 h 60"/>
                  <a:gd name="T22" fmla="*/ 14 w 90"/>
                  <a:gd name="T23" fmla="*/ 59 h 60"/>
                  <a:gd name="T24" fmla="*/ 15 w 90"/>
                  <a:gd name="T25" fmla="*/ 59 h 60"/>
                  <a:gd name="T26" fmla="*/ 15 w 90"/>
                  <a:gd name="T27" fmla="*/ 59 h 60"/>
                  <a:gd name="T28" fmla="*/ 15 w 90"/>
                  <a:gd name="T29" fmla="*/ 28 h 60"/>
                  <a:gd name="T30" fmla="*/ 15 w 90"/>
                  <a:gd name="T31" fmla="*/ 21 h 60"/>
                  <a:gd name="T32" fmla="*/ 17 w 90"/>
                  <a:gd name="T33" fmla="*/ 23 h 60"/>
                  <a:gd name="T34" fmla="*/ 55 w 90"/>
                  <a:gd name="T35" fmla="*/ 41 h 60"/>
                  <a:gd name="T36" fmla="*/ 63 w 90"/>
                  <a:gd name="T37" fmla="*/ 42 h 60"/>
                  <a:gd name="T38" fmla="*/ 78 w 90"/>
                  <a:gd name="T39" fmla="*/ 39 h 60"/>
                  <a:gd name="T40" fmla="*/ 78 w 90"/>
                  <a:gd name="T41" fmla="*/ 22 h 60"/>
                  <a:gd name="T42" fmla="*/ 68 w 90"/>
                  <a:gd name="T43" fmla="*/ 25 h 60"/>
                  <a:gd name="T44" fmla="*/ 63 w 90"/>
                  <a:gd name="T45" fmla="*/ 26 h 60"/>
                  <a:gd name="T46" fmla="*/ 43 w 90"/>
                  <a:gd name="T47" fmla="*/ 18 h 60"/>
                  <a:gd name="T48" fmla="*/ 44 w 90"/>
                  <a:gd name="T49" fmla="*/ 10 h 60"/>
                  <a:gd name="T50" fmla="*/ 21 w 90"/>
                  <a:gd name="T5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0" h="60">
                    <a:moveTo>
                      <a:pt x="89" y="14"/>
                    </a:moveTo>
                    <a:cubicBezTo>
                      <a:pt x="88" y="17"/>
                      <a:pt x="85" y="19"/>
                      <a:pt x="82" y="20"/>
                    </a:cubicBezTo>
                    <a:cubicBezTo>
                      <a:pt x="82" y="37"/>
                      <a:pt x="82" y="37"/>
                      <a:pt x="82" y="37"/>
                    </a:cubicBezTo>
                    <a:cubicBezTo>
                      <a:pt x="87" y="33"/>
                      <a:pt x="90" y="27"/>
                      <a:pt x="90" y="19"/>
                    </a:cubicBezTo>
                    <a:cubicBezTo>
                      <a:pt x="90" y="17"/>
                      <a:pt x="90" y="16"/>
                      <a:pt x="89" y="14"/>
                    </a:cubicBezTo>
                    <a:moveTo>
                      <a:pt x="21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22"/>
                      <a:pt x="0" y="46"/>
                      <a:pt x="0" y="56"/>
                    </a:cubicBezTo>
                    <a:cubicBezTo>
                      <a:pt x="1" y="56"/>
                      <a:pt x="2" y="57"/>
                      <a:pt x="3" y="58"/>
                    </a:cubicBezTo>
                    <a:cubicBezTo>
                      <a:pt x="4" y="59"/>
                      <a:pt x="5" y="60"/>
                      <a:pt x="8" y="60"/>
                    </a:cubicBezTo>
                    <a:cubicBezTo>
                      <a:pt x="8" y="60"/>
                      <a:pt x="9" y="60"/>
                      <a:pt x="9" y="60"/>
                    </a:cubicBezTo>
                    <a:cubicBezTo>
                      <a:pt x="12" y="59"/>
                      <a:pt x="13" y="59"/>
                      <a:pt x="14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5" y="49"/>
                      <a:pt x="15" y="30"/>
                      <a:pt x="15" y="28"/>
                    </a:cubicBezTo>
                    <a:cubicBezTo>
                      <a:pt x="15" y="26"/>
                      <a:pt x="15" y="21"/>
                      <a:pt x="15" y="21"/>
                    </a:cubicBezTo>
                    <a:cubicBezTo>
                      <a:pt x="15" y="21"/>
                      <a:pt x="16" y="22"/>
                      <a:pt x="17" y="23"/>
                    </a:cubicBezTo>
                    <a:cubicBezTo>
                      <a:pt x="23" y="26"/>
                      <a:pt x="43" y="38"/>
                      <a:pt x="55" y="41"/>
                    </a:cubicBezTo>
                    <a:cubicBezTo>
                      <a:pt x="57" y="42"/>
                      <a:pt x="60" y="42"/>
                      <a:pt x="63" y="42"/>
                    </a:cubicBezTo>
                    <a:cubicBezTo>
                      <a:pt x="68" y="42"/>
                      <a:pt x="73" y="41"/>
                      <a:pt x="78" y="39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4" y="23"/>
                      <a:pt x="71" y="25"/>
                      <a:pt x="68" y="25"/>
                    </a:cubicBezTo>
                    <a:cubicBezTo>
                      <a:pt x="66" y="26"/>
                      <a:pt x="65" y="26"/>
                      <a:pt x="63" y="26"/>
                    </a:cubicBezTo>
                    <a:cubicBezTo>
                      <a:pt x="54" y="26"/>
                      <a:pt x="43" y="20"/>
                      <a:pt x="43" y="18"/>
                    </a:cubicBezTo>
                    <a:cubicBezTo>
                      <a:pt x="43" y="17"/>
                      <a:pt x="44" y="14"/>
                      <a:pt x="44" y="10"/>
                    </a:cubicBezTo>
                    <a:cubicBezTo>
                      <a:pt x="37" y="7"/>
                      <a:pt x="26" y="2"/>
                      <a:pt x="21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2" name="任意多边形: 形状 231">
                <a:extLst>
                  <a:ext uri="{FF2B5EF4-FFF2-40B4-BE49-F238E27FC236}">
                    <a16:creationId xmlns:a16="http://schemas.microsoft.com/office/drawing/2014/main" id="{6E3E1D21-23A3-4E12-A0CE-FA170AFAC383}"/>
                  </a:ext>
                </a:extLst>
              </p:cNvPr>
              <p:cNvSpPr/>
              <p:nvPr/>
            </p:nvSpPr>
            <p:spPr bwMode="auto">
              <a:xfrm>
                <a:off x="5311654" y="3604914"/>
                <a:ext cx="116395" cy="66134"/>
              </a:xfrm>
              <a:custGeom>
                <a:avLst/>
                <a:gdLst>
                  <a:gd name="T0" fmla="*/ 21 w 21"/>
                  <a:gd name="T1" fmla="*/ 0 h 12"/>
                  <a:gd name="T2" fmla="*/ 0 w 21"/>
                  <a:gd name="T3" fmla="*/ 12 h 12"/>
                  <a:gd name="T4" fmla="*/ 0 w 21"/>
                  <a:gd name="T5" fmla="*/ 12 h 12"/>
                  <a:gd name="T6" fmla="*/ 21 w 21"/>
                  <a:gd name="T7" fmla="*/ 0 h 12"/>
                  <a:gd name="T8" fmla="*/ 21 w 2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2">
                    <a:moveTo>
                      <a:pt x="21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3" name="任意多边形: 形状 232">
                <a:extLst>
                  <a:ext uri="{FF2B5EF4-FFF2-40B4-BE49-F238E27FC236}">
                    <a16:creationId xmlns:a16="http://schemas.microsoft.com/office/drawing/2014/main" id="{4EA23AEC-725F-4D5B-B16A-20E196DF4C0E}"/>
                  </a:ext>
                </a:extLst>
              </p:cNvPr>
              <p:cNvSpPr/>
              <p:nvPr/>
            </p:nvSpPr>
            <p:spPr bwMode="auto">
              <a:xfrm>
                <a:off x="5613224" y="3374770"/>
                <a:ext cx="214274" cy="142849"/>
              </a:xfrm>
              <a:custGeom>
                <a:avLst/>
                <a:gdLst>
                  <a:gd name="T0" fmla="*/ 39 w 39"/>
                  <a:gd name="T1" fmla="*/ 0 h 26"/>
                  <a:gd name="T2" fmla="*/ 0 w 39"/>
                  <a:gd name="T3" fmla="*/ 22 h 26"/>
                  <a:gd name="T4" fmla="*/ 6 w 39"/>
                  <a:gd name="T5" fmla="*/ 26 h 26"/>
                  <a:gd name="T6" fmla="*/ 13 w 39"/>
                  <a:gd name="T7" fmla="*/ 16 h 26"/>
                  <a:gd name="T8" fmla="*/ 39 w 39"/>
                  <a:gd name="T9" fmla="*/ 0 h 26"/>
                  <a:gd name="T10" fmla="*/ 39 w 39"/>
                  <a:gd name="T11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6">
                    <a:moveTo>
                      <a:pt x="39" y="0"/>
                    </a:moveTo>
                    <a:cubicBezTo>
                      <a:pt x="0" y="22"/>
                      <a:pt x="0" y="22"/>
                      <a:pt x="0" y="22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7" y="21"/>
                      <a:pt x="9" y="18"/>
                      <a:pt x="13" y="16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0"/>
                      <a:pt x="39" y="0"/>
                      <a:pt x="39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4" name="任意多边形: 形状 233">
                <a:extLst>
                  <a:ext uri="{FF2B5EF4-FFF2-40B4-BE49-F238E27FC236}">
                    <a16:creationId xmlns:a16="http://schemas.microsoft.com/office/drawing/2014/main" id="{556689FC-31C9-4B93-8917-6183E52F2863}"/>
                  </a:ext>
                </a:extLst>
              </p:cNvPr>
              <p:cNvSpPr/>
              <p:nvPr/>
            </p:nvSpPr>
            <p:spPr bwMode="auto">
              <a:xfrm>
                <a:off x="5547089" y="3493810"/>
                <a:ext cx="193111" cy="253953"/>
              </a:xfrm>
              <a:custGeom>
                <a:avLst/>
                <a:gdLst>
                  <a:gd name="T0" fmla="*/ 12 w 35"/>
                  <a:gd name="T1" fmla="*/ 0 h 46"/>
                  <a:gd name="T2" fmla="*/ 2 w 35"/>
                  <a:gd name="T3" fmla="*/ 6 h 46"/>
                  <a:gd name="T4" fmla="*/ 2 w 35"/>
                  <a:gd name="T5" fmla="*/ 12 h 46"/>
                  <a:gd name="T6" fmla="*/ 1 w 35"/>
                  <a:gd name="T7" fmla="*/ 30 h 46"/>
                  <a:gd name="T8" fmla="*/ 0 w 35"/>
                  <a:gd name="T9" fmla="*/ 38 h 46"/>
                  <a:gd name="T10" fmla="*/ 20 w 35"/>
                  <a:gd name="T11" fmla="*/ 46 h 46"/>
                  <a:gd name="T12" fmla="*/ 25 w 35"/>
                  <a:gd name="T13" fmla="*/ 45 h 46"/>
                  <a:gd name="T14" fmla="*/ 35 w 35"/>
                  <a:gd name="T15" fmla="*/ 42 h 46"/>
                  <a:gd name="T16" fmla="*/ 35 w 35"/>
                  <a:gd name="T17" fmla="*/ 34 h 46"/>
                  <a:gd name="T18" fmla="*/ 29 w 35"/>
                  <a:gd name="T19" fmla="*/ 37 h 46"/>
                  <a:gd name="T20" fmla="*/ 27 w 35"/>
                  <a:gd name="T21" fmla="*/ 38 h 46"/>
                  <a:gd name="T22" fmla="*/ 24 w 35"/>
                  <a:gd name="T23" fmla="*/ 37 h 46"/>
                  <a:gd name="T24" fmla="*/ 21 w 35"/>
                  <a:gd name="T25" fmla="*/ 35 h 46"/>
                  <a:gd name="T26" fmla="*/ 21 w 35"/>
                  <a:gd name="T27" fmla="*/ 35 h 46"/>
                  <a:gd name="T28" fmla="*/ 18 w 35"/>
                  <a:gd name="T29" fmla="*/ 30 h 46"/>
                  <a:gd name="T30" fmla="*/ 18 w 35"/>
                  <a:gd name="T31" fmla="*/ 5 h 46"/>
                  <a:gd name="T32" fmla="*/ 18 w 35"/>
                  <a:gd name="T33" fmla="*/ 4 h 46"/>
                  <a:gd name="T34" fmla="*/ 12 w 35"/>
                  <a:gd name="T35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6">
                    <a:moveTo>
                      <a:pt x="12" y="0"/>
                    </a:moveTo>
                    <a:cubicBezTo>
                      <a:pt x="2" y="6"/>
                      <a:pt x="2" y="6"/>
                      <a:pt x="2" y="6"/>
                    </a:cubicBezTo>
                    <a:cubicBezTo>
                      <a:pt x="2" y="8"/>
                      <a:pt x="2" y="10"/>
                      <a:pt x="2" y="12"/>
                    </a:cubicBezTo>
                    <a:cubicBezTo>
                      <a:pt x="2" y="18"/>
                      <a:pt x="1" y="25"/>
                      <a:pt x="1" y="30"/>
                    </a:cubicBezTo>
                    <a:cubicBezTo>
                      <a:pt x="1" y="34"/>
                      <a:pt x="0" y="37"/>
                      <a:pt x="0" y="38"/>
                    </a:cubicBezTo>
                    <a:cubicBezTo>
                      <a:pt x="0" y="40"/>
                      <a:pt x="11" y="46"/>
                      <a:pt x="20" y="46"/>
                    </a:cubicBezTo>
                    <a:cubicBezTo>
                      <a:pt x="22" y="46"/>
                      <a:pt x="23" y="46"/>
                      <a:pt x="25" y="45"/>
                    </a:cubicBezTo>
                    <a:cubicBezTo>
                      <a:pt x="28" y="45"/>
                      <a:pt x="31" y="43"/>
                      <a:pt x="35" y="42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29" y="37"/>
                      <a:pt x="29" y="37"/>
                      <a:pt x="29" y="37"/>
                    </a:cubicBezTo>
                    <a:cubicBezTo>
                      <a:pt x="28" y="37"/>
                      <a:pt x="27" y="38"/>
                      <a:pt x="27" y="38"/>
                    </a:cubicBezTo>
                    <a:cubicBezTo>
                      <a:pt x="26" y="38"/>
                      <a:pt x="25" y="37"/>
                      <a:pt x="24" y="37"/>
                    </a:cubicBezTo>
                    <a:cubicBezTo>
                      <a:pt x="21" y="35"/>
                      <a:pt x="21" y="35"/>
                      <a:pt x="21" y="35"/>
                    </a:cubicBezTo>
                    <a:cubicBezTo>
                      <a:pt x="21" y="35"/>
                      <a:pt x="21" y="35"/>
                      <a:pt x="21" y="35"/>
                    </a:cubicBezTo>
                    <a:cubicBezTo>
                      <a:pt x="19" y="34"/>
                      <a:pt x="18" y="33"/>
                      <a:pt x="18" y="30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18" y="4"/>
                      <a:pt x="18" y="4"/>
                      <a:pt x="18" y="4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5" name="任意多边形: 形状 234">
                <a:extLst>
                  <a:ext uri="{FF2B5EF4-FFF2-40B4-BE49-F238E27FC236}">
                    <a16:creationId xmlns:a16="http://schemas.microsoft.com/office/drawing/2014/main" id="{1FC6ADA2-D1F4-4A1D-8FEF-870DE0B6C9C3}"/>
                  </a:ext>
                </a:extLst>
              </p:cNvPr>
              <p:cNvSpPr/>
              <p:nvPr/>
            </p:nvSpPr>
            <p:spPr bwMode="auto">
              <a:xfrm>
                <a:off x="5560317" y="3340380"/>
                <a:ext cx="267181" cy="187820"/>
              </a:xfrm>
              <a:custGeom>
                <a:avLst/>
                <a:gdLst>
                  <a:gd name="T0" fmla="*/ 49 w 49"/>
                  <a:gd name="T1" fmla="*/ 0 h 34"/>
                  <a:gd name="T2" fmla="*/ 0 w 49"/>
                  <a:gd name="T3" fmla="*/ 28 h 34"/>
                  <a:gd name="T4" fmla="*/ 0 w 49"/>
                  <a:gd name="T5" fmla="*/ 34 h 34"/>
                  <a:gd name="T6" fmla="*/ 10 w 49"/>
                  <a:gd name="T7" fmla="*/ 28 h 34"/>
                  <a:gd name="T8" fmla="*/ 49 w 49"/>
                  <a:gd name="T9" fmla="*/ 6 h 34"/>
                  <a:gd name="T10" fmla="*/ 49 w 49"/>
                  <a:gd name="T11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" h="34">
                    <a:moveTo>
                      <a:pt x="49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0" y="32"/>
                      <a:pt x="0" y="34"/>
                    </a:cubicBezTo>
                    <a:cubicBezTo>
                      <a:pt x="10" y="28"/>
                      <a:pt x="10" y="28"/>
                      <a:pt x="10" y="28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4"/>
                      <a:pt x="49" y="2"/>
                      <a:pt x="49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6" name="任意多边形: 形状 235">
                <a:extLst>
                  <a:ext uri="{FF2B5EF4-FFF2-40B4-BE49-F238E27FC236}">
                    <a16:creationId xmlns:a16="http://schemas.microsoft.com/office/drawing/2014/main" id="{39B9DFF2-407B-48BB-87A1-5F3C346D80F4}"/>
                  </a:ext>
                </a:extLst>
              </p:cNvPr>
              <p:cNvSpPr/>
              <p:nvPr/>
            </p:nvSpPr>
            <p:spPr bwMode="auto">
              <a:xfrm>
                <a:off x="5555026" y="3242503"/>
                <a:ext cx="272472" cy="251309"/>
              </a:xfrm>
              <a:custGeom>
                <a:avLst/>
                <a:gdLst>
                  <a:gd name="T0" fmla="*/ 36 w 50"/>
                  <a:gd name="T1" fmla="*/ 0 h 46"/>
                  <a:gd name="T2" fmla="*/ 30 w 50"/>
                  <a:gd name="T3" fmla="*/ 2 h 46"/>
                  <a:gd name="T4" fmla="*/ 31 w 50"/>
                  <a:gd name="T5" fmla="*/ 7 h 46"/>
                  <a:gd name="T6" fmla="*/ 36 w 50"/>
                  <a:gd name="T7" fmla="*/ 12 h 46"/>
                  <a:gd name="T8" fmla="*/ 32 w 50"/>
                  <a:gd name="T9" fmla="*/ 13 h 46"/>
                  <a:gd name="T10" fmla="*/ 24 w 50"/>
                  <a:gd name="T11" fmla="*/ 11 h 46"/>
                  <a:gd name="T12" fmla="*/ 21 w 50"/>
                  <a:gd name="T13" fmla="*/ 12 h 46"/>
                  <a:gd name="T14" fmla="*/ 12 w 50"/>
                  <a:gd name="T15" fmla="*/ 8 h 46"/>
                  <a:gd name="T16" fmla="*/ 1 w 50"/>
                  <a:gd name="T17" fmla="*/ 16 h 46"/>
                  <a:gd name="T18" fmla="*/ 0 w 50"/>
                  <a:gd name="T19" fmla="*/ 16 h 46"/>
                  <a:gd name="T20" fmla="*/ 0 w 50"/>
                  <a:gd name="T21" fmla="*/ 16 h 46"/>
                  <a:gd name="T22" fmla="*/ 6 w 50"/>
                  <a:gd name="T23" fmla="*/ 14 h 46"/>
                  <a:gd name="T24" fmla="*/ 14 w 50"/>
                  <a:gd name="T25" fmla="*/ 19 h 46"/>
                  <a:gd name="T26" fmla="*/ 10 w 50"/>
                  <a:gd name="T27" fmla="*/ 32 h 46"/>
                  <a:gd name="T28" fmla="*/ 0 w 50"/>
                  <a:gd name="T29" fmla="*/ 39 h 46"/>
                  <a:gd name="T30" fmla="*/ 0 w 50"/>
                  <a:gd name="T31" fmla="*/ 41 h 46"/>
                  <a:gd name="T32" fmla="*/ 1 w 50"/>
                  <a:gd name="T33" fmla="*/ 46 h 46"/>
                  <a:gd name="T34" fmla="*/ 50 w 50"/>
                  <a:gd name="T35" fmla="*/ 18 h 46"/>
                  <a:gd name="T36" fmla="*/ 50 w 50"/>
                  <a:gd name="T37" fmla="*/ 15 h 46"/>
                  <a:gd name="T38" fmla="*/ 36 w 50"/>
                  <a:gd name="T3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0" h="46">
                    <a:moveTo>
                      <a:pt x="36" y="0"/>
                    </a:moveTo>
                    <a:cubicBezTo>
                      <a:pt x="34" y="0"/>
                      <a:pt x="32" y="1"/>
                      <a:pt x="30" y="2"/>
                    </a:cubicBezTo>
                    <a:cubicBezTo>
                      <a:pt x="31" y="3"/>
                      <a:pt x="32" y="5"/>
                      <a:pt x="31" y="7"/>
                    </a:cubicBezTo>
                    <a:cubicBezTo>
                      <a:pt x="34" y="9"/>
                      <a:pt x="36" y="11"/>
                      <a:pt x="36" y="12"/>
                    </a:cubicBezTo>
                    <a:cubicBezTo>
                      <a:pt x="35" y="12"/>
                      <a:pt x="34" y="13"/>
                      <a:pt x="32" y="13"/>
                    </a:cubicBezTo>
                    <a:cubicBezTo>
                      <a:pt x="30" y="13"/>
                      <a:pt x="27" y="12"/>
                      <a:pt x="24" y="11"/>
                    </a:cubicBezTo>
                    <a:cubicBezTo>
                      <a:pt x="23" y="12"/>
                      <a:pt x="22" y="12"/>
                      <a:pt x="21" y="12"/>
                    </a:cubicBezTo>
                    <a:cubicBezTo>
                      <a:pt x="16" y="12"/>
                      <a:pt x="12" y="9"/>
                      <a:pt x="12" y="8"/>
                    </a:cubicBezTo>
                    <a:cubicBezTo>
                      <a:pt x="9" y="10"/>
                      <a:pt x="4" y="12"/>
                      <a:pt x="1" y="16"/>
                    </a:cubicBezTo>
                    <a:cubicBezTo>
                      <a:pt x="1" y="16"/>
                      <a:pt x="1" y="16"/>
                      <a:pt x="0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2" y="15"/>
                      <a:pt x="4" y="14"/>
                      <a:pt x="6" y="14"/>
                    </a:cubicBezTo>
                    <a:cubicBezTo>
                      <a:pt x="9" y="14"/>
                      <a:pt x="12" y="16"/>
                      <a:pt x="14" y="19"/>
                    </a:cubicBezTo>
                    <a:cubicBezTo>
                      <a:pt x="18" y="25"/>
                      <a:pt x="14" y="30"/>
                      <a:pt x="10" y="32"/>
                    </a:cubicBezTo>
                    <a:cubicBezTo>
                      <a:pt x="9" y="33"/>
                      <a:pt x="4" y="36"/>
                      <a:pt x="0" y="39"/>
                    </a:cubicBezTo>
                    <a:cubicBezTo>
                      <a:pt x="0" y="39"/>
                      <a:pt x="0" y="40"/>
                      <a:pt x="0" y="41"/>
                    </a:cubicBezTo>
                    <a:cubicBezTo>
                      <a:pt x="0" y="42"/>
                      <a:pt x="1" y="44"/>
                      <a:pt x="1" y="46"/>
                    </a:cubicBezTo>
                    <a:cubicBezTo>
                      <a:pt x="50" y="18"/>
                      <a:pt x="50" y="18"/>
                      <a:pt x="50" y="18"/>
                    </a:cubicBezTo>
                    <a:cubicBezTo>
                      <a:pt x="50" y="17"/>
                      <a:pt x="50" y="16"/>
                      <a:pt x="50" y="15"/>
                    </a:cubicBezTo>
                    <a:cubicBezTo>
                      <a:pt x="49" y="8"/>
                      <a:pt x="42" y="0"/>
                      <a:pt x="36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7" name="任意多边形: 形状 236">
                <a:extLst>
                  <a:ext uri="{FF2B5EF4-FFF2-40B4-BE49-F238E27FC236}">
                    <a16:creationId xmlns:a16="http://schemas.microsoft.com/office/drawing/2014/main" id="{8FBD387D-D355-43F4-957E-11CCE9472030}"/>
                  </a:ext>
                </a:extLst>
              </p:cNvPr>
              <p:cNvSpPr/>
              <p:nvPr/>
            </p:nvSpPr>
            <p:spPr bwMode="auto">
              <a:xfrm>
                <a:off x="5684647" y="3279538"/>
                <a:ext cx="66135" cy="34390"/>
              </a:xfrm>
              <a:custGeom>
                <a:avLst/>
                <a:gdLst>
                  <a:gd name="T0" fmla="*/ 7 w 12"/>
                  <a:gd name="T1" fmla="*/ 0 h 6"/>
                  <a:gd name="T2" fmla="*/ 4 w 12"/>
                  <a:gd name="T3" fmla="*/ 3 h 6"/>
                  <a:gd name="T4" fmla="*/ 0 w 12"/>
                  <a:gd name="T5" fmla="*/ 4 h 6"/>
                  <a:gd name="T6" fmla="*/ 8 w 12"/>
                  <a:gd name="T7" fmla="*/ 6 h 6"/>
                  <a:gd name="T8" fmla="*/ 12 w 12"/>
                  <a:gd name="T9" fmla="*/ 5 h 6"/>
                  <a:gd name="T10" fmla="*/ 7 w 12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7" y="0"/>
                    </a:moveTo>
                    <a:cubicBezTo>
                      <a:pt x="7" y="1"/>
                      <a:pt x="6" y="2"/>
                      <a:pt x="4" y="3"/>
                    </a:cubicBezTo>
                    <a:cubicBezTo>
                      <a:pt x="2" y="4"/>
                      <a:pt x="1" y="4"/>
                      <a:pt x="0" y="4"/>
                    </a:cubicBezTo>
                    <a:cubicBezTo>
                      <a:pt x="3" y="5"/>
                      <a:pt x="6" y="6"/>
                      <a:pt x="8" y="6"/>
                    </a:cubicBezTo>
                    <a:cubicBezTo>
                      <a:pt x="10" y="6"/>
                      <a:pt x="11" y="5"/>
                      <a:pt x="12" y="5"/>
                    </a:cubicBezTo>
                    <a:cubicBezTo>
                      <a:pt x="12" y="4"/>
                      <a:pt x="10" y="2"/>
                      <a:pt x="7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8" name="任意多边形: 形状 237">
                <a:extLst>
                  <a:ext uri="{FF2B5EF4-FFF2-40B4-BE49-F238E27FC236}">
                    <a16:creationId xmlns:a16="http://schemas.microsoft.com/office/drawing/2014/main" id="{16093B63-9412-4150-B495-97C792710C5D}"/>
                  </a:ext>
                </a:extLst>
              </p:cNvPr>
              <p:cNvSpPr/>
              <p:nvPr/>
            </p:nvSpPr>
            <p:spPr bwMode="auto">
              <a:xfrm>
                <a:off x="5764008" y="3644595"/>
                <a:ext cx="42326" cy="71425"/>
              </a:xfrm>
              <a:custGeom>
                <a:avLst/>
                <a:gdLst>
                  <a:gd name="T0" fmla="*/ 8 w 8"/>
                  <a:gd name="T1" fmla="*/ 0 h 13"/>
                  <a:gd name="T2" fmla="*/ 0 w 8"/>
                  <a:gd name="T3" fmla="*/ 5 h 13"/>
                  <a:gd name="T4" fmla="*/ 0 w 8"/>
                  <a:gd name="T5" fmla="*/ 13 h 13"/>
                  <a:gd name="T6" fmla="*/ 7 w 8"/>
                  <a:gd name="T7" fmla="*/ 7 h 13"/>
                  <a:gd name="T8" fmla="*/ 8 w 8"/>
                  <a:gd name="T9" fmla="*/ 5 h 13"/>
                  <a:gd name="T10" fmla="*/ 8 w 8"/>
                  <a:gd name="T1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3">
                    <a:moveTo>
                      <a:pt x="8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3" y="12"/>
                      <a:pt x="6" y="10"/>
                      <a:pt x="7" y="7"/>
                    </a:cubicBezTo>
                    <a:cubicBezTo>
                      <a:pt x="7" y="6"/>
                      <a:pt x="8" y="6"/>
                      <a:pt x="8" y="5"/>
                    </a:cubicBezTo>
                    <a:cubicBezTo>
                      <a:pt x="8" y="4"/>
                      <a:pt x="8" y="2"/>
                      <a:pt x="8" y="0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9" name="任意多边形: 形状 238">
                <a:extLst>
                  <a:ext uri="{FF2B5EF4-FFF2-40B4-BE49-F238E27FC236}">
                    <a16:creationId xmlns:a16="http://schemas.microsoft.com/office/drawing/2014/main" id="{79248CF4-58F1-42EE-9B0F-6972056AD1DF}"/>
                  </a:ext>
                </a:extLst>
              </p:cNvPr>
              <p:cNvSpPr/>
              <p:nvPr/>
            </p:nvSpPr>
            <p:spPr bwMode="auto">
              <a:xfrm>
                <a:off x="5332817" y="3406514"/>
                <a:ext cx="156076" cy="92588"/>
              </a:xfrm>
              <a:custGeom>
                <a:avLst/>
                <a:gdLst>
                  <a:gd name="T0" fmla="*/ 24 w 28"/>
                  <a:gd name="T1" fmla="*/ 0 h 17"/>
                  <a:gd name="T2" fmla="*/ 15 w 28"/>
                  <a:gd name="T3" fmla="*/ 3 h 17"/>
                  <a:gd name="T4" fmla="*/ 15 w 28"/>
                  <a:gd name="T5" fmla="*/ 3 h 17"/>
                  <a:gd name="T6" fmla="*/ 11 w 28"/>
                  <a:gd name="T7" fmla="*/ 2 h 17"/>
                  <a:gd name="T8" fmla="*/ 0 w 28"/>
                  <a:gd name="T9" fmla="*/ 8 h 17"/>
                  <a:gd name="T10" fmla="*/ 14 w 28"/>
                  <a:gd name="T11" fmla="*/ 17 h 17"/>
                  <a:gd name="T12" fmla="*/ 15 w 28"/>
                  <a:gd name="T13" fmla="*/ 17 h 17"/>
                  <a:gd name="T14" fmla="*/ 28 w 28"/>
                  <a:gd name="T15" fmla="*/ 11 h 17"/>
                  <a:gd name="T16" fmla="*/ 24 w 28"/>
                  <a:gd name="T1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7">
                    <a:moveTo>
                      <a:pt x="24" y="0"/>
                    </a:moveTo>
                    <a:cubicBezTo>
                      <a:pt x="20" y="2"/>
                      <a:pt x="17" y="3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4" y="3"/>
                      <a:pt x="12" y="3"/>
                      <a:pt x="11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12"/>
                      <a:pt x="12" y="16"/>
                      <a:pt x="14" y="17"/>
                    </a:cubicBezTo>
                    <a:cubicBezTo>
                      <a:pt x="14" y="17"/>
                      <a:pt x="15" y="17"/>
                      <a:pt x="15" y="17"/>
                    </a:cubicBezTo>
                    <a:cubicBezTo>
                      <a:pt x="17" y="17"/>
                      <a:pt x="23" y="14"/>
                      <a:pt x="28" y="11"/>
                    </a:cubicBezTo>
                    <a:cubicBezTo>
                      <a:pt x="24" y="9"/>
                      <a:pt x="24" y="3"/>
                      <a:pt x="24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0" name="任意多边形: 形状 239">
                <a:extLst>
                  <a:ext uri="{FF2B5EF4-FFF2-40B4-BE49-F238E27FC236}">
                    <a16:creationId xmlns:a16="http://schemas.microsoft.com/office/drawing/2014/main" id="{07B14A7D-8516-463B-95A5-C2A7038976D3}"/>
                  </a:ext>
                </a:extLst>
              </p:cNvPr>
              <p:cNvSpPr/>
              <p:nvPr/>
            </p:nvSpPr>
            <p:spPr bwMode="auto">
              <a:xfrm>
                <a:off x="5327526" y="3417096"/>
                <a:ext cx="66135" cy="34390"/>
              </a:xfrm>
              <a:custGeom>
                <a:avLst/>
                <a:gdLst>
                  <a:gd name="T0" fmla="*/ 10 w 12"/>
                  <a:gd name="T1" fmla="*/ 0 h 6"/>
                  <a:gd name="T2" fmla="*/ 0 w 12"/>
                  <a:gd name="T3" fmla="*/ 5 h 6"/>
                  <a:gd name="T4" fmla="*/ 1 w 12"/>
                  <a:gd name="T5" fmla="*/ 6 h 6"/>
                  <a:gd name="T6" fmla="*/ 12 w 12"/>
                  <a:gd name="T7" fmla="*/ 0 h 6"/>
                  <a:gd name="T8" fmla="*/ 10 w 12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1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11" y="0"/>
                      <a:pt x="1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1" name="任意多边形: 形状 240">
                <a:extLst>
                  <a:ext uri="{FF2B5EF4-FFF2-40B4-BE49-F238E27FC236}">
                    <a16:creationId xmlns:a16="http://schemas.microsoft.com/office/drawing/2014/main" id="{7F9B9A27-99F8-4449-9CB9-741155A14A6D}"/>
                  </a:ext>
                </a:extLst>
              </p:cNvPr>
              <p:cNvSpPr/>
              <p:nvPr/>
            </p:nvSpPr>
            <p:spPr bwMode="auto">
              <a:xfrm>
                <a:off x="5327526" y="3411805"/>
                <a:ext cx="55553" cy="34390"/>
              </a:xfrm>
              <a:custGeom>
                <a:avLst/>
                <a:gdLst>
                  <a:gd name="T0" fmla="*/ 9 w 10"/>
                  <a:gd name="T1" fmla="*/ 0 h 6"/>
                  <a:gd name="T2" fmla="*/ 0 w 10"/>
                  <a:gd name="T3" fmla="*/ 6 h 6"/>
                  <a:gd name="T4" fmla="*/ 0 w 10"/>
                  <a:gd name="T5" fmla="*/ 6 h 6"/>
                  <a:gd name="T6" fmla="*/ 10 w 10"/>
                  <a:gd name="T7" fmla="*/ 1 h 6"/>
                  <a:gd name="T8" fmla="*/ 9 w 10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6">
                    <a:moveTo>
                      <a:pt x="9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0"/>
                      <a:pt x="9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2" name="任意多边形: 形状 241">
                <a:extLst>
                  <a:ext uri="{FF2B5EF4-FFF2-40B4-BE49-F238E27FC236}">
                    <a16:creationId xmlns:a16="http://schemas.microsoft.com/office/drawing/2014/main" id="{8667CA03-625D-4E22-873A-F67FD0B635DC}"/>
                  </a:ext>
                </a:extLst>
              </p:cNvPr>
              <p:cNvSpPr/>
              <p:nvPr/>
            </p:nvSpPr>
            <p:spPr bwMode="auto">
              <a:xfrm>
                <a:off x="5311654" y="3401223"/>
                <a:ext cx="66135" cy="44972"/>
              </a:xfrm>
              <a:custGeom>
                <a:avLst/>
                <a:gdLst>
                  <a:gd name="T0" fmla="*/ 7 w 12"/>
                  <a:gd name="T1" fmla="*/ 0 h 8"/>
                  <a:gd name="T2" fmla="*/ 0 w 12"/>
                  <a:gd name="T3" fmla="*/ 6 h 8"/>
                  <a:gd name="T4" fmla="*/ 3 w 12"/>
                  <a:gd name="T5" fmla="*/ 8 h 8"/>
                  <a:gd name="T6" fmla="*/ 12 w 12"/>
                  <a:gd name="T7" fmla="*/ 2 h 8"/>
                  <a:gd name="T8" fmla="*/ 7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7" y="0"/>
                    </a:moveTo>
                    <a:cubicBezTo>
                      <a:pt x="5" y="2"/>
                      <a:pt x="3" y="4"/>
                      <a:pt x="0" y="6"/>
                    </a:cubicBezTo>
                    <a:cubicBezTo>
                      <a:pt x="1" y="7"/>
                      <a:pt x="2" y="7"/>
                      <a:pt x="3" y="8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1"/>
                      <a:pt x="9" y="1"/>
                      <a:pt x="7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3" name="任意多边形: 形状 242">
                <a:extLst>
                  <a:ext uri="{FF2B5EF4-FFF2-40B4-BE49-F238E27FC236}">
                    <a16:creationId xmlns:a16="http://schemas.microsoft.com/office/drawing/2014/main" id="{6287FD99-478A-44C5-B650-272DC8BCBB30}"/>
                  </a:ext>
                </a:extLst>
              </p:cNvPr>
              <p:cNvSpPr/>
              <p:nvPr/>
            </p:nvSpPr>
            <p:spPr bwMode="auto">
              <a:xfrm>
                <a:off x="5195259" y="3313926"/>
                <a:ext cx="156076" cy="121686"/>
              </a:xfrm>
              <a:custGeom>
                <a:avLst/>
                <a:gdLst>
                  <a:gd name="T0" fmla="*/ 5 w 28"/>
                  <a:gd name="T1" fmla="*/ 0 h 22"/>
                  <a:gd name="T2" fmla="*/ 0 w 28"/>
                  <a:gd name="T3" fmla="*/ 9 h 22"/>
                  <a:gd name="T4" fmla="*/ 5 w 28"/>
                  <a:gd name="T5" fmla="*/ 14 h 22"/>
                  <a:gd name="T6" fmla="*/ 12 w 28"/>
                  <a:gd name="T7" fmla="*/ 16 h 22"/>
                  <a:gd name="T8" fmla="*/ 17 w 28"/>
                  <a:gd name="T9" fmla="*/ 18 h 22"/>
                  <a:gd name="T10" fmla="*/ 21 w 28"/>
                  <a:gd name="T11" fmla="*/ 22 h 22"/>
                  <a:gd name="T12" fmla="*/ 28 w 28"/>
                  <a:gd name="T13" fmla="*/ 16 h 22"/>
                  <a:gd name="T14" fmla="*/ 19 w 28"/>
                  <a:gd name="T15" fmla="*/ 11 h 22"/>
                  <a:gd name="T16" fmla="*/ 15 w 28"/>
                  <a:gd name="T17" fmla="*/ 7 h 22"/>
                  <a:gd name="T18" fmla="*/ 13 w 28"/>
                  <a:gd name="T19" fmla="*/ 2 h 22"/>
                  <a:gd name="T20" fmla="*/ 12 w 28"/>
                  <a:gd name="T21" fmla="*/ 2 h 22"/>
                  <a:gd name="T22" fmla="*/ 11 w 28"/>
                  <a:gd name="T23" fmla="*/ 3 h 22"/>
                  <a:gd name="T24" fmla="*/ 6 w 28"/>
                  <a:gd name="T25" fmla="*/ 0 h 22"/>
                  <a:gd name="T26" fmla="*/ 5 w 28"/>
                  <a:gd name="T2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22">
                    <a:moveTo>
                      <a:pt x="5" y="0"/>
                    </a:moveTo>
                    <a:cubicBezTo>
                      <a:pt x="2" y="0"/>
                      <a:pt x="0" y="7"/>
                      <a:pt x="0" y="9"/>
                    </a:cubicBezTo>
                    <a:cubicBezTo>
                      <a:pt x="0" y="10"/>
                      <a:pt x="4" y="12"/>
                      <a:pt x="5" y="14"/>
                    </a:cubicBezTo>
                    <a:cubicBezTo>
                      <a:pt x="7" y="16"/>
                      <a:pt x="11" y="15"/>
                      <a:pt x="12" y="16"/>
                    </a:cubicBezTo>
                    <a:cubicBezTo>
                      <a:pt x="13" y="16"/>
                      <a:pt x="17" y="18"/>
                      <a:pt x="17" y="18"/>
                    </a:cubicBezTo>
                    <a:cubicBezTo>
                      <a:pt x="17" y="18"/>
                      <a:pt x="19" y="20"/>
                      <a:pt x="21" y="22"/>
                    </a:cubicBezTo>
                    <a:cubicBezTo>
                      <a:pt x="24" y="20"/>
                      <a:pt x="26" y="18"/>
                      <a:pt x="28" y="16"/>
                    </a:cubicBezTo>
                    <a:cubicBezTo>
                      <a:pt x="23" y="13"/>
                      <a:pt x="19" y="11"/>
                      <a:pt x="19" y="11"/>
                    </a:cubicBezTo>
                    <a:cubicBezTo>
                      <a:pt x="19" y="11"/>
                      <a:pt x="17" y="10"/>
                      <a:pt x="15" y="7"/>
                    </a:cubicBezTo>
                    <a:cubicBezTo>
                      <a:pt x="14" y="5"/>
                      <a:pt x="14" y="4"/>
                      <a:pt x="13" y="2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1" y="2"/>
                      <a:pt x="11" y="2"/>
                      <a:pt x="11" y="3"/>
                    </a:cubicBezTo>
                    <a:cubicBezTo>
                      <a:pt x="10" y="2"/>
                      <a:pt x="9" y="1"/>
                      <a:pt x="6" y="0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4" name="任意多边形: 形状 243">
                <a:extLst>
                  <a:ext uri="{FF2B5EF4-FFF2-40B4-BE49-F238E27FC236}">
                    <a16:creationId xmlns:a16="http://schemas.microsoft.com/office/drawing/2014/main" id="{DB499E29-83D0-404A-AF49-711EC15E9CDD}"/>
                  </a:ext>
                </a:extLst>
              </p:cNvPr>
              <p:cNvSpPr/>
              <p:nvPr/>
            </p:nvSpPr>
            <p:spPr bwMode="auto">
              <a:xfrm>
                <a:off x="5621159" y="3253084"/>
                <a:ext cx="108460" cy="55553"/>
              </a:xfrm>
              <a:custGeom>
                <a:avLst/>
                <a:gdLst>
                  <a:gd name="T0" fmla="*/ 1 w 20"/>
                  <a:gd name="T1" fmla="*/ 5 h 10"/>
                  <a:gd name="T2" fmla="*/ 0 w 20"/>
                  <a:gd name="T3" fmla="*/ 6 h 10"/>
                  <a:gd name="T4" fmla="*/ 0 w 20"/>
                  <a:gd name="T5" fmla="*/ 6 h 10"/>
                  <a:gd name="T6" fmla="*/ 9 w 20"/>
                  <a:gd name="T7" fmla="*/ 10 h 10"/>
                  <a:gd name="T8" fmla="*/ 12 w 20"/>
                  <a:gd name="T9" fmla="*/ 9 h 10"/>
                  <a:gd name="T10" fmla="*/ 3 w 20"/>
                  <a:gd name="T11" fmla="*/ 5 h 10"/>
                  <a:gd name="T12" fmla="*/ 1 w 20"/>
                  <a:gd name="T13" fmla="*/ 5 h 10"/>
                  <a:gd name="T14" fmla="*/ 1 w 20"/>
                  <a:gd name="T15" fmla="*/ 5 h 10"/>
                  <a:gd name="T16" fmla="*/ 18 w 20"/>
                  <a:gd name="T17" fmla="*/ 0 h 10"/>
                  <a:gd name="T18" fmla="*/ 16 w 20"/>
                  <a:gd name="T19" fmla="*/ 3 h 10"/>
                  <a:gd name="T20" fmla="*/ 19 w 20"/>
                  <a:gd name="T21" fmla="*/ 5 h 10"/>
                  <a:gd name="T22" fmla="*/ 18 w 20"/>
                  <a:gd name="T23" fmla="*/ 0 h 10"/>
                  <a:gd name="T24" fmla="*/ 18 w 20"/>
                  <a:gd name="T25" fmla="*/ 0 h 10"/>
                  <a:gd name="T26" fmla="*/ 18 w 20"/>
                  <a:gd name="T2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10">
                    <a:moveTo>
                      <a:pt x="1" y="5"/>
                    </a:moveTo>
                    <a:cubicBezTo>
                      <a:pt x="1" y="5"/>
                      <a:pt x="0" y="5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4" y="10"/>
                      <a:pt x="9" y="10"/>
                    </a:cubicBezTo>
                    <a:cubicBezTo>
                      <a:pt x="10" y="10"/>
                      <a:pt x="11" y="10"/>
                      <a:pt x="12" y="9"/>
                    </a:cubicBezTo>
                    <a:cubicBezTo>
                      <a:pt x="9" y="8"/>
                      <a:pt x="5" y="7"/>
                      <a:pt x="3" y="5"/>
                    </a:cubicBezTo>
                    <a:cubicBezTo>
                      <a:pt x="2" y="5"/>
                      <a:pt x="2" y="5"/>
                      <a:pt x="1" y="5"/>
                    </a:cubicBezTo>
                    <a:cubicBezTo>
                      <a:pt x="1" y="5"/>
                      <a:pt x="1" y="5"/>
                      <a:pt x="1" y="5"/>
                    </a:cubicBezTo>
                    <a:moveTo>
                      <a:pt x="18" y="0"/>
                    </a:moveTo>
                    <a:cubicBezTo>
                      <a:pt x="18" y="0"/>
                      <a:pt x="18" y="1"/>
                      <a:pt x="16" y="3"/>
                    </a:cubicBezTo>
                    <a:cubicBezTo>
                      <a:pt x="17" y="3"/>
                      <a:pt x="18" y="4"/>
                      <a:pt x="19" y="5"/>
                    </a:cubicBezTo>
                    <a:cubicBezTo>
                      <a:pt x="20" y="3"/>
                      <a:pt x="19" y="1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5" name="任意多边形: 形状 244">
                <a:extLst>
                  <a:ext uri="{FF2B5EF4-FFF2-40B4-BE49-F238E27FC236}">
                    <a16:creationId xmlns:a16="http://schemas.microsoft.com/office/drawing/2014/main" id="{29A9F2DB-A5A2-4875-ACF6-F0794CD0FF07}"/>
                  </a:ext>
                </a:extLst>
              </p:cNvPr>
              <p:cNvSpPr/>
              <p:nvPr/>
            </p:nvSpPr>
            <p:spPr bwMode="auto">
              <a:xfrm>
                <a:off x="5637031" y="3268956"/>
                <a:ext cx="87297" cy="34390"/>
              </a:xfrm>
              <a:custGeom>
                <a:avLst/>
                <a:gdLst>
                  <a:gd name="T0" fmla="*/ 13 w 16"/>
                  <a:gd name="T1" fmla="*/ 0 h 6"/>
                  <a:gd name="T2" fmla="*/ 11 w 16"/>
                  <a:gd name="T3" fmla="*/ 1 h 6"/>
                  <a:gd name="T4" fmla="*/ 3 w 16"/>
                  <a:gd name="T5" fmla="*/ 2 h 6"/>
                  <a:gd name="T6" fmla="*/ 0 w 16"/>
                  <a:gd name="T7" fmla="*/ 2 h 6"/>
                  <a:gd name="T8" fmla="*/ 9 w 16"/>
                  <a:gd name="T9" fmla="*/ 6 h 6"/>
                  <a:gd name="T10" fmla="*/ 13 w 16"/>
                  <a:gd name="T11" fmla="*/ 5 h 6"/>
                  <a:gd name="T12" fmla="*/ 16 w 16"/>
                  <a:gd name="T13" fmla="*/ 2 h 6"/>
                  <a:gd name="T14" fmla="*/ 13 w 1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6">
                    <a:moveTo>
                      <a:pt x="13" y="0"/>
                    </a:moveTo>
                    <a:cubicBezTo>
                      <a:pt x="13" y="0"/>
                      <a:pt x="12" y="1"/>
                      <a:pt x="11" y="1"/>
                    </a:cubicBezTo>
                    <a:cubicBezTo>
                      <a:pt x="8" y="2"/>
                      <a:pt x="6" y="2"/>
                      <a:pt x="3" y="2"/>
                    </a:cubicBezTo>
                    <a:cubicBezTo>
                      <a:pt x="2" y="2"/>
                      <a:pt x="1" y="2"/>
                      <a:pt x="0" y="2"/>
                    </a:cubicBezTo>
                    <a:cubicBezTo>
                      <a:pt x="2" y="4"/>
                      <a:pt x="6" y="5"/>
                      <a:pt x="9" y="6"/>
                    </a:cubicBezTo>
                    <a:cubicBezTo>
                      <a:pt x="10" y="6"/>
                      <a:pt x="11" y="6"/>
                      <a:pt x="13" y="5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5" y="1"/>
                      <a:pt x="14" y="0"/>
                      <a:pt x="13" y="0"/>
                    </a:cubicBezTo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6" name="任意多边形: 形状 245">
                <a:extLst>
                  <a:ext uri="{FF2B5EF4-FFF2-40B4-BE49-F238E27FC236}">
                    <a16:creationId xmlns:a16="http://schemas.microsoft.com/office/drawing/2014/main" id="{0558DB41-31EF-4C62-A976-F8FE0924609A}"/>
                  </a:ext>
                </a:extLst>
              </p:cNvPr>
              <p:cNvSpPr/>
              <p:nvPr/>
            </p:nvSpPr>
            <p:spPr bwMode="auto">
              <a:xfrm>
                <a:off x="5547089" y="2988549"/>
                <a:ext cx="216918" cy="116395"/>
              </a:xfrm>
              <a:custGeom>
                <a:avLst/>
                <a:gdLst>
                  <a:gd name="T0" fmla="*/ 7 w 39"/>
                  <a:gd name="T1" fmla="*/ 0 h 21"/>
                  <a:gd name="T2" fmla="*/ 0 w 39"/>
                  <a:gd name="T3" fmla="*/ 2 h 21"/>
                  <a:gd name="T4" fmla="*/ 11 w 39"/>
                  <a:gd name="T5" fmla="*/ 5 h 21"/>
                  <a:gd name="T6" fmla="*/ 38 w 39"/>
                  <a:gd name="T7" fmla="*/ 21 h 21"/>
                  <a:gd name="T8" fmla="*/ 31 w 39"/>
                  <a:gd name="T9" fmla="*/ 5 h 21"/>
                  <a:gd name="T10" fmla="*/ 14 w 39"/>
                  <a:gd name="T11" fmla="*/ 0 h 21"/>
                  <a:gd name="T12" fmla="*/ 13 w 39"/>
                  <a:gd name="T13" fmla="*/ 0 h 21"/>
                  <a:gd name="T14" fmla="*/ 11 w 39"/>
                  <a:gd name="T15" fmla="*/ 0 h 21"/>
                  <a:gd name="T16" fmla="*/ 7 w 39"/>
                  <a:gd name="T17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9" h="21">
                    <a:moveTo>
                      <a:pt x="7" y="0"/>
                    </a:moveTo>
                    <a:cubicBezTo>
                      <a:pt x="7" y="0"/>
                      <a:pt x="3" y="0"/>
                      <a:pt x="0" y="2"/>
                    </a:cubicBezTo>
                    <a:cubicBezTo>
                      <a:pt x="4" y="2"/>
                      <a:pt x="8" y="3"/>
                      <a:pt x="11" y="5"/>
                    </a:cubicBezTo>
                    <a:cubicBezTo>
                      <a:pt x="38" y="21"/>
                      <a:pt x="38" y="21"/>
                      <a:pt x="38" y="21"/>
                    </a:cubicBezTo>
                    <a:cubicBezTo>
                      <a:pt x="39" y="15"/>
                      <a:pt x="38" y="9"/>
                      <a:pt x="31" y="5"/>
                    </a:cubicBezTo>
                    <a:cubicBezTo>
                      <a:pt x="22" y="1"/>
                      <a:pt x="18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1" y="0"/>
                    </a:cubicBezTo>
                    <a:cubicBezTo>
                      <a:pt x="10" y="0"/>
                      <a:pt x="8" y="0"/>
                      <a:pt x="7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7" name="任意多边形: 形状 246">
                <a:extLst>
                  <a:ext uri="{FF2B5EF4-FFF2-40B4-BE49-F238E27FC236}">
                    <a16:creationId xmlns:a16="http://schemas.microsoft.com/office/drawing/2014/main" id="{844DB447-E685-4D9C-B2D0-1E8AD03BC28C}"/>
                  </a:ext>
                </a:extLst>
              </p:cNvPr>
              <p:cNvSpPr/>
              <p:nvPr/>
            </p:nvSpPr>
            <p:spPr bwMode="auto">
              <a:xfrm>
                <a:off x="5515345" y="2999131"/>
                <a:ext cx="240727" cy="243372"/>
              </a:xfrm>
              <a:custGeom>
                <a:avLst/>
                <a:gdLst>
                  <a:gd name="T0" fmla="*/ 6 w 44"/>
                  <a:gd name="T1" fmla="*/ 0 h 44"/>
                  <a:gd name="T2" fmla="*/ 5 w 44"/>
                  <a:gd name="T3" fmla="*/ 11 h 44"/>
                  <a:gd name="T4" fmla="*/ 10 w 44"/>
                  <a:gd name="T5" fmla="*/ 15 h 44"/>
                  <a:gd name="T6" fmla="*/ 11 w 44"/>
                  <a:gd name="T7" fmla="*/ 27 h 44"/>
                  <a:gd name="T8" fmla="*/ 12 w 44"/>
                  <a:gd name="T9" fmla="*/ 23 h 44"/>
                  <a:gd name="T10" fmla="*/ 15 w 44"/>
                  <a:gd name="T11" fmla="*/ 22 h 44"/>
                  <a:gd name="T12" fmla="*/ 17 w 44"/>
                  <a:gd name="T13" fmla="*/ 28 h 44"/>
                  <a:gd name="T14" fmla="*/ 14 w 44"/>
                  <a:gd name="T15" fmla="*/ 31 h 44"/>
                  <a:gd name="T16" fmla="*/ 21 w 44"/>
                  <a:gd name="T17" fmla="*/ 39 h 44"/>
                  <a:gd name="T18" fmla="*/ 29 w 44"/>
                  <a:gd name="T19" fmla="*/ 44 h 44"/>
                  <a:gd name="T20" fmla="*/ 36 w 44"/>
                  <a:gd name="T21" fmla="*/ 41 h 44"/>
                  <a:gd name="T22" fmla="*/ 36 w 44"/>
                  <a:gd name="T23" fmla="*/ 41 h 44"/>
                  <a:gd name="T24" fmla="*/ 42 w 44"/>
                  <a:gd name="T25" fmla="*/ 28 h 44"/>
                  <a:gd name="T26" fmla="*/ 44 w 44"/>
                  <a:gd name="T27" fmla="*/ 19 h 44"/>
                  <a:gd name="T28" fmla="*/ 17 w 44"/>
                  <a:gd name="T29" fmla="*/ 3 h 44"/>
                  <a:gd name="T30" fmla="*/ 6 w 44"/>
                  <a:gd name="T31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4" h="44">
                    <a:moveTo>
                      <a:pt x="6" y="0"/>
                    </a:moveTo>
                    <a:cubicBezTo>
                      <a:pt x="2" y="2"/>
                      <a:pt x="0" y="5"/>
                      <a:pt x="5" y="11"/>
                    </a:cubicBezTo>
                    <a:cubicBezTo>
                      <a:pt x="6" y="12"/>
                      <a:pt x="8" y="13"/>
                      <a:pt x="10" y="15"/>
                    </a:cubicBezTo>
                    <a:cubicBezTo>
                      <a:pt x="10" y="15"/>
                      <a:pt x="6" y="23"/>
                      <a:pt x="11" y="27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3" y="23"/>
                      <a:pt x="14" y="22"/>
                      <a:pt x="15" y="22"/>
                    </a:cubicBezTo>
                    <a:cubicBezTo>
                      <a:pt x="17" y="22"/>
                      <a:pt x="18" y="25"/>
                      <a:pt x="17" y="28"/>
                    </a:cubicBezTo>
                    <a:cubicBezTo>
                      <a:pt x="16" y="29"/>
                      <a:pt x="15" y="31"/>
                      <a:pt x="14" y="31"/>
                    </a:cubicBezTo>
                    <a:cubicBezTo>
                      <a:pt x="16" y="33"/>
                      <a:pt x="19" y="36"/>
                      <a:pt x="21" y="39"/>
                    </a:cubicBezTo>
                    <a:cubicBezTo>
                      <a:pt x="23" y="40"/>
                      <a:pt x="26" y="42"/>
                      <a:pt x="29" y="44"/>
                    </a:cubicBezTo>
                    <a:cubicBezTo>
                      <a:pt x="32" y="44"/>
                      <a:pt x="35" y="43"/>
                      <a:pt x="36" y="41"/>
                    </a:cubicBezTo>
                    <a:cubicBezTo>
                      <a:pt x="36" y="41"/>
                      <a:pt x="36" y="41"/>
                      <a:pt x="36" y="41"/>
                    </a:cubicBezTo>
                    <a:cubicBezTo>
                      <a:pt x="38" y="38"/>
                      <a:pt x="38" y="35"/>
                      <a:pt x="42" y="28"/>
                    </a:cubicBezTo>
                    <a:cubicBezTo>
                      <a:pt x="43" y="25"/>
                      <a:pt x="44" y="22"/>
                      <a:pt x="44" y="19"/>
                    </a:cubicBezTo>
                    <a:cubicBezTo>
                      <a:pt x="17" y="3"/>
                      <a:pt x="17" y="3"/>
                      <a:pt x="17" y="3"/>
                    </a:cubicBezTo>
                    <a:cubicBezTo>
                      <a:pt x="14" y="1"/>
                      <a:pt x="10" y="0"/>
                      <a:pt x="6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8" name="任意多边形: 形状 247">
                <a:extLst>
                  <a:ext uri="{FF2B5EF4-FFF2-40B4-BE49-F238E27FC236}">
                    <a16:creationId xmlns:a16="http://schemas.microsoft.com/office/drawing/2014/main" id="{39679A77-2D02-42AB-A994-51602809356A}"/>
                  </a:ext>
                </a:extLst>
              </p:cNvPr>
              <p:cNvSpPr/>
              <p:nvPr/>
            </p:nvSpPr>
            <p:spPr bwMode="auto">
              <a:xfrm>
                <a:off x="5631740" y="3213403"/>
                <a:ext cx="42326" cy="29100"/>
              </a:xfrm>
              <a:custGeom>
                <a:avLst/>
                <a:gdLst>
                  <a:gd name="T0" fmla="*/ 0 w 8"/>
                  <a:gd name="T1" fmla="*/ 0 h 5"/>
                  <a:gd name="T2" fmla="*/ 1 w 8"/>
                  <a:gd name="T3" fmla="*/ 2 h 5"/>
                  <a:gd name="T4" fmla="*/ 1 w 8"/>
                  <a:gd name="T5" fmla="*/ 2 h 5"/>
                  <a:gd name="T6" fmla="*/ 7 w 8"/>
                  <a:gd name="T7" fmla="*/ 5 h 5"/>
                  <a:gd name="T8" fmla="*/ 8 w 8"/>
                  <a:gd name="T9" fmla="*/ 5 h 5"/>
                  <a:gd name="T10" fmla="*/ 0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0" y="0"/>
                    </a:moveTo>
                    <a:cubicBezTo>
                      <a:pt x="0" y="1"/>
                      <a:pt x="0" y="1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4"/>
                      <a:pt x="4" y="5"/>
                      <a:pt x="7" y="5"/>
                    </a:cubicBezTo>
                    <a:cubicBezTo>
                      <a:pt x="7" y="5"/>
                      <a:pt x="7" y="5"/>
                      <a:pt x="8" y="5"/>
                    </a:cubicBezTo>
                    <a:cubicBezTo>
                      <a:pt x="5" y="3"/>
                      <a:pt x="2" y="1"/>
                      <a:pt x="0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9" name="任意多边形: 形状 248">
                <a:extLst>
                  <a:ext uri="{FF2B5EF4-FFF2-40B4-BE49-F238E27FC236}">
                    <a16:creationId xmlns:a16="http://schemas.microsoft.com/office/drawing/2014/main" id="{20AC21BA-B749-491B-BE85-96B1F542A631}"/>
                  </a:ext>
                </a:extLst>
              </p:cNvPr>
              <p:cNvSpPr/>
              <p:nvPr/>
            </p:nvSpPr>
            <p:spPr bwMode="auto">
              <a:xfrm>
                <a:off x="5570898" y="3120817"/>
                <a:ext cx="42326" cy="60844"/>
              </a:xfrm>
              <a:custGeom>
                <a:avLst/>
                <a:gdLst>
                  <a:gd name="T0" fmla="*/ 5 w 8"/>
                  <a:gd name="T1" fmla="*/ 0 h 11"/>
                  <a:gd name="T2" fmla="*/ 2 w 8"/>
                  <a:gd name="T3" fmla="*/ 1 h 11"/>
                  <a:gd name="T4" fmla="*/ 1 w 8"/>
                  <a:gd name="T5" fmla="*/ 5 h 11"/>
                  <a:gd name="T6" fmla="*/ 0 w 8"/>
                  <a:gd name="T7" fmla="*/ 9 h 11"/>
                  <a:gd name="T8" fmla="*/ 2 w 8"/>
                  <a:gd name="T9" fmla="*/ 11 h 11"/>
                  <a:gd name="T10" fmla="*/ 4 w 8"/>
                  <a:gd name="T11" fmla="*/ 9 h 11"/>
                  <a:gd name="T12" fmla="*/ 7 w 8"/>
                  <a:gd name="T13" fmla="*/ 6 h 11"/>
                  <a:gd name="T14" fmla="*/ 5 w 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cubicBezTo>
                      <a:pt x="4" y="0"/>
                      <a:pt x="3" y="1"/>
                      <a:pt x="2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11"/>
                      <a:pt x="2" y="11"/>
                    </a:cubicBezTo>
                    <a:cubicBezTo>
                      <a:pt x="3" y="11"/>
                      <a:pt x="4" y="11"/>
                      <a:pt x="4" y="9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3"/>
                      <a:pt x="7" y="0"/>
                      <a:pt x="5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0" name="任意多边形: 形状 249">
                <a:extLst>
                  <a:ext uri="{FF2B5EF4-FFF2-40B4-BE49-F238E27FC236}">
                    <a16:creationId xmlns:a16="http://schemas.microsoft.com/office/drawing/2014/main" id="{22F20203-C2C1-4E87-B24A-1EF76A37F0FE}"/>
                  </a:ext>
                </a:extLst>
              </p:cNvPr>
              <p:cNvSpPr/>
              <p:nvPr/>
            </p:nvSpPr>
            <p:spPr bwMode="auto">
              <a:xfrm>
                <a:off x="5311654" y="3911774"/>
                <a:ext cx="87297" cy="66134"/>
              </a:xfrm>
              <a:custGeom>
                <a:avLst/>
                <a:gdLst>
                  <a:gd name="T0" fmla="*/ 0 w 16"/>
                  <a:gd name="T1" fmla="*/ 0 h 12"/>
                  <a:gd name="T2" fmla="*/ 0 w 16"/>
                  <a:gd name="T3" fmla="*/ 0 h 12"/>
                  <a:gd name="T4" fmla="*/ 0 w 16"/>
                  <a:gd name="T5" fmla="*/ 6 h 12"/>
                  <a:gd name="T6" fmla="*/ 3 w 16"/>
                  <a:gd name="T7" fmla="*/ 10 h 12"/>
                  <a:gd name="T8" fmla="*/ 10 w 16"/>
                  <a:gd name="T9" fmla="*/ 12 h 12"/>
                  <a:gd name="T10" fmla="*/ 14 w 16"/>
                  <a:gd name="T11" fmla="*/ 12 h 12"/>
                  <a:gd name="T12" fmla="*/ 16 w 16"/>
                  <a:gd name="T13" fmla="*/ 10 h 12"/>
                  <a:gd name="T14" fmla="*/ 16 w 16"/>
                  <a:gd name="T15" fmla="*/ 5 h 12"/>
                  <a:gd name="T16" fmla="*/ 15 w 16"/>
                  <a:gd name="T17" fmla="*/ 3 h 12"/>
                  <a:gd name="T18" fmla="*/ 15 w 16"/>
                  <a:gd name="T19" fmla="*/ 3 h 12"/>
                  <a:gd name="T20" fmla="*/ 14 w 16"/>
                  <a:gd name="T21" fmla="*/ 3 h 12"/>
                  <a:gd name="T22" fmla="*/ 9 w 16"/>
                  <a:gd name="T23" fmla="*/ 4 h 12"/>
                  <a:gd name="T24" fmla="*/ 8 w 16"/>
                  <a:gd name="T25" fmla="*/ 4 h 12"/>
                  <a:gd name="T26" fmla="*/ 3 w 16"/>
                  <a:gd name="T27" fmla="*/ 2 h 12"/>
                  <a:gd name="T28" fmla="*/ 0 w 16"/>
                  <a:gd name="T29" fmla="*/ 0 h 12"/>
                  <a:gd name="T30" fmla="*/ 0 w 16"/>
                  <a:gd name="T3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2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9"/>
                      <a:pt x="3" y="10"/>
                    </a:cubicBezTo>
                    <a:cubicBezTo>
                      <a:pt x="5" y="12"/>
                      <a:pt x="8" y="12"/>
                      <a:pt x="10" y="12"/>
                    </a:cubicBezTo>
                    <a:cubicBezTo>
                      <a:pt x="12" y="12"/>
                      <a:pt x="13" y="12"/>
                      <a:pt x="14" y="12"/>
                    </a:cubicBezTo>
                    <a:cubicBezTo>
                      <a:pt x="15" y="12"/>
                      <a:pt x="16" y="11"/>
                      <a:pt x="16" y="10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4"/>
                      <a:pt x="16" y="4"/>
                      <a:pt x="15" y="3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3" y="3"/>
                      <a:pt x="12" y="3"/>
                      <a:pt x="9" y="4"/>
                    </a:cubicBezTo>
                    <a:cubicBezTo>
                      <a:pt x="9" y="4"/>
                      <a:pt x="8" y="4"/>
                      <a:pt x="8" y="4"/>
                    </a:cubicBezTo>
                    <a:cubicBezTo>
                      <a:pt x="5" y="4"/>
                      <a:pt x="4" y="3"/>
                      <a:pt x="3" y="2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4A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1" name="任意多边形: 形状 250">
                <a:extLst>
                  <a:ext uri="{FF2B5EF4-FFF2-40B4-BE49-F238E27FC236}">
                    <a16:creationId xmlns:a16="http://schemas.microsoft.com/office/drawing/2014/main" id="{083B4263-ED40-43D1-BB71-C319A5BC2170}"/>
                  </a:ext>
                </a:extLst>
              </p:cNvPr>
              <p:cNvSpPr/>
              <p:nvPr/>
            </p:nvSpPr>
            <p:spPr bwMode="auto">
              <a:xfrm>
                <a:off x="5465084" y="3319217"/>
                <a:ext cx="187820" cy="158721"/>
              </a:xfrm>
              <a:custGeom>
                <a:avLst/>
                <a:gdLst>
                  <a:gd name="T0" fmla="*/ 22 w 34"/>
                  <a:gd name="T1" fmla="*/ 0 h 29"/>
                  <a:gd name="T2" fmla="*/ 16 w 34"/>
                  <a:gd name="T3" fmla="*/ 2 h 29"/>
                  <a:gd name="T4" fmla="*/ 16 w 34"/>
                  <a:gd name="T5" fmla="*/ 2 h 29"/>
                  <a:gd name="T6" fmla="*/ 0 w 34"/>
                  <a:gd name="T7" fmla="*/ 14 h 29"/>
                  <a:gd name="T8" fmla="*/ 0 w 34"/>
                  <a:gd name="T9" fmla="*/ 16 h 29"/>
                  <a:gd name="T10" fmla="*/ 4 w 34"/>
                  <a:gd name="T11" fmla="*/ 27 h 29"/>
                  <a:gd name="T12" fmla="*/ 8 w 34"/>
                  <a:gd name="T13" fmla="*/ 29 h 29"/>
                  <a:gd name="T14" fmla="*/ 16 w 34"/>
                  <a:gd name="T15" fmla="*/ 25 h 29"/>
                  <a:gd name="T16" fmla="*/ 26 w 34"/>
                  <a:gd name="T17" fmla="*/ 18 h 29"/>
                  <a:gd name="T18" fmla="*/ 30 w 34"/>
                  <a:gd name="T19" fmla="*/ 5 h 29"/>
                  <a:gd name="T20" fmla="*/ 22 w 34"/>
                  <a:gd name="T21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9">
                    <a:moveTo>
                      <a:pt x="22" y="0"/>
                    </a:moveTo>
                    <a:cubicBezTo>
                      <a:pt x="20" y="0"/>
                      <a:pt x="18" y="1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6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6"/>
                    </a:cubicBezTo>
                    <a:cubicBezTo>
                      <a:pt x="0" y="19"/>
                      <a:pt x="0" y="25"/>
                      <a:pt x="4" y="27"/>
                    </a:cubicBezTo>
                    <a:cubicBezTo>
                      <a:pt x="5" y="28"/>
                      <a:pt x="6" y="29"/>
                      <a:pt x="8" y="29"/>
                    </a:cubicBezTo>
                    <a:cubicBezTo>
                      <a:pt x="8" y="29"/>
                      <a:pt x="12" y="27"/>
                      <a:pt x="16" y="25"/>
                    </a:cubicBezTo>
                    <a:cubicBezTo>
                      <a:pt x="20" y="22"/>
                      <a:pt x="25" y="19"/>
                      <a:pt x="26" y="18"/>
                    </a:cubicBezTo>
                    <a:cubicBezTo>
                      <a:pt x="30" y="16"/>
                      <a:pt x="34" y="11"/>
                      <a:pt x="30" y="5"/>
                    </a:cubicBezTo>
                    <a:cubicBezTo>
                      <a:pt x="28" y="2"/>
                      <a:pt x="25" y="0"/>
                      <a:pt x="22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2" name="任意多边形: 形状 251">
                <a:extLst>
                  <a:ext uri="{FF2B5EF4-FFF2-40B4-BE49-F238E27FC236}">
                    <a16:creationId xmlns:a16="http://schemas.microsoft.com/office/drawing/2014/main" id="{DE2E973D-0843-4605-B98B-3DD392C92737}"/>
                  </a:ext>
                </a:extLst>
              </p:cNvPr>
              <p:cNvSpPr/>
              <p:nvPr/>
            </p:nvSpPr>
            <p:spPr bwMode="auto">
              <a:xfrm>
                <a:off x="5647612" y="3356252"/>
                <a:ext cx="259244" cy="166658"/>
              </a:xfrm>
              <a:custGeom>
                <a:avLst/>
                <a:gdLst>
                  <a:gd name="T0" fmla="*/ 47 w 47"/>
                  <a:gd name="T1" fmla="*/ 1 h 30"/>
                  <a:gd name="T2" fmla="*/ 47 w 47"/>
                  <a:gd name="T3" fmla="*/ 1 h 30"/>
                  <a:gd name="T4" fmla="*/ 47 w 47"/>
                  <a:gd name="T5" fmla="*/ 1 h 30"/>
                  <a:gd name="T6" fmla="*/ 47 w 47"/>
                  <a:gd name="T7" fmla="*/ 1 h 30"/>
                  <a:gd name="T8" fmla="*/ 39 w 47"/>
                  <a:gd name="T9" fmla="*/ 0 h 30"/>
                  <a:gd name="T10" fmla="*/ 39 w 47"/>
                  <a:gd name="T11" fmla="*/ 0 h 30"/>
                  <a:gd name="T12" fmla="*/ 33 w 47"/>
                  <a:gd name="T13" fmla="*/ 3 h 30"/>
                  <a:gd name="T14" fmla="*/ 7 w 47"/>
                  <a:gd name="T15" fmla="*/ 19 h 30"/>
                  <a:gd name="T16" fmla="*/ 0 w 47"/>
                  <a:gd name="T17" fmla="*/ 29 h 30"/>
                  <a:gd name="T18" fmla="*/ 3 w 47"/>
                  <a:gd name="T19" fmla="*/ 30 h 30"/>
                  <a:gd name="T20" fmla="*/ 10 w 47"/>
                  <a:gd name="T21" fmla="*/ 20 h 30"/>
                  <a:gd name="T22" fmla="*/ 39 w 47"/>
                  <a:gd name="T23" fmla="*/ 3 h 30"/>
                  <a:gd name="T24" fmla="*/ 39 w 47"/>
                  <a:gd name="T25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30">
                    <a:moveTo>
                      <a:pt x="47" y="1"/>
                    </a:moveTo>
                    <a:cubicBezTo>
                      <a:pt x="47" y="1"/>
                      <a:pt x="47" y="1"/>
                      <a:pt x="47" y="1"/>
                    </a:cubicBezTo>
                    <a:cubicBezTo>
                      <a:pt x="47" y="1"/>
                      <a:pt x="47" y="1"/>
                      <a:pt x="47" y="1"/>
                    </a:cubicBezTo>
                    <a:cubicBezTo>
                      <a:pt x="47" y="1"/>
                      <a:pt x="47" y="1"/>
                      <a:pt x="47" y="1"/>
                    </a:cubicBezTo>
                    <a:moveTo>
                      <a:pt x="39" y="0"/>
                    </a:moveTo>
                    <a:cubicBezTo>
                      <a:pt x="39" y="0"/>
                      <a:pt x="39" y="0"/>
                      <a:pt x="39" y="0"/>
                    </a:cubicBezTo>
                    <a:cubicBezTo>
                      <a:pt x="33" y="3"/>
                      <a:pt x="33" y="3"/>
                      <a:pt x="33" y="3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3" y="21"/>
                      <a:pt x="1" y="24"/>
                      <a:pt x="0" y="29"/>
                    </a:cubicBezTo>
                    <a:cubicBezTo>
                      <a:pt x="3" y="30"/>
                      <a:pt x="3" y="30"/>
                      <a:pt x="3" y="30"/>
                    </a:cubicBezTo>
                    <a:cubicBezTo>
                      <a:pt x="4" y="26"/>
                      <a:pt x="6" y="22"/>
                      <a:pt x="10" y="20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9" y="0"/>
                      <a:pt x="39" y="0"/>
                      <a:pt x="39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3" name="任意多边形: 形状 252">
                <a:extLst>
                  <a:ext uri="{FF2B5EF4-FFF2-40B4-BE49-F238E27FC236}">
                    <a16:creationId xmlns:a16="http://schemas.microsoft.com/office/drawing/2014/main" id="{7ED32A89-D0AA-4CDA-A8EB-EF1EE86202A3}"/>
                  </a:ext>
                </a:extLst>
              </p:cNvPr>
              <p:cNvSpPr/>
              <p:nvPr/>
            </p:nvSpPr>
            <p:spPr bwMode="auto">
              <a:xfrm>
                <a:off x="5647612" y="3517619"/>
                <a:ext cx="31744" cy="179884"/>
              </a:xfrm>
              <a:custGeom>
                <a:avLst/>
                <a:gdLst>
                  <a:gd name="T0" fmla="*/ 0 w 6"/>
                  <a:gd name="T1" fmla="*/ 0 h 33"/>
                  <a:gd name="T2" fmla="*/ 0 w 6"/>
                  <a:gd name="T3" fmla="*/ 1 h 33"/>
                  <a:gd name="T4" fmla="*/ 0 w 6"/>
                  <a:gd name="T5" fmla="*/ 26 h 33"/>
                  <a:gd name="T6" fmla="*/ 3 w 6"/>
                  <a:gd name="T7" fmla="*/ 31 h 33"/>
                  <a:gd name="T8" fmla="*/ 3 w 6"/>
                  <a:gd name="T9" fmla="*/ 31 h 33"/>
                  <a:gd name="T10" fmla="*/ 6 w 6"/>
                  <a:gd name="T11" fmla="*/ 33 h 33"/>
                  <a:gd name="T12" fmla="*/ 3 w 6"/>
                  <a:gd name="T13" fmla="*/ 28 h 33"/>
                  <a:gd name="T14" fmla="*/ 3 w 6"/>
                  <a:gd name="T15" fmla="*/ 3 h 33"/>
                  <a:gd name="T16" fmla="*/ 3 w 6"/>
                  <a:gd name="T17" fmla="*/ 1 h 33"/>
                  <a:gd name="T18" fmla="*/ 0 w 6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33">
                    <a:moveTo>
                      <a:pt x="0" y="0"/>
                    </a:moveTo>
                    <a:cubicBezTo>
                      <a:pt x="0" y="0"/>
                      <a:pt x="0" y="0"/>
                      <a:pt x="0" y="1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29"/>
                      <a:pt x="1" y="30"/>
                      <a:pt x="3" y="31"/>
                    </a:cubicBezTo>
                    <a:cubicBezTo>
                      <a:pt x="3" y="31"/>
                      <a:pt x="3" y="31"/>
                      <a:pt x="3" y="31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4" y="32"/>
                      <a:pt x="3" y="30"/>
                      <a:pt x="3" y="28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2"/>
                      <a:pt x="3" y="2"/>
                      <a:pt x="3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4" name="任意多边形: 形状 253">
                <a:extLst>
                  <a:ext uri="{FF2B5EF4-FFF2-40B4-BE49-F238E27FC236}">
                    <a16:creationId xmlns:a16="http://schemas.microsoft.com/office/drawing/2014/main" id="{A38D361A-A0A3-4688-8B4E-38D36BDC3667}"/>
                  </a:ext>
                </a:extLst>
              </p:cNvPr>
              <p:cNvSpPr/>
              <p:nvPr/>
            </p:nvSpPr>
            <p:spPr bwMode="auto">
              <a:xfrm>
                <a:off x="5861886" y="3350961"/>
                <a:ext cx="44972" cy="23809"/>
              </a:xfrm>
              <a:custGeom>
                <a:avLst/>
                <a:gdLst>
                  <a:gd name="T0" fmla="*/ 3 w 8"/>
                  <a:gd name="T1" fmla="*/ 0 h 4"/>
                  <a:gd name="T2" fmla="*/ 0 w 8"/>
                  <a:gd name="T3" fmla="*/ 1 h 4"/>
                  <a:gd name="T4" fmla="*/ 0 w 8"/>
                  <a:gd name="T5" fmla="*/ 4 h 4"/>
                  <a:gd name="T6" fmla="*/ 3 w 8"/>
                  <a:gd name="T7" fmla="*/ 3 h 4"/>
                  <a:gd name="T8" fmla="*/ 6 w 8"/>
                  <a:gd name="T9" fmla="*/ 2 h 4"/>
                  <a:gd name="T10" fmla="*/ 8 w 8"/>
                  <a:gd name="T11" fmla="*/ 2 h 4"/>
                  <a:gd name="T12" fmla="*/ 8 w 8"/>
                  <a:gd name="T13" fmla="*/ 2 h 4"/>
                  <a:gd name="T14" fmla="*/ 6 w 8"/>
                  <a:gd name="T15" fmla="*/ 1 h 4"/>
                  <a:gd name="T16" fmla="*/ 6 w 8"/>
                  <a:gd name="T17" fmla="*/ 1 h 4"/>
                  <a:gd name="T18" fmla="*/ 3 w 8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">
                    <a:moveTo>
                      <a:pt x="3" y="0"/>
                    </a:moveTo>
                    <a:cubicBezTo>
                      <a:pt x="2" y="0"/>
                      <a:pt x="1" y="0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2"/>
                      <a:pt x="5" y="2"/>
                      <a:pt x="6" y="2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0"/>
                      <a:pt x="4" y="0"/>
                      <a:pt x="3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5" name="任意多边形: 形状 254">
                <a:extLst>
                  <a:ext uri="{FF2B5EF4-FFF2-40B4-BE49-F238E27FC236}">
                    <a16:creationId xmlns:a16="http://schemas.microsoft.com/office/drawing/2014/main" id="{6061814D-313C-4C26-A4D7-7068D6219C3B}"/>
                  </a:ext>
                </a:extLst>
              </p:cNvPr>
              <p:cNvSpPr/>
              <p:nvPr/>
            </p:nvSpPr>
            <p:spPr bwMode="auto">
              <a:xfrm>
                <a:off x="5912147" y="3369479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6" name="任意多边形: 形状 255">
                <a:extLst>
                  <a:ext uri="{FF2B5EF4-FFF2-40B4-BE49-F238E27FC236}">
                    <a16:creationId xmlns:a16="http://schemas.microsoft.com/office/drawing/2014/main" id="{C4C01B0D-3C4A-4CCB-B23F-FA7C2A050621}"/>
                  </a:ext>
                </a:extLst>
              </p:cNvPr>
              <p:cNvSpPr/>
              <p:nvPr/>
            </p:nvSpPr>
            <p:spPr bwMode="auto">
              <a:xfrm>
                <a:off x="5663485" y="3364189"/>
                <a:ext cx="259244" cy="219565"/>
              </a:xfrm>
              <a:custGeom>
                <a:avLst/>
                <a:gdLst>
                  <a:gd name="T0" fmla="*/ 36 w 47"/>
                  <a:gd name="T1" fmla="*/ 2 h 40"/>
                  <a:gd name="T2" fmla="*/ 7 w 47"/>
                  <a:gd name="T3" fmla="*/ 19 h 40"/>
                  <a:gd name="T4" fmla="*/ 0 w 47"/>
                  <a:gd name="T5" fmla="*/ 29 h 40"/>
                  <a:gd name="T6" fmla="*/ 17 w 47"/>
                  <a:gd name="T7" fmla="*/ 39 h 40"/>
                  <a:gd name="T8" fmla="*/ 25 w 47"/>
                  <a:gd name="T9" fmla="*/ 32 h 40"/>
                  <a:gd name="T10" fmla="*/ 28 w 47"/>
                  <a:gd name="T11" fmla="*/ 30 h 40"/>
                  <a:gd name="T12" fmla="*/ 32 w 47"/>
                  <a:gd name="T13" fmla="*/ 29 h 40"/>
                  <a:gd name="T14" fmla="*/ 36 w 47"/>
                  <a:gd name="T15" fmla="*/ 30 h 40"/>
                  <a:gd name="T16" fmla="*/ 36 w 47"/>
                  <a:gd name="T17" fmla="*/ 2 h 40"/>
                  <a:gd name="T18" fmla="*/ 44 w 47"/>
                  <a:gd name="T19" fmla="*/ 0 h 40"/>
                  <a:gd name="T20" fmla="*/ 44 w 47"/>
                  <a:gd name="T21" fmla="*/ 40 h 40"/>
                  <a:gd name="T22" fmla="*/ 47 w 47"/>
                  <a:gd name="T23" fmla="*/ 31 h 40"/>
                  <a:gd name="T24" fmla="*/ 47 w 47"/>
                  <a:gd name="T25" fmla="*/ 5 h 40"/>
                  <a:gd name="T26" fmla="*/ 45 w 47"/>
                  <a:gd name="T27" fmla="*/ 1 h 40"/>
                  <a:gd name="T28" fmla="*/ 45 w 47"/>
                  <a:gd name="T29" fmla="*/ 1 h 40"/>
                  <a:gd name="T30" fmla="*/ 44 w 47"/>
                  <a:gd name="T31" fmla="*/ 0 h 40"/>
                  <a:gd name="T32" fmla="*/ 44 w 47"/>
                  <a:gd name="T3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7" h="40">
                    <a:moveTo>
                      <a:pt x="36" y="2"/>
                    </a:moveTo>
                    <a:cubicBezTo>
                      <a:pt x="7" y="19"/>
                      <a:pt x="7" y="19"/>
                      <a:pt x="7" y="19"/>
                    </a:cubicBezTo>
                    <a:cubicBezTo>
                      <a:pt x="3" y="21"/>
                      <a:pt x="1" y="25"/>
                      <a:pt x="0" y="29"/>
                    </a:cubicBezTo>
                    <a:cubicBezTo>
                      <a:pt x="17" y="39"/>
                      <a:pt x="17" y="39"/>
                      <a:pt x="17" y="39"/>
                    </a:cubicBezTo>
                    <a:cubicBezTo>
                      <a:pt x="19" y="36"/>
                      <a:pt x="22" y="33"/>
                      <a:pt x="25" y="32"/>
                    </a:cubicBezTo>
                    <a:cubicBezTo>
                      <a:pt x="28" y="30"/>
                      <a:pt x="28" y="30"/>
                      <a:pt x="28" y="30"/>
                    </a:cubicBezTo>
                    <a:cubicBezTo>
                      <a:pt x="29" y="29"/>
                      <a:pt x="31" y="29"/>
                      <a:pt x="32" y="29"/>
                    </a:cubicBezTo>
                    <a:cubicBezTo>
                      <a:pt x="34" y="29"/>
                      <a:pt x="35" y="29"/>
                      <a:pt x="36" y="30"/>
                    </a:cubicBezTo>
                    <a:cubicBezTo>
                      <a:pt x="36" y="2"/>
                      <a:pt x="36" y="2"/>
                      <a:pt x="36" y="2"/>
                    </a:cubicBezTo>
                    <a:moveTo>
                      <a:pt x="44" y="0"/>
                    </a:moveTo>
                    <a:cubicBezTo>
                      <a:pt x="44" y="40"/>
                      <a:pt x="44" y="40"/>
                      <a:pt x="44" y="40"/>
                    </a:cubicBezTo>
                    <a:cubicBezTo>
                      <a:pt x="46" y="37"/>
                      <a:pt x="47" y="34"/>
                      <a:pt x="47" y="31"/>
                    </a:cubicBezTo>
                    <a:cubicBezTo>
                      <a:pt x="47" y="5"/>
                      <a:pt x="47" y="5"/>
                      <a:pt x="47" y="5"/>
                    </a:cubicBezTo>
                    <a:cubicBezTo>
                      <a:pt x="47" y="3"/>
                      <a:pt x="46" y="2"/>
                      <a:pt x="45" y="1"/>
                    </a:cubicBezTo>
                    <a:cubicBezTo>
                      <a:pt x="45" y="1"/>
                      <a:pt x="45" y="1"/>
                      <a:pt x="45" y="1"/>
                    </a:cubicBezTo>
                    <a:cubicBezTo>
                      <a:pt x="44" y="1"/>
                      <a:pt x="44" y="1"/>
                      <a:pt x="44" y="0"/>
                    </a:cubicBezTo>
                    <a:cubicBezTo>
                      <a:pt x="44" y="0"/>
                      <a:pt x="44" y="0"/>
                      <a:pt x="44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7" name="任意多边形: 形状 256">
                <a:extLst>
                  <a:ext uri="{FF2B5EF4-FFF2-40B4-BE49-F238E27FC236}">
                    <a16:creationId xmlns:a16="http://schemas.microsoft.com/office/drawing/2014/main" id="{8B198E36-0185-4A2F-8EFD-92288156E09D}"/>
                  </a:ext>
                </a:extLst>
              </p:cNvPr>
              <p:cNvSpPr/>
              <p:nvPr/>
            </p:nvSpPr>
            <p:spPr bwMode="auto">
              <a:xfrm>
                <a:off x="5663485" y="3522909"/>
                <a:ext cx="92588" cy="179884"/>
              </a:xfrm>
              <a:custGeom>
                <a:avLst/>
                <a:gdLst>
                  <a:gd name="T0" fmla="*/ 0 w 17"/>
                  <a:gd name="T1" fmla="*/ 0 h 33"/>
                  <a:gd name="T2" fmla="*/ 0 w 17"/>
                  <a:gd name="T3" fmla="*/ 2 h 33"/>
                  <a:gd name="T4" fmla="*/ 0 w 17"/>
                  <a:gd name="T5" fmla="*/ 27 h 33"/>
                  <a:gd name="T6" fmla="*/ 3 w 17"/>
                  <a:gd name="T7" fmla="*/ 32 h 33"/>
                  <a:gd name="T8" fmla="*/ 6 w 17"/>
                  <a:gd name="T9" fmla="*/ 33 h 33"/>
                  <a:gd name="T10" fmla="*/ 8 w 17"/>
                  <a:gd name="T11" fmla="*/ 32 h 33"/>
                  <a:gd name="T12" fmla="*/ 14 w 17"/>
                  <a:gd name="T13" fmla="*/ 29 h 33"/>
                  <a:gd name="T14" fmla="*/ 14 w 17"/>
                  <a:gd name="T15" fmla="*/ 22 h 33"/>
                  <a:gd name="T16" fmla="*/ 17 w 17"/>
                  <a:gd name="T17" fmla="*/ 10 h 33"/>
                  <a:gd name="T18" fmla="*/ 0 w 17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33">
                    <a:moveTo>
                      <a:pt x="0" y="0"/>
                    </a:moveTo>
                    <a:cubicBezTo>
                      <a:pt x="0" y="1"/>
                      <a:pt x="0" y="1"/>
                      <a:pt x="0" y="2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0" y="29"/>
                      <a:pt x="1" y="31"/>
                      <a:pt x="3" y="32"/>
                    </a:cubicBezTo>
                    <a:cubicBezTo>
                      <a:pt x="4" y="32"/>
                      <a:pt x="5" y="33"/>
                      <a:pt x="6" y="33"/>
                    </a:cubicBezTo>
                    <a:cubicBezTo>
                      <a:pt x="6" y="33"/>
                      <a:pt x="7" y="32"/>
                      <a:pt x="8" y="32"/>
                    </a:cubicBezTo>
                    <a:cubicBezTo>
                      <a:pt x="14" y="29"/>
                      <a:pt x="14" y="29"/>
                      <a:pt x="14" y="29"/>
                    </a:cubicBez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8"/>
                      <a:pt x="15" y="14"/>
                      <a:pt x="17" y="1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8" name="任意多边形: 形状 257">
                <a:extLst>
                  <a:ext uri="{FF2B5EF4-FFF2-40B4-BE49-F238E27FC236}">
                    <a16:creationId xmlns:a16="http://schemas.microsoft.com/office/drawing/2014/main" id="{7EF4EE8A-1AB9-43EE-ADAC-C2DF0FA4E9D7}"/>
                  </a:ext>
                </a:extLst>
              </p:cNvPr>
              <p:cNvSpPr/>
              <p:nvPr/>
            </p:nvSpPr>
            <p:spPr bwMode="auto">
              <a:xfrm>
                <a:off x="5861886" y="3364189"/>
                <a:ext cx="44972" cy="230146"/>
              </a:xfrm>
              <a:custGeom>
                <a:avLst/>
                <a:gdLst>
                  <a:gd name="T0" fmla="*/ 6 w 8"/>
                  <a:gd name="T1" fmla="*/ 0 h 42"/>
                  <a:gd name="T2" fmla="*/ 3 w 8"/>
                  <a:gd name="T3" fmla="*/ 1 h 42"/>
                  <a:gd name="T4" fmla="*/ 0 w 8"/>
                  <a:gd name="T5" fmla="*/ 2 h 42"/>
                  <a:gd name="T6" fmla="*/ 0 w 8"/>
                  <a:gd name="T7" fmla="*/ 30 h 42"/>
                  <a:gd name="T8" fmla="*/ 1 w 8"/>
                  <a:gd name="T9" fmla="*/ 30 h 42"/>
                  <a:gd name="T10" fmla="*/ 5 w 8"/>
                  <a:gd name="T11" fmla="*/ 38 h 42"/>
                  <a:gd name="T12" fmla="*/ 5 w 8"/>
                  <a:gd name="T13" fmla="*/ 42 h 42"/>
                  <a:gd name="T14" fmla="*/ 8 w 8"/>
                  <a:gd name="T15" fmla="*/ 40 h 42"/>
                  <a:gd name="T16" fmla="*/ 8 w 8"/>
                  <a:gd name="T17" fmla="*/ 0 h 42"/>
                  <a:gd name="T18" fmla="*/ 6 w 8"/>
                  <a:gd name="T1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2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1" y="30"/>
                      <a:pt x="1" y="30"/>
                    </a:cubicBezTo>
                    <a:cubicBezTo>
                      <a:pt x="3" y="32"/>
                      <a:pt x="5" y="34"/>
                      <a:pt x="5" y="38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6" y="41"/>
                      <a:pt x="7" y="40"/>
                      <a:pt x="8" y="4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9" name="任意多边形: 形状 258">
                <a:extLst>
                  <a:ext uri="{FF2B5EF4-FFF2-40B4-BE49-F238E27FC236}">
                    <a16:creationId xmlns:a16="http://schemas.microsoft.com/office/drawing/2014/main" id="{128B4147-2BC8-4A8C-AC04-6FDF7DC077F4}"/>
                  </a:ext>
                </a:extLst>
              </p:cNvPr>
              <p:cNvSpPr/>
              <p:nvPr/>
            </p:nvSpPr>
            <p:spPr bwMode="auto">
              <a:xfrm>
                <a:off x="5779880" y="3544072"/>
                <a:ext cx="82007" cy="76716"/>
              </a:xfrm>
              <a:custGeom>
                <a:avLst/>
                <a:gdLst>
                  <a:gd name="T0" fmla="*/ 11 w 15"/>
                  <a:gd name="T1" fmla="*/ 0 h 14"/>
                  <a:gd name="T2" fmla="*/ 9 w 15"/>
                  <a:gd name="T3" fmla="*/ 0 h 14"/>
                  <a:gd name="T4" fmla="*/ 6 w 15"/>
                  <a:gd name="T5" fmla="*/ 2 h 14"/>
                  <a:gd name="T6" fmla="*/ 0 w 15"/>
                  <a:gd name="T7" fmla="*/ 8 h 14"/>
                  <a:gd name="T8" fmla="*/ 11 w 15"/>
                  <a:gd name="T9" fmla="*/ 14 h 14"/>
                  <a:gd name="T10" fmla="*/ 15 w 15"/>
                  <a:gd name="T11" fmla="*/ 12 h 14"/>
                  <a:gd name="T12" fmla="*/ 15 w 15"/>
                  <a:gd name="T13" fmla="*/ 2 h 14"/>
                  <a:gd name="T14" fmla="*/ 14 w 15"/>
                  <a:gd name="T15" fmla="*/ 0 h 14"/>
                  <a:gd name="T16" fmla="*/ 11 w 15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14">
                    <a:moveTo>
                      <a:pt x="11" y="0"/>
                    </a:moveTo>
                    <a:cubicBezTo>
                      <a:pt x="10" y="0"/>
                      <a:pt x="10" y="0"/>
                      <a:pt x="9" y="0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3" y="3"/>
                      <a:pt x="1" y="6"/>
                      <a:pt x="0" y="8"/>
                    </a:cubicBezTo>
                    <a:cubicBezTo>
                      <a:pt x="11" y="14"/>
                      <a:pt x="11" y="14"/>
                      <a:pt x="11" y="14"/>
                    </a:cubicBezTo>
                    <a:cubicBezTo>
                      <a:pt x="15" y="12"/>
                      <a:pt x="15" y="12"/>
                      <a:pt x="15" y="1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15" y="1"/>
                      <a:pt x="14" y="1"/>
                      <a:pt x="14" y="0"/>
                    </a:cubicBezTo>
                    <a:cubicBezTo>
                      <a:pt x="13" y="0"/>
                      <a:pt x="12" y="0"/>
                      <a:pt x="11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0" name="任意多边形: 形状 259">
                <a:extLst>
                  <a:ext uri="{FF2B5EF4-FFF2-40B4-BE49-F238E27FC236}">
                    <a16:creationId xmlns:a16="http://schemas.microsoft.com/office/drawing/2014/main" id="{2F6DD95E-90EB-414F-A5A2-5056CE9292F5}"/>
                  </a:ext>
                </a:extLst>
              </p:cNvPr>
              <p:cNvSpPr/>
              <p:nvPr/>
            </p:nvSpPr>
            <p:spPr bwMode="auto">
              <a:xfrm>
                <a:off x="5764008" y="3589042"/>
                <a:ext cx="76716" cy="82007"/>
              </a:xfrm>
              <a:custGeom>
                <a:avLst/>
                <a:gdLst>
                  <a:gd name="T0" fmla="*/ 3 w 14"/>
                  <a:gd name="T1" fmla="*/ 0 h 15"/>
                  <a:gd name="T2" fmla="*/ 0 w 14"/>
                  <a:gd name="T3" fmla="*/ 10 h 15"/>
                  <a:gd name="T4" fmla="*/ 0 w 14"/>
                  <a:gd name="T5" fmla="*/ 15 h 15"/>
                  <a:gd name="T6" fmla="*/ 8 w 14"/>
                  <a:gd name="T7" fmla="*/ 10 h 15"/>
                  <a:gd name="T8" fmla="*/ 14 w 14"/>
                  <a:gd name="T9" fmla="*/ 6 h 15"/>
                  <a:gd name="T10" fmla="*/ 3 w 14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5">
                    <a:moveTo>
                      <a:pt x="3" y="0"/>
                    </a:moveTo>
                    <a:cubicBezTo>
                      <a:pt x="1" y="3"/>
                      <a:pt x="0" y="7"/>
                      <a:pt x="0" y="1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1" name="任意多边形: 形状 260">
                <a:extLst>
                  <a:ext uri="{FF2B5EF4-FFF2-40B4-BE49-F238E27FC236}">
                    <a16:creationId xmlns:a16="http://schemas.microsoft.com/office/drawing/2014/main" id="{5BCA6473-A40C-446F-BE7F-DE1A86854E0A}"/>
                  </a:ext>
                </a:extLst>
              </p:cNvPr>
              <p:cNvSpPr/>
              <p:nvPr/>
            </p:nvSpPr>
            <p:spPr bwMode="auto">
              <a:xfrm>
                <a:off x="5861886" y="3554654"/>
                <a:ext cx="5291" cy="55553"/>
              </a:xfrm>
              <a:custGeom>
                <a:avLst/>
                <a:gdLst>
                  <a:gd name="T0" fmla="*/ 0 w 1"/>
                  <a:gd name="T1" fmla="*/ 0 h 10"/>
                  <a:gd name="T2" fmla="*/ 0 w 1"/>
                  <a:gd name="T3" fmla="*/ 10 h 10"/>
                  <a:gd name="T4" fmla="*/ 1 w 1"/>
                  <a:gd name="T5" fmla="*/ 9 h 10"/>
                  <a:gd name="T6" fmla="*/ 1 w 1"/>
                  <a:gd name="T7" fmla="*/ 3 h 10"/>
                  <a:gd name="T8" fmla="*/ 0 w 1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" h="10">
                    <a:moveTo>
                      <a:pt x="0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1"/>
                      <a:pt x="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2" name="任意多边形: 形状 261">
                <a:extLst>
                  <a:ext uri="{FF2B5EF4-FFF2-40B4-BE49-F238E27FC236}">
                    <a16:creationId xmlns:a16="http://schemas.microsoft.com/office/drawing/2014/main" id="{EF06D34F-60B7-41ED-B2E8-BC83912E9F01}"/>
                  </a:ext>
                </a:extLst>
              </p:cNvPr>
              <p:cNvSpPr/>
              <p:nvPr/>
            </p:nvSpPr>
            <p:spPr bwMode="auto">
              <a:xfrm>
                <a:off x="5756073" y="3522909"/>
                <a:ext cx="105814" cy="66134"/>
              </a:xfrm>
              <a:custGeom>
                <a:avLst/>
                <a:gdLst>
                  <a:gd name="T0" fmla="*/ 15 w 19"/>
                  <a:gd name="T1" fmla="*/ 0 h 12"/>
                  <a:gd name="T2" fmla="*/ 11 w 19"/>
                  <a:gd name="T3" fmla="*/ 1 h 12"/>
                  <a:gd name="T4" fmla="*/ 8 w 19"/>
                  <a:gd name="T5" fmla="*/ 3 h 12"/>
                  <a:gd name="T6" fmla="*/ 0 w 19"/>
                  <a:gd name="T7" fmla="*/ 10 h 12"/>
                  <a:gd name="T8" fmla="*/ 4 w 19"/>
                  <a:gd name="T9" fmla="*/ 12 h 12"/>
                  <a:gd name="T10" fmla="*/ 10 w 19"/>
                  <a:gd name="T11" fmla="*/ 6 h 12"/>
                  <a:gd name="T12" fmla="*/ 13 w 19"/>
                  <a:gd name="T13" fmla="*/ 4 h 12"/>
                  <a:gd name="T14" fmla="*/ 15 w 19"/>
                  <a:gd name="T15" fmla="*/ 4 h 12"/>
                  <a:gd name="T16" fmla="*/ 18 w 19"/>
                  <a:gd name="T17" fmla="*/ 4 h 12"/>
                  <a:gd name="T18" fmla="*/ 19 w 19"/>
                  <a:gd name="T19" fmla="*/ 6 h 12"/>
                  <a:gd name="T20" fmla="*/ 19 w 19"/>
                  <a:gd name="T21" fmla="*/ 1 h 12"/>
                  <a:gd name="T22" fmla="*/ 15 w 19"/>
                  <a:gd name="T2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" h="12">
                    <a:moveTo>
                      <a:pt x="15" y="0"/>
                    </a:moveTo>
                    <a:cubicBezTo>
                      <a:pt x="14" y="0"/>
                      <a:pt x="12" y="0"/>
                      <a:pt x="11" y="1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5" y="4"/>
                      <a:pt x="2" y="7"/>
                      <a:pt x="0" y="10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5" y="10"/>
                      <a:pt x="7" y="7"/>
                      <a:pt x="10" y="6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4" y="4"/>
                      <a:pt x="14" y="4"/>
                      <a:pt x="15" y="4"/>
                    </a:cubicBezTo>
                    <a:cubicBezTo>
                      <a:pt x="16" y="4"/>
                      <a:pt x="17" y="4"/>
                      <a:pt x="18" y="4"/>
                    </a:cubicBezTo>
                    <a:cubicBezTo>
                      <a:pt x="18" y="5"/>
                      <a:pt x="19" y="5"/>
                      <a:pt x="19" y="6"/>
                    </a:cubicBezTo>
                    <a:cubicBezTo>
                      <a:pt x="19" y="1"/>
                      <a:pt x="19" y="1"/>
                      <a:pt x="19" y="1"/>
                    </a:cubicBezTo>
                    <a:cubicBezTo>
                      <a:pt x="18" y="0"/>
                      <a:pt x="17" y="0"/>
                      <a:pt x="15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3" name="任意多边形: 形状 262">
                <a:extLst>
                  <a:ext uri="{FF2B5EF4-FFF2-40B4-BE49-F238E27FC236}">
                    <a16:creationId xmlns:a16="http://schemas.microsoft.com/office/drawing/2014/main" id="{2946FBF8-F802-4416-ABB7-4FAE6AF2B99E}"/>
                  </a:ext>
                </a:extLst>
              </p:cNvPr>
              <p:cNvSpPr/>
              <p:nvPr/>
            </p:nvSpPr>
            <p:spPr bwMode="auto">
              <a:xfrm>
                <a:off x="5663485" y="3578461"/>
                <a:ext cx="224855" cy="357123"/>
              </a:xfrm>
              <a:custGeom>
                <a:avLst/>
                <a:gdLst>
                  <a:gd name="T0" fmla="*/ 37 w 41"/>
                  <a:gd name="T1" fmla="*/ 28 h 65"/>
                  <a:gd name="T2" fmla="*/ 37 w 41"/>
                  <a:gd name="T3" fmla="*/ 42 h 65"/>
                  <a:gd name="T4" fmla="*/ 35 w 41"/>
                  <a:gd name="T5" fmla="*/ 47 h 65"/>
                  <a:gd name="T6" fmla="*/ 32 w 41"/>
                  <a:gd name="T7" fmla="*/ 47 h 65"/>
                  <a:gd name="T8" fmla="*/ 32 w 41"/>
                  <a:gd name="T9" fmla="*/ 47 h 65"/>
                  <a:gd name="T10" fmla="*/ 30 w 41"/>
                  <a:gd name="T11" fmla="*/ 47 h 65"/>
                  <a:gd name="T12" fmla="*/ 29 w 41"/>
                  <a:gd name="T13" fmla="*/ 46 h 65"/>
                  <a:gd name="T14" fmla="*/ 29 w 41"/>
                  <a:gd name="T15" fmla="*/ 46 h 65"/>
                  <a:gd name="T16" fmla="*/ 27 w 41"/>
                  <a:gd name="T17" fmla="*/ 47 h 65"/>
                  <a:gd name="T18" fmla="*/ 25 w 41"/>
                  <a:gd name="T19" fmla="*/ 49 h 65"/>
                  <a:gd name="T20" fmla="*/ 27 w 41"/>
                  <a:gd name="T21" fmla="*/ 50 h 65"/>
                  <a:gd name="T22" fmla="*/ 28 w 41"/>
                  <a:gd name="T23" fmla="*/ 50 h 65"/>
                  <a:gd name="T24" fmla="*/ 32 w 41"/>
                  <a:gd name="T25" fmla="*/ 51 h 65"/>
                  <a:gd name="T26" fmla="*/ 32 w 41"/>
                  <a:gd name="T27" fmla="*/ 51 h 65"/>
                  <a:gd name="T28" fmla="*/ 37 w 41"/>
                  <a:gd name="T29" fmla="*/ 50 h 65"/>
                  <a:gd name="T30" fmla="*/ 41 w 41"/>
                  <a:gd name="T31" fmla="*/ 42 h 65"/>
                  <a:gd name="T32" fmla="*/ 41 w 41"/>
                  <a:gd name="T33" fmla="*/ 28 h 65"/>
                  <a:gd name="T34" fmla="*/ 40 w 41"/>
                  <a:gd name="T35" fmla="*/ 28 h 65"/>
                  <a:gd name="T36" fmla="*/ 40 w 41"/>
                  <a:gd name="T37" fmla="*/ 28 h 65"/>
                  <a:gd name="T38" fmla="*/ 37 w 41"/>
                  <a:gd name="T39" fmla="*/ 28 h 65"/>
                  <a:gd name="T40" fmla="*/ 17 w 41"/>
                  <a:gd name="T41" fmla="*/ 0 h 65"/>
                  <a:gd name="T42" fmla="*/ 14 w 41"/>
                  <a:gd name="T43" fmla="*/ 12 h 65"/>
                  <a:gd name="T44" fmla="*/ 14 w 41"/>
                  <a:gd name="T45" fmla="*/ 19 h 65"/>
                  <a:gd name="T46" fmla="*/ 14 w 41"/>
                  <a:gd name="T47" fmla="*/ 27 h 65"/>
                  <a:gd name="T48" fmla="*/ 14 w 41"/>
                  <a:gd name="T49" fmla="*/ 44 h 65"/>
                  <a:gd name="T50" fmla="*/ 14 w 41"/>
                  <a:gd name="T51" fmla="*/ 52 h 65"/>
                  <a:gd name="T52" fmla="*/ 14 w 41"/>
                  <a:gd name="T53" fmla="*/ 55 h 65"/>
                  <a:gd name="T54" fmla="*/ 14 w 41"/>
                  <a:gd name="T55" fmla="*/ 56 h 65"/>
                  <a:gd name="T56" fmla="*/ 11 w 41"/>
                  <a:gd name="T57" fmla="*/ 60 h 65"/>
                  <a:gd name="T58" fmla="*/ 9 w 41"/>
                  <a:gd name="T59" fmla="*/ 61 h 65"/>
                  <a:gd name="T60" fmla="*/ 6 w 41"/>
                  <a:gd name="T61" fmla="*/ 60 h 65"/>
                  <a:gd name="T62" fmla="*/ 5 w 41"/>
                  <a:gd name="T63" fmla="*/ 60 h 65"/>
                  <a:gd name="T64" fmla="*/ 5 w 41"/>
                  <a:gd name="T65" fmla="*/ 60 h 65"/>
                  <a:gd name="T66" fmla="*/ 5 w 41"/>
                  <a:gd name="T67" fmla="*/ 60 h 65"/>
                  <a:gd name="T68" fmla="*/ 5 w 41"/>
                  <a:gd name="T69" fmla="*/ 60 h 65"/>
                  <a:gd name="T70" fmla="*/ 5 w 41"/>
                  <a:gd name="T71" fmla="*/ 60 h 65"/>
                  <a:gd name="T72" fmla="*/ 0 w 41"/>
                  <a:gd name="T73" fmla="*/ 61 h 65"/>
                  <a:gd name="T74" fmla="*/ 0 w 41"/>
                  <a:gd name="T75" fmla="*/ 61 h 65"/>
                  <a:gd name="T76" fmla="*/ 4 w 41"/>
                  <a:gd name="T77" fmla="*/ 63 h 65"/>
                  <a:gd name="T78" fmla="*/ 9 w 41"/>
                  <a:gd name="T79" fmla="*/ 65 h 65"/>
                  <a:gd name="T80" fmla="*/ 13 w 41"/>
                  <a:gd name="T81" fmla="*/ 63 h 65"/>
                  <a:gd name="T82" fmla="*/ 18 w 41"/>
                  <a:gd name="T83" fmla="*/ 56 h 65"/>
                  <a:gd name="T84" fmla="*/ 18 w 41"/>
                  <a:gd name="T85" fmla="*/ 53 h 65"/>
                  <a:gd name="T86" fmla="*/ 18 w 41"/>
                  <a:gd name="T87" fmla="*/ 50 h 65"/>
                  <a:gd name="T88" fmla="*/ 18 w 41"/>
                  <a:gd name="T89" fmla="*/ 42 h 65"/>
                  <a:gd name="T90" fmla="*/ 18 w 41"/>
                  <a:gd name="T91" fmla="*/ 25 h 65"/>
                  <a:gd name="T92" fmla="*/ 18 w 41"/>
                  <a:gd name="T93" fmla="*/ 17 h 65"/>
                  <a:gd name="T94" fmla="*/ 18 w 41"/>
                  <a:gd name="T95" fmla="*/ 12 h 65"/>
                  <a:gd name="T96" fmla="*/ 21 w 41"/>
                  <a:gd name="T97" fmla="*/ 2 h 65"/>
                  <a:gd name="T98" fmla="*/ 17 w 41"/>
                  <a:gd name="T9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1" h="65">
                    <a:moveTo>
                      <a:pt x="37" y="28"/>
                    </a:moveTo>
                    <a:cubicBezTo>
                      <a:pt x="37" y="42"/>
                      <a:pt x="37" y="42"/>
                      <a:pt x="37" y="42"/>
                    </a:cubicBezTo>
                    <a:cubicBezTo>
                      <a:pt x="37" y="44"/>
                      <a:pt x="36" y="46"/>
                      <a:pt x="35" y="47"/>
                    </a:cubicBezTo>
                    <a:cubicBezTo>
                      <a:pt x="34" y="47"/>
                      <a:pt x="33" y="47"/>
                      <a:pt x="32" y="47"/>
                    </a:cubicBezTo>
                    <a:cubicBezTo>
                      <a:pt x="32" y="47"/>
                      <a:pt x="32" y="47"/>
                      <a:pt x="32" y="47"/>
                    </a:cubicBezTo>
                    <a:cubicBezTo>
                      <a:pt x="31" y="47"/>
                      <a:pt x="30" y="47"/>
                      <a:pt x="30" y="47"/>
                    </a:cubicBezTo>
                    <a:cubicBezTo>
                      <a:pt x="29" y="46"/>
                      <a:pt x="29" y="46"/>
                      <a:pt x="29" y="46"/>
                    </a:cubicBezTo>
                    <a:cubicBezTo>
                      <a:pt x="29" y="46"/>
                      <a:pt x="29" y="46"/>
                      <a:pt x="29" y="46"/>
                    </a:cubicBezTo>
                    <a:cubicBezTo>
                      <a:pt x="27" y="47"/>
                      <a:pt x="27" y="47"/>
                      <a:pt x="27" y="47"/>
                    </a:cubicBezTo>
                    <a:cubicBezTo>
                      <a:pt x="25" y="49"/>
                      <a:pt x="25" y="49"/>
                      <a:pt x="25" y="49"/>
                    </a:cubicBezTo>
                    <a:cubicBezTo>
                      <a:pt x="27" y="50"/>
                      <a:pt x="27" y="50"/>
                      <a:pt x="27" y="50"/>
                    </a:cubicBezTo>
                    <a:cubicBezTo>
                      <a:pt x="28" y="50"/>
                      <a:pt x="28" y="50"/>
                      <a:pt x="28" y="50"/>
                    </a:cubicBezTo>
                    <a:cubicBezTo>
                      <a:pt x="29" y="51"/>
                      <a:pt x="31" y="51"/>
                      <a:pt x="32" y="51"/>
                    </a:cubicBezTo>
                    <a:cubicBezTo>
                      <a:pt x="32" y="51"/>
                      <a:pt x="32" y="51"/>
                      <a:pt x="32" y="51"/>
                    </a:cubicBezTo>
                    <a:cubicBezTo>
                      <a:pt x="34" y="51"/>
                      <a:pt x="35" y="51"/>
                      <a:pt x="37" y="50"/>
                    </a:cubicBezTo>
                    <a:cubicBezTo>
                      <a:pt x="39" y="48"/>
                      <a:pt x="41" y="45"/>
                      <a:pt x="41" y="42"/>
                    </a:cubicBezTo>
                    <a:cubicBezTo>
                      <a:pt x="41" y="28"/>
                      <a:pt x="41" y="28"/>
                      <a:pt x="41" y="28"/>
                    </a:cubicBezTo>
                    <a:cubicBezTo>
                      <a:pt x="41" y="28"/>
                      <a:pt x="40" y="28"/>
                      <a:pt x="40" y="28"/>
                    </a:cubicBezTo>
                    <a:cubicBezTo>
                      <a:pt x="40" y="28"/>
                      <a:pt x="40" y="28"/>
                      <a:pt x="40" y="28"/>
                    </a:cubicBezTo>
                    <a:cubicBezTo>
                      <a:pt x="39" y="28"/>
                      <a:pt x="38" y="28"/>
                      <a:pt x="37" y="28"/>
                    </a:cubicBezTo>
                    <a:moveTo>
                      <a:pt x="17" y="0"/>
                    </a:moveTo>
                    <a:cubicBezTo>
                      <a:pt x="15" y="4"/>
                      <a:pt x="14" y="8"/>
                      <a:pt x="14" y="12"/>
                    </a:cubicBezTo>
                    <a:cubicBezTo>
                      <a:pt x="14" y="19"/>
                      <a:pt x="14" y="19"/>
                      <a:pt x="14" y="19"/>
                    </a:cubicBezTo>
                    <a:cubicBezTo>
                      <a:pt x="14" y="27"/>
                      <a:pt x="14" y="27"/>
                      <a:pt x="14" y="27"/>
                    </a:cubicBezTo>
                    <a:cubicBezTo>
                      <a:pt x="14" y="44"/>
                      <a:pt x="14" y="44"/>
                      <a:pt x="14" y="44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4" y="55"/>
                      <a:pt x="14" y="55"/>
                      <a:pt x="14" y="55"/>
                    </a:cubicBezTo>
                    <a:cubicBezTo>
                      <a:pt x="14" y="56"/>
                      <a:pt x="14" y="56"/>
                      <a:pt x="14" y="56"/>
                    </a:cubicBezTo>
                    <a:cubicBezTo>
                      <a:pt x="14" y="57"/>
                      <a:pt x="13" y="59"/>
                      <a:pt x="11" y="60"/>
                    </a:cubicBezTo>
                    <a:cubicBezTo>
                      <a:pt x="10" y="61"/>
                      <a:pt x="9" y="61"/>
                      <a:pt x="9" y="61"/>
                    </a:cubicBezTo>
                    <a:cubicBezTo>
                      <a:pt x="8" y="61"/>
                      <a:pt x="7" y="61"/>
                      <a:pt x="6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2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6" y="64"/>
                      <a:pt x="7" y="65"/>
                      <a:pt x="9" y="65"/>
                    </a:cubicBezTo>
                    <a:cubicBezTo>
                      <a:pt x="10" y="65"/>
                      <a:pt x="12" y="64"/>
                      <a:pt x="13" y="63"/>
                    </a:cubicBezTo>
                    <a:cubicBezTo>
                      <a:pt x="16" y="62"/>
                      <a:pt x="18" y="59"/>
                      <a:pt x="18" y="56"/>
                    </a:cubicBezTo>
                    <a:cubicBezTo>
                      <a:pt x="18" y="53"/>
                      <a:pt x="18" y="53"/>
                      <a:pt x="18" y="53"/>
                    </a:cubicBezTo>
                    <a:cubicBezTo>
                      <a:pt x="18" y="50"/>
                      <a:pt x="18" y="50"/>
                      <a:pt x="18" y="50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8" y="9"/>
                      <a:pt x="19" y="5"/>
                      <a:pt x="21" y="2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4" name="任意多边形: 形状 263">
                <a:extLst>
                  <a:ext uri="{FF2B5EF4-FFF2-40B4-BE49-F238E27FC236}">
                    <a16:creationId xmlns:a16="http://schemas.microsoft.com/office/drawing/2014/main" id="{2E1DBB5A-DA0E-4365-A567-F14B4D21750A}"/>
                  </a:ext>
                </a:extLst>
              </p:cNvPr>
              <p:cNvSpPr/>
              <p:nvPr/>
            </p:nvSpPr>
            <p:spPr bwMode="auto">
              <a:xfrm>
                <a:off x="5867177" y="3716019"/>
                <a:ext cx="21163" cy="15872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3 h 3"/>
                  <a:gd name="T4" fmla="*/ 3 w 4"/>
                  <a:gd name="T5" fmla="*/ 3 h 3"/>
                  <a:gd name="T6" fmla="*/ 3 w 4"/>
                  <a:gd name="T7" fmla="*/ 3 h 3"/>
                  <a:gd name="T8" fmla="*/ 4 w 4"/>
                  <a:gd name="T9" fmla="*/ 3 h 3"/>
                  <a:gd name="T10" fmla="*/ 4 w 4"/>
                  <a:gd name="T11" fmla="*/ 1 h 3"/>
                  <a:gd name="T12" fmla="*/ 3 w 4"/>
                  <a:gd name="T13" fmla="*/ 1 h 3"/>
                  <a:gd name="T14" fmla="*/ 3 w 4"/>
                  <a:gd name="T15" fmla="*/ 1 h 3"/>
                  <a:gd name="T16" fmla="*/ 0 w 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0" y="3"/>
                      <a:pt x="0" y="3"/>
                      <a:pt x="0" y="3"/>
                    </a:cubicBezTo>
                    <a:cubicBezTo>
                      <a:pt x="1" y="3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1" y="1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5" name="任意多边形: 形状 264">
                <a:extLst>
                  <a:ext uri="{FF2B5EF4-FFF2-40B4-BE49-F238E27FC236}">
                    <a16:creationId xmlns:a16="http://schemas.microsoft.com/office/drawing/2014/main" id="{B5963AAD-4CB1-44A8-B958-3F487D329639}"/>
                  </a:ext>
                </a:extLst>
              </p:cNvPr>
              <p:cNvSpPr/>
              <p:nvPr/>
            </p:nvSpPr>
            <p:spPr bwMode="auto">
              <a:xfrm>
                <a:off x="5867177" y="3708084"/>
                <a:ext cx="21163" cy="13228"/>
              </a:xfrm>
              <a:custGeom>
                <a:avLst/>
                <a:gdLst>
                  <a:gd name="T0" fmla="*/ 0 w 4"/>
                  <a:gd name="T1" fmla="*/ 0 h 2"/>
                  <a:gd name="T2" fmla="*/ 0 w 4"/>
                  <a:gd name="T3" fmla="*/ 1 h 2"/>
                  <a:gd name="T4" fmla="*/ 3 w 4"/>
                  <a:gd name="T5" fmla="*/ 2 h 2"/>
                  <a:gd name="T6" fmla="*/ 3 w 4"/>
                  <a:gd name="T7" fmla="*/ 2 h 2"/>
                  <a:gd name="T8" fmla="*/ 4 w 4"/>
                  <a:gd name="T9" fmla="*/ 2 h 2"/>
                  <a:gd name="T10" fmla="*/ 4 w 4"/>
                  <a:gd name="T11" fmla="*/ 1 h 2"/>
                  <a:gd name="T12" fmla="*/ 3 w 4"/>
                  <a:gd name="T13" fmla="*/ 1 h 2"/>
                  <a:gd name="T14" fmla="*/ 3 w 4"/>
                  <a:gd name="T15" fmla="*/ 1 h 2"/>
                  <a:gd name="T16" fmla="*/ 0 w 4"/>
                  <a:gd name="T1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2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2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3" y="2"/>
                      <a:pt x="4" y="2"/>
                      <a:pt x="4" y="2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4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2" y="1"/>
                      <a:pt x="1" y="1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6" name="任意多边形: 形状 265">
                <a:extLst>
                  <a:ext uri="{FF2B5EF4-FFF2-40B4-BE49-F238E27FC236}">
                    <a16:creationId xmlns:a16="http://schemas.microsoft.com/office/drawing/2014/main" id="{0DF80E17-64E4-4E2C-8E44-AE042D5DE868}"/>
                  </a:ext>
                </a:extLst>
              </p:cNvPr>
              <p:cNvSpPr/>
              <p:nvPr/>
            </p:nvSpPr>
            <p:spPr bwMode="auto">
              <a:xfrm>
                <a:off x="5861886" y="3528200"/>
                <a:ext cx="26453" cy="187820"/>
              </a:xfrm>
              <a:custGeom>
                <a:avLst/>
                <a:gdLst>
                  <a:gd name="T0" fmla="*/ 0 w 5"/>
                  <a:gd name="T1" fmla="*/ 0 h 34"/>
                  <a:gd name="T2" fmla="*/ 0 w 5"/>
                  <a:gd name="T3" fmla="*/ 5 h 34"/>
                  <a:gd name="T4" fmla="*/ 1 w 5"/>
                  <a:gd name="T5" fmla="*/ 8 h 34"/>
                  <a:gd name="T6" fmla="*/ 1 w 5"/>
                  <a:gd name="T7" fmla="*/ 14 h 34"/>
                  <a:gd name="T8" fmla="*/ 1 w 5"/>
                  <a:gd name="T9" fmla="*/ 33 h 34"/>
                  <a:gd name="T10" fmla="*/ 4 w 5"/>
                  <a:gd name="T11" fmla="*/ 34 h 34"/>
                  <a:gd name="T12" fmla="*/ 4 w 5"/>
                  <a:gd name="T13" fmla="*/ 34 h 34"/>
                  <a:gd name="T14" fmla="*/ 5 w 5"/>
                  <a:gd name="T15" fmla="*/ 34 h 34"/>
                  <a:gd name="T16" fmla="*/ 5 w 5"/>
                  <a:gd name="T17" fmla="*/ 12 h 34"/>
                  <a:gd name="T18" fmla="*/ 5 w 5"/>
                  <a:gd name="T19" fmla="*/ 8 h 34"/>
                  <a:gd name="T20" fmla="*/ 1 w 5"/>
                  <a:gd name="T21" fmla="*/ 0 h 34"/>
                  <a:gd name="T22" fmla="*/ 0 w 5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34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7"/>
                      <a:pt x="1" y="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33"/>
                      <a:pt x="1" y="33"/>
                      <a:pt x="1" y="33"/>
                    </a:cubicBezTo>
                    <a:cubicBezTo>
                      <a:pt x="2" y="34"/>
                      <a:pt x="3" y="34"/>
                      <a:pt x="4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4"/>
                      <a:pt x="5" y="34"/>
                      <a:pt x="5" y="34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4"/>
                      <a:pt x="3" y="2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7" name="任意多边形: 形状 266">
                <a:extLst>
                  <a:ext uri="{FF2B5EF4-FFF2-40B4-BE49-F238E27FC236}">
                    <a16:creationId xmlns:a16="http://schemas.microsoft.com/office/drawing/2014/main" id="{1C6AB371-1271-4023-874C-7DF4088742DC}"/>
                  </a:ext>
                </a:extLst>
              </p:cNvPr>
              <p:cNvSpPr/>
              <p:nvPr/>
            </p:nvSpPr>
            <p:spPr bwMode="auto">
              <a:xfrm>
                <a:off x="5428050" y="3538781"/>
                <a:ext cx="97879" cy="66134"/>
              </a:xfrm>
              <a:custGeom>
                <a:avLst/>
                <a:gdLst>
                  <a:gd name="T0" fmla="*/ 11 w 18"/>
                  <a:gd name="T1" fmla="*/ 0 h 12"/>
                  <a:gd name="T2" fmla="*/ 10 w 18"/>
                  <a:gd name="T3" fmla="*/ 0 h 12"/>
                  <a:gd name="T4" fmla="*/ 2 w 18"/>
                  <a:gd name="T5" fmla="*/ 4 h 12"/>
                  <a:gd name="T6" fmla="*/ 0 w 18"/>
                  <a:gd name="T7" fmla="*/ 11 h 12"/>
                  <a:gd name="T8" fmla="*/ 0 w 18"/>
                  <a:gd name="T9" fmla="*/ 12 h 12"/>
                  <a:gd name="T10" fmla="*/ 18 w 18"/>
                  <a:gd name="T11" fmla="*/ 1 h 12"/>
                  <a:gd name="T12" fmla="*/ 16 w 18"/>
                  <a:gd name="T13" fmla="*/ 1 h 12"/>
                  <a:gd name="T14" fmla="*/ 11 w 18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1" y="0"/>
                    </a:moveTo>
                    <a:cubicBezTo>
                      <a:pt x="11" y="0"/>
                      <a:pt x="10" y="0"/>
                      <a:pt x="10" y="0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1" y="6"/>
                      <a:pt x="0" y="9"/>
                      <a:pt x="0" y="11"/>
                    </a:cubicBezTo>
                    <a:cubicBezTo>
                      <a:pt x="0" y="11"/>
                      <a:pt x="0" y="12"/>
                      <a:pt x="0" y="12"/>
                    </a:cubicBezTo>
                    <a:cubicBezTo>
                      <a:pt x="18" y="1"/>
                      <a:pt x="18" y="1"/>
                      <a:pt x="18" y="1"/>
                    </a:cubicBezTo>
                    <a:cubicBezTo>
                      <a:pt x="17" y="1"/>
                      <a:pt x="16" y="1"/>
                      <a:pt x="16" y="1"/>
                    </a:cubicBezTo>
                    <a:cubicBezTo>
                      <a:pt x="14" y="0"/>
                      <a:pt x="13" y="0"/>
                      <a:pt x="11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8" name="任意多边形: 形状 267">
                <a:extLst>
                  <a:ext uri="{FF2B5EF4-FFF2-40B4-BE49-F238E27FC236}">
                    <a16:creationId xmlns:a16="http://schemas.microsoft.com/office/drawing/2014/main" id="{19342310-3A5B-44DA-AF44-21AA74401990}"/>
                  </a:ext>
                </a:extLst>
              </p:cNvPr>
              <p:cNvSpPr/>
              <p:nvPr/>
            </p:nvSpPr>
            <p:spPr bwMode="auto">
              <a:xfrm>
                <a:off x="5438631" y="3538781"/>
                <a:ext cx="44972" cy="21163"/>
              </a:xfrm>
              <a:custGeom>
                <a:avLst/>
                <a:gdLst>
                  <a:gd name="T0" fmla="*/ 8 w 8"/>
                  <a:gd name="T1" fmla="*/ 0 h 4"/>
                  <a:gd name="T2" fmla="*/ 0 w 8"/>
                  <a:gd name="T3" fmla="*/ 4 h 4"/>
                  <a:gd name="T4" fmla="*/ 8 w 8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cubicBezTo>
                      <a:pt x="5" y="1"/>
                      <a:pt x="2" y="2"/>
                      <a:pt x="0" y="4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9" name="任意多边形: 形状 268">
                <a:extLst>
                  <a:ext uri="{FF2B5EF4-FFF2-40B4-BE49-F238E27FC236}">
                    <a16:creationId xmlns:a16="http://schemas.microsoft.com/office/drawing/2014/main" id="{6350720B-86CB-46CD-A1FE-E8C3FB8797B8}"/>
                  </a:ext>
                </a:extLst>
              </p:cNvPr>
              <p:cNvSpPr/>
              <p:nvPr/>
            </p:nvSpPr>
            <p:spPr bwMode="auto">
              <a:xfrm>
                <a:off x="5311654" y="3594333"/>
                <a:ext cx="116395" cy="76716"/>
              </a:xfrm>
              <a:custGeom>
                <a:avLst/>
                <a:gdLst>
                  <a:gd name="T0" fmla="*/ 15 w 21"/>
                  <a:gd name="T1" fmla="*/ 0 h 14"/>
                  <a:gd name="T2" fmla="*/ 13 w 21"/>
                  <a:gd name="T3" fmla="*/ 0 h 14"/>
                  <a:gd name="T4" fmla="*/ 1 w 21"/>
                  <a:gd name="T5" fmla="*/ 7 h 14"/>
                  <a:gd name="T6" fmla="*/ 0 w 21"/>
                  <a:gd name="T7" fmla="*/ 12 h 14"/>
                  <a:gd name="T8" fmla="*/ 0 w 21"/>
                  <a:gd name="T9" fmla="*/ 14 h 14"/>
                  <a:gd name="T10" fmla="*/ 21 w 21"/>
                  <a:gd name="T11" fmla="*/ 2 h 14"/>
                  <a:gd name="T12" fmla="*/ 21 w 21"/>
                  <a:gd name="T13" fmla="*/ 1 h 14"/>
                  <a:gd name="T14" fmla="*/ 20 w 21"/>
                  <a:gd name="T15" fmla="*/ 1 h 14"/>
                  <a:gd name="T16" fmla="*/ 15 w 21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4">
                    <a:moveTo>
                      <a:pt x="15" y="0"/>
                    </a:moveTo>
                    <a:cubicBezTo>
                      <a:pt x="14" y="0"/>
                      <a:pt x="14" y="0"/>
                      <a:pt x="13" y="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0" y="10"/>
                      <a:pt x="0" y="12"/>
                    </a:cubicBezTo>
                    <a:cubicBezTo>
                      <a:pt x="0" y="12"/>
                      <a:pt x="0" y="13"/>
                      <a:pt x="0" y="14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1"/>
                      <a:pt x="21" y="1"/>
                    </a:cubicBezTo>
                    <a:cubicBezTo>
                      <a:pt x="20" y="1"/>
                      <a:pt x="20" y="1"/>
                      <a:pt x="20" y="1"/>
                    </a:cubicBezTo>
                    <a:cubicBezTo>
                      <a:pt x="18" y="0"/>
                      <a:pt x="17" y="0"/>
                      <a:pt x="15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0" name="任意多边形: 形状 269">
                <a:extLst>
                  <a:ext uri="{FF2B5EF4-FFF2-40B4-BE49-F238E27FC236}">
                    <a16:creationId xmlns:a16="http://schemas.microsoft.com/office/drawing/2014/main" id="{D1732C28-B21F-4925-B50D-C387692146C8}"/>
                  </a:ext>
                </a:extLst>
              </p:cNvPr>
              <p:cNvSpPr/>
              <p:nvPr/>
            </p:nvSpPr>
            <p:spPr bwMode="auto">
              <a:xfrm>
                <a:off x="5316945" y="3594333"/>
                <a:ext cx="66135" cy="37035"/>
              </a:xfrm>
              <a:custGeom>
                <a:avLst/>
                <a:gdLst>
                  <a:gd name="T0" fmla="*/ 12 w 12"/>
                  <a:gd name="T1" fmla="*/ 0 h 7"/>
                  <a:gd name="T2" fmla="*/ 0 w 12"/>
                  <a:gd name="T3" fmla="*/ 7 h 7"/>
                  <a:gd name="T4" fmla="*/ 12 w 12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cubicBezTo>
                      <a:pt x="8" y="0"/>
                      <a:pt x="3" y="2"/>
                      <a:pt x="0" y="7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1" name="任意多边形: 形状 270">
                <a:extLst>
                  <a:ext uri="{FF2B5EF4-FFF2-40B4-BE49-F238E27FC236}">
                    <a16:creationId xmlns:a16="http://schemas.microsoft.com/office/drawing/2014/main" id="{FF016A43-EC8C-4A9A-ADCA-E84FF515F5F9}"/>
                  </a:ext>
                </a:extLst>
              </p:cNvPr>
              <p:cNvSpPr/>
              <p:nvPr/>
            </p:nvSpPr>
            <p:spPr bwMode="auto">
              <a:xfrm>
                <a:off x="4219125" y="4639246"/>
                <a:ext cx="47616" cy="26453"/>
              </a:xfrm>
              <a:custGeom>
                <a:avLst/>
                <a:gdLst>
                  <a:gd name="T0" fmla="*/ 4 w 9"/>
                  <a:gd name="T1" fmla="*/ 5 h 5"/>
                  <a:gd name="T2" fmla="*/ 9 w 9"/>
                  <a:gd name="T3" fmla="*/ 2 h 5"/>
                  <a:gd name="T4" fmla="*/ 9 w 9"/>
                  <a:gd name="T5" fmla="*/ 0 h 5"/>
                  <a:gd name="T6" fmla="*/ 0 w 9"/>
                  <a:gd name="T7" fmla="*/ 0 h 5"/>
                  <a:gd name="T8" fmla="*/ 0 w 9"/>
                  <a:gd name="T9" fmla="*/ 2 h 5"/>
                  <a:gd name="T10" fmla="*/ 4 w 9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5">
                    <a:moveTo>
                      <a:pt x="4" y="5"/>
                    </a:moveTo>
                    <a:cubicBezTo>
                      <a:pt x="7" y="5"/>
                      <a:pt x="9" y="3"/>
                      <a:pt x="9" y="2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2" y="5"/>
                      <a:pt x="4" y="5"/>
                    </a:cubicBezTo>
                    <a:close/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2" name="椭圆 271">
                <a:extLst>
                  <a:ext uri="{FF2B5EF4-FFF2-40B4-BE49-F238E27FC236}">
                    <a16:creationId xmlns:a16="http://schemas.microsoft.com/office/drawing/2014/main" id="{7D5C4D57-F8EA-4412-A1AB-0A7FFA252B2E}"/>
                  </a:ext>
                </a:extLst>
              </p:cNvPr>
              <p:cNvSpPr/>
              <p:nvPr/>
            </p:nvSpPr>
            <p:spPr bwMode="auto">
              <a:xfrm>
                <a:off x="4219125" y="4620727"/>
                <a:ext cx="47616" cy="29100"/>
              </a:xfrm>
              <a:prstGeom prst="ellipse">
                <a:avLst/>
              </a:pr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3" name="任意多边形: 形状 272">
                <a:extLst>
                  <a:ext uri="{FF2B5EF4-FFF2-40B4-BE49-F238E27FC236}">
                    <a16:creationId xmlns:a16="http://schemas.microsoft.com/office/drawing/2014/main" id="{14212086-DB22-4CE1-8DA6-2DE7D16D0348}"/>
                  </a:ext>
                </a:extLst>
              </p:cNvPr>
              <p:cNvSpPr/>
              <p:nvPr/>
            </p:nvSpPr>
            <p:spPr bwMode="auto">
              <a:xfrm>
                <a:off x="4224416" y="4205409"/>
                <a:ext cx="37035" cy="444418"/>
              </a:xfrm>
              <a:custGeom>
                <a:avLst/>
                <a:gdLst>
                  <a:gd name="T0" fmla="*/ 3 w 7"/>
                  <a:gd name="T1" fmla="*/ 81 h 81"/>
                  <a:gd name="T2" fmla="*/ 7 w 7"/>
                  <a:gd name="T3" fmla="*/ 78 h 81"/>
                  <a:gd name="T4" fmla="*/ 7 w 7"/>
                  <a:gd name="T5" fmla="*/ 0 h 81"/>
                  <a:gd name="T6" fmla="*/ 0 w 7"/>
                  <a:gd name="T7" fmla="*/ 1 h 81"/>
                  <a:gd name="T8" fmla="*/ 0 w 7"/>
                  <a:gd name="T9" fmla="*/ 78 h 81"/>
                  <a:gd name="T10" fmla="*/ 3 w 7"/>
                  <a:gd name="T1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1">
                    <a:moveTo>
                      <a:pt x="3" y="81"/>
                    </a:moveTo>
                    <a:cubicBezTo>
                      <a:pt x="5" y="80"/>
                      <a:pt x="7" y="79"/>
                      <a:pt x="7" y="78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0"/>
                      <a:pt x="1" y="81"/>
                      <a:pt x="3" y="81"/>
                    </a:cubicBezTo>
                    <a:close/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4" name="任意多边形: 形状 273">
                <a:extLst>
                  <a:ext uri="{FF2B5EF4-FFF2-40B4-BE49-F238E27FC236}">
                    <a16:creationId xmlns:a16="http://schemas.microsoft.com/office/drawing/2014/main" id="{D4ABAD46-5604-40BD-959F-5B6ED7AB611F}"/>
                  </a:ext>
                </a:extLst>
              </p:cNvPr>
              <p:cNvSpPr/>
              <p:nvPr/>
            </p:nvSpPr>
            <p:spPr bwMode="auto">
              <a:xfrm>
                <a:off x="4224416" y="4192181"/>
                <a:ext cx="37035" cy="29100"/>
              </a:xfrm>
              <a:custGeom>
                <a:avLst/>
                <a:gdLst>
                  <a:gd name="T0" fmla="*/ 3 w 7"/>
                  <a:gd name="T1" fmla="*/ 0 h 5"/>
                  <a:gd name="T2" fmla="*/ 0 w 7"/>
                  <a:gd name="T3" fmla="*/ 3 h 5"/>
                  <a:gd name="T4" fmla="*/ 3 w 7"/>
                  <a:gd name="T5" fmla="*/ 5 h 5"/>
                  <a:gd name="T6" fmla="*/ 7 w 7"/>
                  <a:gd name="T7" fmla="*/ 2 h 5"/>
                  <a:gd name="T8" fmla="*/ 3 w 7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3" y="0"/>
                    </a:moveTo>
                    <a:cubicBezTo>
                      <a:pt x="1" y="0"/>
                      <a:pt x="0" y="1"/>
                      <a:pt x="0" y="3"/>
                    </a:cubicBezTo>
                    <a:cubicBezTo>
                      <a:pt x="0" y="4"/>
                      <a:pt x="1" y="5"/>
                      <a:pt x="3" y="5"/>
                    </a:cubicBezTo>
                    <a:cubicBezTo>
                      <a:pt x="5" y="5"/>
                      <a:pt x="7" y="4"/>
                      <a:pt x="7" y="2"/>
                    </a:cubicBezTo>
                    <a:cubicBezTo>
                      <a:pt x="7" y="1"/>
                      <a:pt x="5" y="0"/>
                      <a:pt x="3" y="0"/>
                    </a:cubicBezTo>
                    <a:close/>
                  </a:path>
                </a:pathLst>
              </a:cu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5" name="任意多边形: 形状 274">
                <a:extLst>
                  <a:ext uri="{FF2B5EF4-FFF2-40B4-BE49-F238E27FC236}">
                    <a16:creationId xmlns:a16="http://schemas.microsoft.com/office/drawing/2014/main" id="{85610023-BC2F-4C2B-9D4F-9B9FE167C880}"/>
                  </a:ext>
                </a:extLst>
              </p:cNvPr>
              <p:cNvSpPr/>
              <p:nvPr/>
            </p:nvSpPr>
            <p:spPr bwMode="auto">
              <a:xfrm>
                <a:off x="4949241" y="4221281"/>
                <a:ext cx="44972" cy="31744"/>
              </a:xfrm>
              <a:custGeom>
                <a:avLst/>
                <a:gdLst>
                  <a:gd name="T0" fmla="*/ 4 w 8"/>
                  <a:gd name="T1" fmla="*/ 6 h 6"/>
                  <a:gd name="T2" fmla="*/ 8 w 8"/>
                  <a:gd name="T3" fmla="*/ 3 h 6"/>
                  <a:gd name="T4" fmla="*/ 8 w 8"/>
                  <a:gd name="T5" fmla="*/ 0 h 6"/>
                  <a:gd name="T6" fmla="*/ 0 w 8"/>
                  <a:gd name="T7" fmla="*/ 1 h 6"/>
                  <a:gd name="T8" fmla="*/ 0 w 8"/>
                  <a:gd name="T9" fmla="*/ 3 h 6"/>
                  <a:gd name="T10" fmla="*/ 4 w 8"/>
                  <a:gd name="T1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6">
                    <a:moveTo>
                      <a:pt x="4" y="6"/>
                    </a:moveTo>
                    <a:cubicBezTo>
                      <a:pt x="6" y="6"/>
                      <a:pt x="8" y="4"/>
                      <a:pt x="8" y="3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0" y="5"/>
                      <a:pt x="2" y="6"/>
                      <a:pt x="4" y="6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6" name="任意多边形: 形状 275">
                <a:extLst>
                  <a:ext uri="{FF2B5EF4-FFF2-40B4-BE49-F238E27FC236}">
                    <a16:creationId xmlns:a16="http://schemas.microsoft.com/office/drawing/2014/main" id="{54BD6E45-358F-48DD-9D59-C2DFAC2E1B42}"/>
                  </a:ext>
                </a:extLst>
              </p:cNvPr>
              <p:cNvSpPr/>
              <p:nvPr/>
            </p:nvSpPr>
            <p:spPr bwMode="auto">
              <a:xfrm>
                <a:off x="4949241" y="4210699"/>
                <a:ext cx="44972" cy="26453"/>
              </a:xfrm>
              <a:custGeom>
                <a:avLst/>
                <a:gdLst>
                  <a:gd name="T0" fmla="*/ 4 w 8"/>
                  <a:gd name="T1" fmla="*/ 0 h 5"/>
                  <a:gd name="T2" fmla="*/ 0 w 8"/>
                  <a:gd name="T3" fmla="*/ 3 h 5"/>
                  <a:gd name="T4" fmla="*/ 4 w 8"/>
                  <a:gd name="T5" fmla="*/ 5 h 5"/>
                  <a:gd name="T6" fmla="*/ 8 w 8"/>
                  <a:gd name="T7" fmla="*/ 2 h 5"/>
                  <a:gd name="T8" fmla="*/ 4 w 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4" y="5"/>
                    </a:cubicBezTo>
                    <a:cubicBezTo>
                      <a:pt x="6" y="5"/>
                      <a:pt x="8" y="4"/>
                      <a:pt x="8" y="2"/>
                    </a:cubicBezTo>
                    <a:cubicBezTo>
                      <a:pt x="8" y="1"/>
                      <a:pt x="6" y="0"/>
                      <a:pt x="4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7" name="任意多边形: 形状 276">
                <a:extLst>
                  <a:ext uri="{FF2B5EF4-FFF2-40B4-BE49-F238E27FC236}">
                    <a16:creationId xmlns:a16="http://schemas.microsoft.com/office/drawing/2014/main" id="{388637AA-E150-430D-9D87-1C0C175903CF}"/>
                  </a:ext>
                </a:extLst>
              </p:cNvPr>
              <p:cNvSpPr/>
              <p:nvPr/>
            </p:nvSpPr>
            <p:spPr bwMode="auto">
              <a:xfrm>
                <a:off x="4949241" y="3792735"/>
                <a:ext cx="44972" cy="439128"/>
              </a:xfrm>
              <a:custGeom>
                <a:avLst/>
                <a:gdLst>
                  <a:gd name="T0" fmla="*/ 4 w 8"/>
                  <a:gd name="T1" fmla="*/ 80 h 80"/>
                  <a:gd name="T2" fmla="*/ 8 w 8"/>
                  <a:gd name="T3" fmla="*/ 78 h 80"/>
                  <a:gd name="T4" fmla="*/ 8 w 8"/>
                  <a:gd name="T5" fmla="*/ 0 h 80"/>
                  <a:gd name="T6" fmla="*/ 0 w 8"/>
                  <a:gd name="T7" fmla="*/ 1 h 80"/>
                  <a:gd name="T8" fmla="*/ 0 w 8"/>
                  <a:gd name="T9" fmla="*/ 78 h 80"/>
                  <a:gd name="T10" fmla="*/ 4 w 8"/>
                  <a:gd name="T1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80">
                    <a:moveTo>
                      <a:pt x="4" y="80"/>
                    </a:moveTo>
                    <a:cubicBezTo>
                      <a:pt x="6" y="80"/>
                      <a:pt x="8" y="79"/>
                      <a:pt x="8" y="78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79"/>
                      <a:pt x="2" y="80"/>
                      <a:pt x="4" y="8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8" name="任意多边形: 形状 277">
                <a:extLst>
                  <a:ext uri="{FF2B5EF4-FFF2-40B4-BE49-F238E27FC236}">
                    <a16:creationId xmlns:a16="http://schemas.microsoft.com/office/drawing/2014/main" id="{6254B827-9785-488E-A8DF-5C6C0BC68B5E}"/>
                  </a:ext>
                </a:extLst>
              </p:cNvPr>
              <p:cNvSpPr/>
              <p:nvPr/>
            </p:nvSpPr>
            <p:spPr bwMode="auto">
              <a:xfrm>
                <a:off x="4949241" y="3779507"/>
                <a:ext cx="44972" cy="29100"/>
              </a:xfrm>
              <a:custGeom>
                <a:avLst/>
                <a:gdLst>
                  <a:gd name="T0" fmla="*/ 4 w 8"/>
                  <a:gd name="T1" fmla="*/ 0 h 5"/>
                  <a:gd name="T2" fmla="*/ 0 w 8"/>
                  <a:gd name="T3" fmla="*/ 3 h 5"/>
                  <a:gd name="T4" fmla="*/ 4 w 8"/>
                  <a:gd name="T5" fmla="*/ 5 h 5"/>
                  <a:gd name="T6" fmla="*/ 8 w 8"/>
                  <a:gd name="T7" fmla="*/ 2 h 5"/>
                  <a:gd name="T8" fmla="*/ 4 w 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4" y="5"/>
                    </a:cubicBezTo>
                    <a:cubicBezTo>
                      <a:pt x="6" y="5"/>
                      <a:pt x="8" y="4"/>
                      <a:pt x="8" y="2"/>
                    </a:cubicBezTo>
                    <a:cubicBezTo>
                      <a:pt x="8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9" name="任意多边形: 形状 278">
                <a:extLst>
                  <a:ext uri="{FF2B5EF4-FFF2-40B4-BE49-F238E27FC236}">
                    <a16:creationId xmlns:a16="http://schemas.microsoft.com/office/drawing/2014/main" id="{0C1A11FF-C15E-484E-92F6-A7991A22BF6C}"/>
                  </a:ext>
                </a:extLst>
              </p:cNvPr>
              <p:cNvSpPr/>
              <p:nvPr/>
            </p:nvSpPr>
            <p:spPr bwMode="auto">
              <a:xfrm>
                <a:off x="3872586" y="4440844"/>
                <a:ext cx="42326" cy="26453"/>
              </a:xfrm>
              <a:custGeom>
                <a:avLst/>
                <a:gdLst>
                  <a:gd name="T0" fmla="*/ 4 w 8"/>
                  <a:gd name="T1" fmla="*/ 5 h 5"/>
                  <a:gd name="T2" fmla="*/ 8 w 8"/>
                  <a:gd name="T3" fmla="*/ 2 h 5"/>
                  <a:gd name="T4" fmla="*/ 8 w 8"/>
                  <a:gd name="T5" fmla="*/ 0 h 5"/>
                  <a:gd name="T6" fmla="*/ 0 w 8"/>
                  <a:gd name="T7" fmla="*/ 0 h 5"/>
                  <a:gd name="T8" fmla="*/ 0 w 8"/>
                  <a:gd name="T9" fmla="*/ 2 h 5"/>
                  <a:gd name="T10" fmla="*/ 4 w 8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4" y="5"/>
                    </a:moveTo>
                    <a:cubicBezTo>
                      <a:pt x="7" y="5"/>
                      <a:pt x="8" y="4"/>
                      <a:pt x="8" y="2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4"/>
                      <a:pt x="2" y="5"/>
                      <a:pt x="4" y="5"/>
                    </a:cubicBezTo>
                    <a:close/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0" name="任意多边形: 形状 279">
                <a:extLst>
                  <a:ext uri="{FF2B5EF4-FFF2-40B4-BE49-F238E27FC236}">
                    <a16:creationId xmlns:a16="http://schemas.microsoft.com/office/drawing/2014/main" id="{B06CE2B2-59B5-4D41-B5AE-700D742990B0}"/>
                  </a:ext>
                </a:extLst>
              </p:cNvPr>
              <p:cNvSpPr/>
              <p:nvPr/>
            </p:nvSpPr>
            <p:spPr bwMode="auto">
              <a:xfrm>
                <a:off x="3872586" y="4424972"/>
                <a:ext cx="42326" cy="26453"/>
              </a:xfrm>
              <a:custGeom>
                <a:avLst/>
                <a:gdLst>
                  <a:gd name="T0" fmla="*/ 4 w 8"/>
                  <a:gd name="T1" fmla="*/ 0 h 5"/>
                  <a:gd name="T2" fmla="*/ 0 w 8"/>
                  <a:gd name="T3" fmla="*/ 3 h 5"/>
                  <a:gd name="T4" fmla="*/ 4 w 8"/>
                  <a:gd name="T5" fmla="*/ 5 h 5"/>
                  <a:gd name="T6" fmla="*/ 8 w 8"/>
                  <a:gd name="T7" fmla="*/ 3 h 5"/>
                  <a:gd name="T8" fmla="*/ 4 w 8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4" y="0"/>
                    </a:moveTo>
                    <a:cubicBezTo>
                      <a:pt x="2" y="0"/>
                      <a:pt x="0" y="1"/>
                      <a:pt x="0" y="3"/>
                    </a:cubicBezTo>
                    <a:cubicBezTo>
                      <a:pt x="0" y="4"/>
                      <a:pt x="2" y="5"/>
                      <a:pt x="4" y="5"/>
                    </a:cubicBezTo>
                    <a:cubicBezTo>
                      <a:pt x="7" y="5"/>
                      <a:pt x="8" y="4"/>
                      <a:pt x="8" y="3"/>
                    </a:cubicBezTo>
                    <a:cubicBezTo>
                      <a:pt x="8" y="1"/>
                      <a:pt x="6" y="0"/>
                      <a:pt x="4" y="0"/>
                    </a:cubicBezTo>
                    <a:close/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1" name="任意多边形: 形状 280">
                <a:extLst>
                  <a:ext uri="{FF2B5EF4-FFF2-40B4-BE49-F238E27FC236}">
                    <a16:creationId xmlns:a16="http://schemas.microsoft.com/office/drawing/2014/main" id="{35987547-16B4-4089-A03A-DE65F249C06E}"/>
                  </a:ext>
                </a:extLst>
              </p:cNvPr>
              <p:cNvSpPr/>
              <p:nvPr/>
            </p:nvSpPr>
            <p:spPr bwMode="auto">
              <a:xfrm>
                <a:off x="3877876" y="4007007"/>
                <a:ext cx="37035" cy="444418"/>
              </a:xfrm>
              <a:custGeom>
                <a:avLst/>
                <a:gdLst>
                  <a:gd name="T0" fmla="*/ 3 w 7"/>
                  <a:gd name="T1" fmla="*/ 81 h 81"/>
                  <a:gd name="T2" fmla="*/ 7 w 7"/>
                  <a:gd name="T3" fmla="*/ 78 h 81"/>
                  <a:gd name="T4" fmla="*/ 7 w 7"/>
                  <a:gd name="T5" fmla="*/ 0 h 81"/>
                  <a:gd name="T6" fmla="*/ 0 w 7"/>
                  <a:gd name="T7" fmla="*/ 1 h 81"/>
                  <a:gd name="T8" fmla="*/ 0 w 7"/>
                  <a:gd name="T9" fmla="*/ 78 h 81"/>
                  <a:gd name="T10" fmla="*/ 3 w 7"/>
                  <a:gd name="T11" fmla="*/ 81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1">
                    <a:moveTo>
                      <a:pt x="3" y="81"/>
                    </a:moveTo>
                    <a:cubicBezTo>
                      <a:pt x="5" y="81"/>
                      <a:pt x="7" y="79"/>
                      <a:pt x="7" y="78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78"/>
                      <a:pt x="0" y="78"/>
                      <a:pt x="0" y="78"/>
                    </a:cubicBezTo>
                    <a:cubicBezTo>
                      <a:pt x="0" y="80"/>
                      <a:pt x="1" y="81"/>
                      <a:pt x="3" y="81"/>
                    </a:cubicBezTo>
                    <a:close/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2" name="椭圆 281">
                <a:extLst>
                  <a:ext uri="{FF2B5EF4-FFF2-40B4-BE49-F238E27FC236}">
                    <a16:creationId xmlns:a16="http://schemas.microsoft.com/office/drawing/2014/main" id="{38390FA6-C8B2-496A-8CFA-35107A0AB42E}"/>
                  </a:ext>
                </a:extLst>
              </p:cNvPr>
              <p:cNvSpPr/>
              <p:nvPr/>
            </p:nvSpPr>
            <p:spPr bwMode="auto">
              <a:xfrm>
                <a:off x="3877876" y="3996426"/>
                <a:ext cx="37035" cy="26453"/>
              </a:xfrm>
              <a:prstGeom prst="ellipse">
                <a:avLst/>
              </a:prstGeom>
              <a:solidFill>
                <a:srgbClr val="7D7D7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3" name="任意多边形: 形状 282">
                <a:extLst>
                  <a:ext uri="{FF2B5EF4-FFF2-40B4-BE49-F238E27FC236}">
                    <a16:creationId xmlns:a16="http://schemas.microsoft.com/office/drawing/2014/main" id="{C31C61D4-CE1C-4ACC-AC61-64E88E34DAC6}"/>
                  </a:ext>
                </a:extLst>
              </p:cNvPr>
              <p:cNvSpPr/>
              <p:nvPr/>
            </p:nvSpPr>
            <p:spPr bwMode="auto">
              <a:xfrm>
                <a:off x="3848777" y="3599624"/>
                <a:ext cx="1177180" cy="658692"/>
              </a:xfrm>
              <a:custGeom>
                <a:avLst/>
                <a:gdLst>
                  <a:gd name="T0" fmla="*/ 214 w 214"/>
                  <a:gd name="T1" fmla="*/ 35 h 120"/>
                  <a:gd name="T2" fmla="*/ 214 w 214"/>
                  <a:gd name="T3" fmla="*/ 35 h 120"/>
                  <a:gd name="T4" fmla="*/ 214 w 214"/>
                  <a:gd name="T5" fmla="*/ 29 h 120"/>
                  <a:gd name="T6" fmla="*/ 206 w 214"/>
                  <a:gd name="T7" fmla="*/ 35 h 120"/>
                  <a:gd name="T8" fmla="*/ 154 w 214"/>
                  <a:gd name="T9" fmla="*/ 5 h 120"/>
                  <a:gd name="T10" fmla="*/ 130 w 214"/>
                  <a:gd name="T11" fmla="*/ 5 h 120"/>
                  <a:gd name="T12" fmla="*/ 7 w 214"/>
                  <a:gd name="T13" fmla="*/ 76 h 120"/>
                  <a:gd name="T14" fmla="*/ 5 w 214"/>
                  <a:gd name="T15" fmla="*/ 71 h 120"/>
                  <a:gd name="T16" fmla="*/ 0 w 214"/>
                  <a:gd name="T17" fmla="*/ 69 h 120"/>
                  <a:gd name="T18" fmla="*/ 0 w 214"/>
                  <a:gd name="T19" fmla="*/ 75 h 120"/>
                  <a:gd name="T20" fmla="*/ 4 w 214"/>
                  <a:gd name="T21" fmla="*/ 83 h 120"/>
                  <a:gd name="T22" fmla="*/ 59 w 214"/>
                  <a:gd name="T23" fmla="*/ 114 h 120"/>
                  <a:gd name="T24" fmla="*/ 87 w 214"/>
                  <a:gd name="T25" fmla="*/ 114 h 120"/>
                  <a:gd name="T26" fmla="*/ 209 w 214"/>
                  <a:gd name="T27" fmla="*/ 44 h 120"/>
                  <a:gd name="T28" fmla="*/ 214 w 214"/>
                  <a:gd name="T29" fmla="*/ 35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14" h="120">
                    <a:moveTo>
                      <a:pt x="214" y="35"/>
                    </a:moveTo>
                    <a:cubicBezTo>
                      <a:pt x="214" y="35"/>
                      <a:pt x="214" y="35"/>
                      <a:pt x="214" y="35"/>
                    </a:cubicBezTo>
                    <a:cubicBezTo>
                      <a:pt x="214" y="29"/>
                      <a:pt x="214" y="29"/>
                      <a:pt x="214" y="29"/>
                    </a:cubicBezTo>
                    <a:cubicBezTo>
                      <a:pt x="206" y="35"/>
                      <a:pt x="206" y="35"/>
                      <a:pt x="206" y="35"/>
                    </a:cubicBezTo>
                    <a:cubicBezTo>
                      <a:pt x="154" y="5"/>
                      <a:pt x="154" y="5"/>
                      <a:pt x="154" y="5"/>
                    </a:cubicBezTo>
                    <a:cubicBezTo>
                      <a:pt x="147" y="0"/>
                      <a:pt x="137" y="0"/>
                      <a:pt x="130" y="5"/>
                    </a:cubicBezTo>
                    <a:cubicBezTo>
                      <a:pt x="7" y="76"/>
                      <a:pt x="7" y="76"/>
                      <a:pt x="7" y="76"/>
                    </a:cubicBezTo>
                    <a:cubicBezTo>
                      <a:pt x="6" y="73"/>
                      <a:pt x="5" y="71"/>
                      <a:pt x="5" y="71"/>
                    </a:cubicBezTo>
                    <a:cubicBezTo>
                      <a:pt x="5" y="71"/>
                      <a:pt x="0" y="69"/>
                      <a:pt x="0" y="69"/>
                    </a:cubicBezTo>
                    <a:cubicBezTo>
                      <a:pt x="0" y="75"/>
                      <a:pt x="0" y="75"/>
                      <a:pt x="0" y="75"/>
                    </a:cubicBezTo>
                    <a:cubicBezTo>
                      <a:pt x="0" y="78"/>
                      <a:pt x="1" y="81"/>
                      <a:pt x="4" y="83"/>
                    </a:cubicBezTo>
                    <a:cubicBezTo>
                      <a:pt x="59" y="114"/>
                      <a:pt x="59" y="114"/>
                      <a:pt x="59" y="114"/>
                    </a:cubicBezTo>
                    <a:cubicBezTo>
                      <a:pt x="68" y="120"/>
                      <a:pt x="79" y="120"/>
                      <a:pt x="87" y="114"/>
                    </a:cubicBezTo>
                    <a:cubicBezTo>
                      <a:pt x="209" y="44"/>
                      <a:pt x="209" y="44"/>
                      <a:pt x="209" y="44"/>
                    </a:cubicBezTo>
                    <a:cubicBezTo>
                      <a:pt x="213" y="42"/>
                      <a:pt x="214" y="38"/>
                      <a:pt x="214" y="35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4" name="任意多边形: 形状 283">
                <a:extLst>
                  <a:ext uri="{FF2B5EF4-FFF2-40B4-BE49-F238E27FC236}">
                    <a16:creationId xmlns:a16="http://schemas.microsoft.com/office/drawing/2014/main" id="{96639A39-861C-4AD9-AB2B-FFE935CE1120}"/>
                  </a:ext>
                </a:extLst>
              </p:cNvPr>
              <p:cNvSpPr/>
              <p:nvPr/>
            </p:nvSpPr>
            <p:spPr bwMode="auto">
              <a:xfrm>
                <a:off x="3838195" y="3512328"/>
                <a:ext cx="1198343" cy="708953"/>
              </a:xfrm>
              <a:custGeom>
                <a:avLst/>
                <a:gdLst>
                  <a:gd name="T0" fmla="*/ 6 w 218"/>
                  <a:gd name="T1" fmla="*/ 77 h 129"/>
                  <a:gd name="T2" fmla="*/ 132 w 218"/>
                  <a:gd name="T3" fmla="*/ 4 h 129"/>
                  <a:gd name="T4" fmla="*/ 156 w 218"/>
                  <a:gd name="T5" fmla="*/ 4 h 129"/>
                  <a:gd name="T6" fmla="*/ 211 w 218"/>
                  <a:gd name="T7" fmla="*/ 36 h 129"/>
                  <a:gd name="T8" fmla="*/ 211 w 218"/>
                  <a:gd name="T9" fmla="*/ 54 h 129"/>
                  <a:gd name="T10" fmla="*/ 89 w 218"/>
                  <a:gd name="T11" fmla="*/ 124 h 129"/>
                  <a:gd name="T12" fmla="*/ 61 w 218"/>
                  <a:gd name="T13" fmla="*/ 124 h 129"/>
                  <a:gd name="T14" fmla="*/ 6 w 218"/>
                  <a:gd name="T15" fmla="*/ 92 h 129"/>
                  <a:gd name="T16" fmla="*/ 6 w 218"/>
                  <a:gd name="T17" fmla="*/ 77 h 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8" h="129">
                    <a:moveTo>
                      <a:pt x="6" y="77"/>
                    </a:moveTo>
                    <a:cubicBezTo>
                      <a:pt x="132" y="4"/>
                      <a:pt x="132" y="4"/>
                      <a:pt x="132" y="4"/>
                    </a:cubicBezTo>
                    <a:cubicBezTo>
                      <a:pt x="139" y="0"/>
                      <a:pt x="149" y="0"/>
                      <a:pt x="156" y="4"/>
                    </a:cubicBezTo>
                    <a:cubicBezTo>
                      <a:pt x="211" y="36"/>
                      <a:pt x="211" y="36"/>
                      <a:pt x="211" y="36"/>
                    </a:cubicBezTo>
                    <a:cubicBezTo>
                      <a:pt x="218" y="40"/>
                      <a:pt x="218" y="50"/>
                      <a:pt x="211" y="54"/>
                    </a:cubicBezTo>
                    <a:cubicBezTo>
                      <a:pt x="89" y="124"/>
                      <a:pt x="89" y="124"/>
                      <a:pt x="89" y="124"/>
                    </a:cubicBezTo>
                    <a:cubicBezTo>
                      <a:pt x="81" y="129"/>
                      <a:pt x="70" y="129"/>
                      <a:pt x="61" y="124"/>
                    </a:cubicBezTo>
                    <a:cubicBezTo>
                      <a:pt x="6" y="92"/>
                      <a:pt x="6" y="92"/>
                      <a:pt x="6" y="92"/>
                    </a:cubicBezTo>
                    <a:cubicBezTo>
                      <a:pt x="0" y="89"/>
                      <a:pt x="0" y="81"/>
                      <a:pt x="6" y="77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5" name="任意多边形: 形状 284">
                <a:extLst>
                  <a:ext uri="{FF2B5EF4-FFF2-40B4-BE49-F238E27FC236}">
                    <a16:creationId xmlns:a16="http://schemas.microsoft.com/office/drawing/2014/main" id="{5F946582-7ED7-48DC-AE96-C7EF22BA7832}"/>
                  </a:ext>
                </a:extLst>
              </p:cNvPr>
              <p:cNvSpPr/>
              <p:nvPr/>
            </p:nvSpPr>
            <p:spPr bwMode="auto">
              <a:xfrm>
                <a:off x="4129183" y="3697502"/>
                <a:ext cx="566104" cy="304216"/>
              </a:xfrm>
              <a:custGeom>
                <a:avLst/>
                <a:gdLst>
                  <a:gd name="T0" fmla="*/ 96 w 103"/>
                  <a:gd name="T1" fmla="*/ 21 h 55"/>
                  <a:gd name="T2" fmla="*/ 96 w 103"/>
                  <a:gd name="T3" fmla="*/ 21 h 55"/>
                  <a:gd name="T4" fmla="*/ 60 w 103"/>
                  <a:gd name="T5" fmla="*/ 0 h 55"/>
                  <a:gd name="T6" fmla="*/ 8 w 103"/>
                  <a:gd name="T7" fmla="*/ 30 h 55"/>
                  <a:gd name="T8" fmla="*/ 0 w 103"/>
                  <a:gd name="T9" fmla="*/ 29 h 55"/>
                  <a:gd name="T10" fmla="*/ 0 w 103"/>
                  <a:gd name="T11" fmla="*/ 30 h 55"/>
                  <a:gd name="T12" fmla="*/ 43 w 103"/>
                  <a:gd name="T13" fmla="*/ 55 h 55"/>
                  <a:gd name="T14" fmla="*/ 72 w 103"/>
                  <a:gd name="T15" fmla="*/ 38 h 55"/>
                  <a:gd name="T16" fmla="*/ 78 w 103"/>
                  <a:gd name="T17" fmla="*/ 35 h 55"/>
                  <a:gd name="T18" fmla="*/ 103 w 103"/>
                  <a:gd name="T19" fmla="*/ 20 h 55"/>
                  <a:gd name="T20" fmla="*/ 103 w 103"/>
                  <a:gd name="T21" fmla="*/ 19 h 55"/>
                  <a:gd name="T22" fmla="*/ 96 w 103"/>
                  <a:gd name="T23" fmla="*/ 21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3" h="55">
                    <a:moveTo>
                      <a:pt x="96" y="21"/>
                    </a:moveTo>
                    <a:cubicBezTo>
                      <a:pt x="96" y="21"/>
                      <a:pt x="96" y="21"/>
                      <a:pt x="96" y="21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8" y="30"/>
                      <a:pt x="8" y="30"/>
                      <a:pt x="8" y="30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43" y="55"/>
                      <a:pt x="43" y="55"/>
                      <a:pt x="43" y="55"/>
                    </a:cubicBezTo>
                    <a:cubicBezTo>
                      <a:pt x="72" y="38"/>
                      <a:pt x="72" y="38"/>
                      <a:pt x="72" y="38"/>
                    </a:cubicBezTo>
                    <a:cubicBezTo>
                      <a:pt x="72" y="38"/>
                      <a:pt x="77" y="39"/>
                      <a:pt x="78" y="35"/>
                    </a:cubicBezTo>
                    <a:cubicBezTo>
                      <a:pt x="103" y="20"/>
                      <a:pt x="103" y="20"/>
                      <a:pt x="103" y="20"/>
                    </a:cubicBezTo>
                    <a:cubicBezTo>
                      <a:pt x="103" y="19"/>
                      <a:pt x="103" y="19"/>
                      <a:pt x="103" y="19"/>
                    </a:cubicBezTo>
                    <a:cubicBezTo>
                      <a:pt x="96" y="21"/>
                      <a:pt x="96" y="21"/>
                      <a:pt x="96" y="21"/>
                    </a:cubicBezTo>
                  </a:path>
                </a:pathLst>
              </a:custGeom>
              <a:solidFill>
                <a:srgbClr val="7D5C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6" name="任意多边形: 形状 285">
                <a:extLst>
                  <a:ext uri="{FF2B5EF4-FFF2-40B4-BE49-F238E27FC236}">
                    <a16:creationId xmlns:a16="http://schemas.microsoft.com/office/drawing/2014/main" id="{217FC04A-FFE2-4679-A7EA-93EC4BE8D2C3}"/>
                  </a:ext>
                </a:extLst>
              </p:cNvPr>
              <p:cNvSpPr/>
              <p:nvPr/>
            </p:nvSpPr>
            <p:spPr bwMode="auto">
              <a:xfrm>
                <a:off x="4129183" y="3665758"/>
                <a:ext cx="566104" cy="330669"/>
              </a:xfrm>
              <a:custGeom>
                <a:avLst/>
                <a:gdLst>
                  <a:gd name="T0" fmla="*/ 0 w 103"/>
                  <a:gd name="T1" fmla="*/ 35 h 60"/>
                  <a:gd name="T2" fmla="*/ 43 w 103"/>
                  <a:gd name="T3" fmla="*/ 60 h 60"/>
                  <a:gd name="T4" fmla="*/ 72 w 103"/>
                  <a:gd name="T5" fmla="*/ 43 h 60"/>
                  <a:gd name="T6" fmla="*/ 78 w 103"/>
                  <a:gd name="T7" fmla="*/ 40 h 60"/>
                  <a:gd name="T8" fmla="*/ 103 w 103"/>
                  <a:gd name="T9" fmla="*/ 25 h 60"/>
                  <a:gd name="T10" fmla="*/ 60 w 103"/>
                  <a:gd name="T11" fmla="*/ 0 h 60"/>
                  <a:gd name="T12" fmla="*/ 0 w 103"/>
                  <a:gd name="T13" fmla="*/ 3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3" h="60">
                    <a:moveTo>
                      <a:pt x="0" y="35"/>
                    </a:moveTo>
                    <a:cubicBezTo>
                      <a:pt x="43" y="60"/>
                      <a:pt x="43" y="60"/>
                      <a:pt x="43" y="60"/>
                    </a:cubicBezTo>
                    <a:cubicBezTo>
                      <a:pt x="72" y="43"/>
                      <a:pt x="72" y="43"/>
                      <a:pt x="72" y="43"/>
                    </a:cubicBezTo>
                    <a:cubicBezTo>
                      <a:pt x="72" y="43"/>
                      <a:pt x="76" y="43"/>
                      <a:pt x="78" y="40"/>
                    </a:cubicBezTo>
                    <a:cubicBezTo>
                      <a:pt x="103" y="25"/>
                      <a:pt x="103" y="25"/>
                      <a:pt x="103" y="25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0" y="35"/>
                      <a:pt x="0" y="35"/>
                      <a:pt x="0" y="35"/>
                    </a:cubicBezTo>
                  </a:path>
                </a:pathLst>
              </a:custGeom>
              <a:solidFill>
                <a:srgbClr val="A07E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7" name="任意多边形: 形状 286">
                <a:extLst>
                  <a:ext uri="{FF2B5EF4-FFF2-40B4-BE49-F238E27FC236}">
                    <a16:creationId xmlns:a16="http://schemas.microsoft.com/office/drawing/2014/main" id="{20257E9E-30FA-4213-B587-700EC0E64018}"/>
                  </a:ext>
                </a:extLst>
              </p:cNvPr>
              <p:cNvSpPr/>
              <p:nvPr/>
            </p:nvSpPr>
            <p:spPr bwMode="auto">
              <a:xfrm>
                <a:off x="4322295" y="3681630"/>
                <a:ext cx="362413" cy="198402"/>
              </a:xfrm>
              <a:custGeom>
                <a:avLst/>
                <a:gdLst>
                  <a:gd name="T0" fmla="*/ 62 w 66"/>
                  <a:gd name="T1" fmla="*/ 20 h 36"/>
                  <a:gd name="T2" fmla="*/ 60 w 66"/>
                  <a:gd name="T3" fmla="*/ 21 h 36"/>
                  <a:gd name="T4" fmla="*/ 61 w 66"/>
                  <a:gd name="T5" fmla="*/ 21 h 36"/>
                  <a:gd name="T6" fmla="*/ 24 w 66"/>
                  <a:gd name="T7" fmla="*/ 0 h 36"/>
                  <a:gd name="T8" fmla="*/ 0 w 66"/>
                  <a:gd name="T9" fmla="*/ 14 h 36"/>
                  <a:gd name="T10" fmla="*/ 39 w 66"/>
                  <a:gd name="T11" fmla="*/ 35 h 36"/>
                  <a:gd name="T12" fmla="*/ 42 w 66"/>
                  <a:gd name="T13" fmla="*/ 36 h 36"/>
                  <a:gd name="T14" fmla="*/ 66 w 66"/>
                  <a:gd name="T15" fmla="*/ 22 h 36"/>
                  <a:gd name="T16" fmla="*/ 66 w 66"/>
                  <a:gd name="T17" fmla="*/ 20 h 36"/>
                  <a:gd name="T18" fmla="*/ 62 w 66"/>
                  <a:gd name="T19" fmla="*/ 2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6" h="36">
                    <a:moveTo>
                      <a:pt x="62" y="20"/>
                    </a:moveTo>
                    <a:cubicBezTo>
                      <a:pt x="60" y="21"/>
                      <a:pt x="60" y="21"/>
                      <a:pt x="60" y="21"/>
                    </a:cubicBezTo>
                    <a:cubicBezTo>
                      <a:pt x="61" y="21"/>
                      <a:pt x="61" y="21"/>
                      <a:pt x="61" y="21"/>
                    </a:cubicBezTo>
                    <a:cubicBezTo>
                      <a:pt x="24" y="0"/>
                      <a:pt x="24" y="0"/>
                      <a:pt x="24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39" y="35"/>
                      <a:pt x="39" y="35"/>
                      <a:pt x="39" y="35"/>
                    </a:cubicBezTo>
                    <a:cubicBezTo>
                      <a:pt x="39" y="35"/>
                      <a:pt x="40" y="33"/>
                      <a:pt x="42" y="36"/>
                    </a:cubicBezTo>
                    <a:cubicBezTo>
                      <a:pt x="66" y="22"/>
                      <a:pt x="66" y="22"/>
                      <a:pt x="66" y="22"/>
                    </a:cubicBezTo>
                    <a:cubicBezTo>
                      <a:pt x="66" y="20"/>
                      <a:pt x="66" y="20"/>
                      <a:pt x="66" y="20"/>
                    </a:cubicBezTo>
                    <a:cubicBezTo>
                      <a:pt x="62" y="20"/>
                      <a:pt x="62" y="20"/>
                      <a:pt x="62" y="20"/>
                    </a:cubicBezTo>
                  </a:path>
                </a:pathLst>
              </a:custGeom>
              <a:solidFill>
                <a:srgbClr val="C2B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8" name="任意多边形: 形状 287">
                <a:extLst>
                  <a:ext uri="{FF2B5EF4-FFF2-40B4-BE49-F238E27FC236}">
                    <a16:creationId xmlns:a16="http://schemas.microsoft.com/office/drawing/2014/main" id="{1A97D367-4B94-4A85-B9EE-1CC0CDE9F339}"/>
                  </a:ext>
                </a:extLst>
              </p:cNvPr>
              <p:cNvSpPr/>
              <p:nvPr/>
            </p:nvSpPr>
            <p:spPr bwMode="auto">
              <a:xfrm>
                <a:off x="4295841" y="3660467"/>
                <a:ext cx="388867" cy="214274"/>
              </a:xfrm>
              <a:custGeom>
                <a:avLst/>
                <a:gdLst>
                  <a:gd name="T0" fmla="*/ 44 w 71"/>
                  <a:gd name="T1" fmla="*/ 39 h 39"/>
                  <a:gd name="T2" fmla="*/ 71 w 71"/>
                  <a:gd name="T3" fmla="*/ 24 h 39"/>
                  <a:gd name="T4" fmla="*/ 28 w 71"/>
                  <a:gd name="T5" fmla="*/ 0 h 39"/>
                  <a:gd name="T6" fmla="*/ 0 w 71"/>
                  <a:gd name="T7" fmla="*/ 15 h 39"/>
                  <a:gd name="T8" fmla="*/ 44 w 71"/>
                  <a:gd name="T9" fmla="*/ 3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" h="39">
                    <a:moveTo>
                      <a:pt x="44" y="39"/>
                    </a:moveTo>
                    <a:cubicBezTo>
                      <a:pt x="45" y="30"/>
                      <a:pt x="65" y="28"/>
                      <a:pt x="71" y="24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21" y="6"/>
                      <a:pt x="1" y="8"/>
                      <a:pt x="0" y="15"/>
                    </a:cubicBezTo>
                    <a:cubicBezTo>
                      <a:pt x="44" y="39"/>
                      <a:pt x="44" y="39"/>
                      <a:pt x="44" y="3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9" name="任意多边形: 形状 288">
                <a:extLst>
                  <a:ext uri="{FF2B5EF4-FFF2-40B4-BE49-F238E27FC236}">
                    <a16:creationId xmlns:a16="http://schemas.microsoft.com/office/drawing/2014/main" id="{34184D54-FEE3-4C77-A3A0-24EA89896E55}"/>
                  </a:ext>
                </a:extLst>
              </p:cNvPr>
              <p:cNvSpPr/>
              <p:nvPr/>
            </p:nvSpPr>
            <p:spPr bwMode="auto">
              <a:xfrm>
                <a:off x="4139765" y="3768926"/>
                <a:ext cx="396802" cy="214274"/>
              </a:xfrm>
              <a:custGeom>
                <a:avLst/>
                <a:gdLst>
                  <a:gd name="T0" fmla="*/ 70 w 72"/>
                  <a:gd name="T1" fmla="*/ 18 h 39"/>
                  <a:gd name="T2" fmla="*/ 61 w 72"/>
                  <a:gd name="T3" fmla="*/ 17 h 39"/>
                  <a:gd name="T4" fmla="*/ 60 w 72"/>
                  <a:gd name="T5" fmla="*/ 19 h 39"/>
                  <a:gd name="T6" fmla="*/ 28 w 72"/>
                  <a:gd name="T7" fmla="*/ 0 h 39"/>
                  <a:gd name="T8" fmla="*/ 5 w 72"/>
                  <a:gd name="T9" fmla="*/ 14 h 39"/>
                  <a:gd name="T10" fmla="*/ 5 w 72"/>
                  <a:gd name="T11" fmla="*/ 13 h 39"/>
                  <a:gd name="T12" fmla="*/ 2 w 72"/>
                  <a:gd name="T13" fmla="*/ 12 h 39"/>
                  <a:gd name="T14" fmla="*/ 0 w 72"/>
                  <a:gd name="T15" fmla="*/ 13 h 39"/>
                  <a:gd name="T16" fmla="*/ 0 w 72"/>
                  <a:gd name="T17" fmla="*/ 15 h 39"/>
                  <a:gd name="T18" fmla="*/ 42 w 72"/>
                  <a:gd name="T19" fmla="*/ 39 h 39"/>
                  <a:gd name="T20" fmla="*/ 69 w 72"/>
                  <a:gd name="T21" fmla="*/ 24 h 39"/>
                  <a:gd name="T22" fmla="*/ 72 w 72"/>
                  <a:gd name="T23" fmla="*/ 19 h 39"/>
                  <a:gd name="T24" fmla="*/ 70 w 72"/>
                  <a:gd name="T25" fmla="*/ 1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2" h="39">
                    <a:moveTo>
                      <a:pt x="70" y="18"/>
                    </a:moveTo>
                    <a:cubicBezTo>
                      <a:pt x="61" y="17"/>
                      <a:pt x="61" y="17"/>
                      <a:pt x="61" y="17"/>
                    </a:cubicBezTo>
                    <a:cubicBezTo>
                      <a:pt x="60" y="19"/>
                      <a:pt x="60" y="19"/>
                      <a:pt x="60" y="19"/>
                    </a:cubicBezTo>
                    <a:cubicBezTo>
                      <a:pt x="28" y="0"/>
                      <a:pt x="28" y="0"/>
                      <a:pt x="28" y="0"/>
                    </a:cubicBezTo>
                    <a:cubicBezTo>
                      <a:pt x="5" y="14"/>
                      <a:pt x="5" y="14"/>
                      <a:pt x="5" y="14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2" y="39"/>
                      <a:pt x="42" y="39"/>
                      <a:pt x="42" y="39"/>
                    </a:cubicBezTo>
                    <a:cubicBezTo>
                      <a:pt x="69" y="24"/>
                      <a:pt x="69" y="24"/>
                      <a:pt x="69" y="24"/>
                    </a:cubicBezTo>
                    <a:cubicBezTo>
                      <a:pt x="70" y="19"/>
                      <a:pt x="72" y="19"/>
                      <a:pt x="72" y="19"/>
                    </a:cubicBezTo>
                    <a:cubicBezTo>
                      <a:pt x="70" y="18"/>
                      <a:pt x="70" y="18"/>
                      <a:pt x="70" y="18"/>
                    </a:cubicBezTo>
                  </a:path>
                </a:pathLst>
              </a:custGeom>
              <a:solidFill>
                <a:srgbClr val="C2B8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0" name="任意多边形: 形状 289">
                <a:extLst>
                  <a:ext uri="{FF2B5EF4-FFF2-40B4-BE49-F238E27FC236}">
                    <a16:creationId xmlns:a16="http://schemas.microsoft.com/office/drawing/2014/main" id="{3F82DB03-26DD-47F6-AA24-BA544253D74F}"/>
                  </a:ext>
                </a:extLst>
              </p:cNvPr>
              <p:cNvSpPr/>
              <p:nvPr/>
            </p:nvSpPr>
            <p:spPr bwMode="auto">
              <a:xfrm>
                <a:off x="4139765" y="3716019"/>
                <a:ext cx="396802" cy="256599"/>
              </a:xfrm>
              <a:custGeom>
                <a:avLst/>
                <a:gdLst>
                  <a:gd name="T0" fmla="*/ 72 w 72"/>
                  <a:gd name="T1" fmla="*/ 29 h 47"/>
                  <a:gd name="T2" fmla="*/ 42 w 72"/>
                  <a:gd name="T3" fmla="*/ 47 h 47"/>
                  <a:gd name="T4" fmla="*/ 0 w 72"/>
                  <a:gd name="T5" fmla="*/ 23 h 47"/>
                  <a:gd name="T6" fmla="*/ 28 w 72"/>
                  <a:gd name="T7" fmla="*/ 5 h 47"/>
                  <a:gd name="T8" fmla="*/ 72 w 72"/>
                  <a:gd name="T9" fmla="*/ 29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2" h="47">
                    <a:moveTo>
                      <a:pt x="72" y="29"/>
                    </a:moveTo>
                    <a:cubicBezTo>
                      <a:pt x="62" y="25"/>
                      <a:pt x="53" y="42"/>
                      <a:pt x="42" y="47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0" y="23"/>
                      <a:pt x="19" y="0"/>
                      <a:pt x="28" y="5"/>
                    </a:cubicBezTo>
                    <a:cubicBezTo>
                      <a:pt x="72" y="29"/>
                      <a:pt x="72" y="29"/>
                      <a:pt x="72" y="2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1" name="任意多边形: 形状 290">
                <a:extLst>
                  <a:ext uri="{FF2B5EF4-FFF2-40B4-BE49-F238E27FC236}">
                    <a16:creationId xmlns:a16="http://schemas.microsoft.com/office/drawing/2014/main" id="{32D8D39F-8D04-4080-8342-9F9B7E185B3A}"/>
                  </a:ext>
                </a:extLst>
              </p:cNvPr>
              <p:cNvSpPr/>
              <p:nvPr/>
            </p:nvSpPr>
            <p:spPr bwMode="auto">
              <a:xfrm>
                <a:off x="4525985" y="3626077"/>
                <a:ext cx="325378" cy="214274"/>
              </a:xfrm>
              <a:custGeom>
                <a:avLst/>
                <a:gdLst>
                  <a:gd name="T0" fmla="*/ 18 w 59"/>
                  <a:gd name="T1" fmla="*/ 10 h 39"/>
                  <a:gd name="T2" fmla="*/ 15 w 59"/>
                  <a:gd name="T3" fmla="*/ 5 h 39"/>
                  <a:gd name="T4" fmla="*/ 8 w 59"/>
                  <a:gd name="T5" fmla="*/ 1 h 39"/>
                  <a:gd name="T6" fmla="*/ 1 w 59"/>
                  <a:gd name="T7" fmla="*/ 3 h 39"/>
                  <a:gd name="T8" fmla="*/ 2 w 59"/>
                  <a:gd name="T9" fmla="*/ 6 h 39"/>
                  <a:gd name="T10" fmla="*/ 8 w 59"/>
                  <a:gd name="T11" fmla="*/ 11 h 39"/>
                  <a:gd name="T12" fmla="*/ 5 w 59"/>
                  <a:gd name="T13" fmla="*/ 10 h 39"/>
                  <a:gd name="T14" fmla="*/ 2 w 59"/>
                  <a:gd name="T15" fmla="*/ 12 h 39"/>
                  <a:gd name="T16" fmla="*/ 5 w 59"/>
                  <a:gd name="T17" fmla="*/ 13 h 39"/>
                  <a:gd name="T18" fmla="*/ 11 w 59"/>
                  <a:gd name="T19" fmla="*/ 14 h 39"/>
                  <a:gd name="T20" fmla="*/ 14 w 59"/>
                  <a:gd name="T21" fmla="*/ 16 h 39"/>
                  <a:gd name="T22" fmla="*/ 35 w 59"/>
                  <a:gd name="T23" fmla="*/ 31 h 39"/>
                  <a:gd name="T24" fmla="*/ 57 w 59"/>
                  <a:gd name="T25" fmla="*/ 36 h 39"/>
                  <a:gd name="T26" fmla="*/ 23 w 59"/>
                  <a:gd name="T27" fmla="*/ 12 h 39"/>
                  <a:gd name="T28" fmla="*/ 18 w 59"/>
                  <a:gd name="T29" fmla="*/ 1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9" h="39">
                    <a:moveTo>
                      <a:pt x="18" y="10"/>
                    </a:moveTo>
                    <a:cubicBezTo>
                      <a:pt x="15" y="5"/>
                      <a:pt x="15" y="5"/>
                      <a:pt x="15" y="5"/>
                    </a:cubicBezTo>
                    <a:cubicBezTo>
                      <a:pt x="15" y="5"/>
                      <a:pt x="11" y="2"/>
                      <a:pt x="8" y="1"/>
                    </a:cubicBezTo>
                    <a:cubicBezTo>
                      <a:pt x="5" y="0"/>
                      <a:pt x="3" y="1"/>
                      <a:pt x="1" y="3"/>
                    </a:cubicBezTo>
                    <a:cubicBezTo>
                      <a:pt x="0" y="4"/>
                      <a:pt x="1" y="6"/>
                      <a:pt x="2" y="6"/>
                    </a:cubicBezTo>
                    <a:cubicBezTo>
                      <a:pt x="5" y="7"/>
                      <a:pt x="8" y="9"/>
                      <a:pt x="8" y="11"/>
                    </a:cubicBezTo>
                    <a:cubicBezTo>
                      <a:pt x="8" y="11"/>
                      <a:pt x="7" y="11"/>
                      <a:pt x="5" y="10"/>
                    </a:cubicBezTo>
                    <a:cubicBezTo>
                      <a:pt x="3" y="10"/>
                      <a:pt x="2" y="11"/>
                      <a:pt x="2" y="12"/>
                    </a:cubicBezTo>
                    <a:cubicBezTo>
                      <a:pt x="2" y="12"/>
                      <a:pt x="3" y="13"/>
                      <a:pt x="5" y="13"/>
                    </a:cubicBezTo>
                    <a:cubicBezTo>
                      <a:pt x="6" y="14"/>
                      <a:pt x="9" y="14"/>
                      <a:pt x="11" y="14"/>
                    </a:cubicBezTo>
                    <a:cubicBezTo>
                      <a:pt x="12" y="13"/>
                      <a:pt x="14" y="16"/>
                      <a:pt x="14" y="16"/>
                    </a:cubicBezTo>
                    <a:cubicBezTo>
                      <a:pt x="17" y="17"/>
                      <a:pt x="29" y="27"/>
                      <a:pt x="35" y="31"/>
                    </a:cubicBezTo>
                    <a:cubicBezTo>
                      <a:pt x="42" y="36"/>
                      <a:pt x="55" y="39"/>
                      <a:pt x="57" y="36"/>
                    </a:cubicBezTo>
                    <a:cubicBezTo>
                      <a:pt x="59" y="33"/>
                      <a:pt x="23" y="12"/>
                      <a:pt x="23" y="12"/>
                    </a:cubicBezTo>
                    <a:cubicBezTo>
                      <a:pt x="18" y="10"/>
                      <a:pt x="18" y="10"/>
                      <a:pt x="18" y="10"/>
                    </a:cubicBezTo>
                  </a:path>
                </a:pathLst>
              </a:custGeom>
              <a:solidFill>
                <a:srgbClr val="F7C3C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2" name="任意多边形: 形状 291">
                <a:extLst>
                  <a:ext uri="{FF2B5EF4-FFF2-40B4-BE49-F238E27FC236}">
                    <a16:creationId xmlns:a16="http://schemas.microsoft.com/office/drawing/2014/main" id="{C22473D0-7CDC-46D6-B2F4-628EC6337B24}"/>
                  </a:ext>
                </a:extLst>
              </p:cNvPr>
              <p:cNvSpPr/>
              <p:nvPr/>
            </p:nvSpPr>
            <p:spPr bwMode="auto">
              <a:xfrm>
                <a:off x="4898980" y="4681571"/>
                <a:ext cx="34390" cy="18518"/>
              </a:xfrm>
              <a:custGeom>
                <a:avLst/>
                <a:gdLst>
                  <a:gd name="T0" fmla="*/ 6 w 6"/>
                  <a:gd name="T1" fmla="*/ 0 h 3"/>
                  <a:gd name="T2" fmla="*/ 3 w 6"/>
                  <a:gd name="T3" fmla="*/ 2 h 3"/>
                  <a:gd name="T4" fmla="*/ 3 w 6"/>
                  <a:gd name="T5" fmla="*/ 2 h 3"/>
                  <a:gd name="T6" fmla="*/ 0 w 6"/>
                  <a:gd name="T7" fmla="*/ 0 h 3"/>
                  <a:gd name="T8" fmla="*/ 0 w 6"/>
                  <a:gd name="T9" fmla="*/ 0 h 3"/>
                  <a:gd name="T10" fmla="*/ 0 w 6"/>
                  <a:gd name="T11" fmla="*/ 1 h 3"/>
                  <a:gd name="T12" fmla="*/ 3 w 6"/>
                  <a:gd name="T13" fmla="*/ 3 h 3"/>
                  <a:gd name="T14" fmla="*/ 3 w 6"/>
                  <a:gd name="T15" fmla="*/ 3 h 3"/>
                  <a:gd name="T16" fmla="*/ 6 w 6"/>
                  <a:gd name="T17" fmla="*/ 1 h 3"/>
                  <a:gd name="T18" fmla="*/ 6 w 6"/>
                  <a:gd name="T19" fmla="*/ 0 h 3"/>
                  <a:gd name="T20" fmla="*/ 6 w 6"/>
                  <a:gd name="T21" fmla="*/ 0 h 3"/>
                  <a:gd name="T22" fmla="*/ 6 w 6"/>
                  <a:gd name="T23" fmla="*/ 0 h 3"/>
                  <a:gd name="T24" fmla="*/ 6 w 6"/>
                  <a:gd name="T25" fmla="*/ 0 h 3"/>
                  <a:gd name="T26" fmla="*/ 6 w 6"/>
                  <a:gd name="T2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1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6" y="2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3" name="任意多边形: 形状 292">
                <a:extLst>
                  <a:ext uri="{FF2B5EF4-FFF2-40B4-BE49-F238E27FC236}">
                    <a16:creationId xmlns:a16="http://schemas.microsoft.com/office/drawing/2014/main" id="{14ECAF4C-819D-40F6-A839-4FCF81508969}"/>
                  </a:ext>
                </a:extLst>
              </p:cNvPr>
              <p:cNvSpPr/>
              <p:nvPr/>
            </p:nvSpPr>
            <p:spPr bwMode="auto">
              <a:xfrm>
                <a:off x="4898980" y="4676280"/>
                <a:ext cx="34390" cy="15872"/>
              </a:xfrm>
              <a:custGeom>
                <a:avLst/>
                <a:gdLst>
                  <a:gd name="T0" fmla="*/ 5 w 6"/>
                  <a:gd name="T1" fmla="*/ 0 h 3"/>
                  <a:gd name="T2" fmla="*/ 5 w 6"/>
                  <a:gd name="T3" fmla="*/ 0 h 3"/>
                  <a:gd name="T4" fmla="*/ 3 w 6"/>
                  <a:gd name="T5" fmla="*/ 2 h 3"/>
                  <a:gd name="T6" fmla="*/ 3 w 6"/>
                  <a:gd name="T7" fmla="*/ 2 h 3"/>
                  <a:gd name="T8" fmla="*/ 0 w 6"/>
                  <a:gd name="T9" fmla="*/ 0 h 3"/>
                  <a:gd name="T10" fmla="*/ 0 w 6"/>
                  <a:gd name="T11" fmla="*/ 0 h 3"/>
                  <a:gd name="T12" fmla="*/ 0 w 6"/>
                  <a:gd name="T13" fmla="*/ 1 h 3"/>
                  <a:gd name="T14" fmla="*/ 0 w 6"/>
                  <a:gd name="T15" fmla="*/ 1 h 3"/>
                  <a:gd name="T16" fmla="*/ 3 w 6"/>
                  <a:gd name="T17" fmla="*/ 3 h 3"/>
                  <a:gd name="T18" fmla="*/ 3 w 6"/>
                  <a:gd name="T19" fmla="*/ 3 h 3"/>
                  <a:gd name="T20" fmla="*/ 6 w 6"/>
                  <a:gd name="T21" fmla="*/ 1 h 3"/>
                  <a:gd name="T22" fmla="*/ 6 w 6"/>
                  <a:gd name="T23" fmla="*/ 1 h 3"/>
                  <a:gd name="T24" fmla="*/ 6 w 6"/>
                  <a:gd name="T25" fmla="*/ 1 h 3"/>
                  <a:gd name="T26" fmla="*/ 6 w 6"/>
                  <a:gd name="T27" fmla="*/ 1 h 3"/>
                  <a:gd name="T28" fmla="*/ 5 w 6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3"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5" y="1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3"/>
                      <a:pt x="6" y="2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5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4" name="任意多边形: 形状 293">
                <a:extLst>
                  <a:ext uri="{FF2B5EF4-FFF2-40B4-BE49-F238E27FC236}">
                    <a16:creationId xmlns:a16="http://schemas.microsoft.com/office/drawing/2014/main" id="{0E9019A5-E598-4B58-B844-95AFD412434C}"/>
                  </a:ext>
                </a:extLst>
              </p:cNvPr>
              <p:cNvSpPr/>
              <p:nvPr/>
            </p:nvSpPr>
            <p:spPr bwMode="auto">
              <a:xfrm>
                <a:off x="4898980" y="4340321"/>
                <a:ext cx="29100" cy="346541"/>
              </a:xfrm>
              <a:custGeom>
                <a:avLst/>
                <a:gdLst>
                  <a:gd name="T0" fmla="*/ 0 w 5"/>
                  <a:gd name="T1" fmla="*/ 5 h 63"/>
                  <a:gd name="T2" fmla="*/ 0 w 5"/>
                  <a:gd name="T3" fmla="*/ 61 h 63"/>
                  <a:gd name="T4" fmla="*/ 0 w 5"/>
                  <a:gd name="T5" fmla="*/ 61 h 63"/>
                  <a:gd name="T6" fmla="*/ 3 w 5"/>
                  <a:gd name="T7" fmla="*/ 63 h 63"/>
                  <a:gd name="T8" fmla="*/ 3 w 5"/>
                  <a:gd name="T9" fmla="*/ 63 h 63"/>
                  <a:gd name="T10" fmla="*/ 5 w 5"/>
                  <a:gd name="T11" fmla="*/ 61 h 63"/>
                  <a:gd name="T12" fmla="*/ 5 w 5"/>
                  <a:gd name="T13" fmla="*/ 61 h 63"/>
                  <a:gd name="T14" fmla="*/ 5 w 5"/>
                  <a:gd name="T15" fmla="*/ 6 h 63"/>
                  <a:gd name="T16" fmla="*/ 5 w 5"/>
                  <a:gd name="T17" fmla="*/ 6 h 63"/>
                  <a:gd name="T18" fmla="*/ 1 w 5"/>
                  <a:gd name="T19" fmla="*/ 5 h 63"/>
                  <a:gd name="T20" fmla="*/ 0 w 5"/>
                  <a:gd name="T21" fmla="*/ 5 h 63"/>
                  <a:gd name="T22" fmla="*/ 5 w 5"/>
                  <a:gd name="T23" fmla="*/ 0 h 63"/>
                  <a:gd name="T24" fmla="*/ 5 w 5"/>
                  <a:gd name="T25" fmla="*/ 0 h 63"/>
                  <a:gd name="T26" fmla="*/ 2 w 5"/>
                  <a:gd name="T27" fmla="*/ 1 h 63"/>
                  <a:gd name="T28" fmla="*/ 2 w 5"/>
                  <a:gd name="T29" fmla="*/ 2 h 63"/>
                  <a:gd name="T30" fmla="*/ 5 w 5"/>
                  <a:gd name="T31" fmla="*/ 2 h 63"/>
                  <a:gd name="T32" fmla="*/ 5 w 5"/>
                  <a:gd name="T33" fmla="*/ 2 h 63"/>
                  <a:gd name="T34" fmla="*/ 5 w 5"/>
                  <a:gd name="T35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" h="63">
                    <a:moveTo>
                      <a:pt x="0" y="5"/>
                    </a:move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1" y="63"/>
                      <a:pt x="3" y="63"/>
                    </a:cubicBezTo>
                    <a:cubicBezTo>
                      <a:pt x="3" y="63"/>
                      <a:pt x="3" y="63"/>
                      <a:pt x="3" y="63"/>
                    </a:cubicBezTo>
                    <a:cubicBezTo>
                      <a:pt x="4" y="63"/>
                      <a:pt x="5" y="62"/>
                      <a:pt x="5" y="61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3" y="6"/>
                      <a:pt x="2" y="6"/>
                      <a:pt x="1" y="5"/>
                    </a:cubicBezTo>
                    <a:cubicBezTo>
                      <a:pt x="0" y="5"/>
                      <a:pt x="0" y="5"/>
                      <a:pt x="0" y="5"/>
                    </a:cubicBezTo>
                    <a:moveTo>
                      <a:pt x="5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3" y="2"/>
                      <a:pt x="4" y="2"/>
                      <a:pt x="5" y="2"/>
                    </a:cubicBezTo>
                    <a:cubicBezTo>
                      <a:pt x="5" y="2"/>
                      <a:pt x="5" y="2"/>
                      <a:pt x="5" y="2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5" name="任意多边形: 形状 294">
                <a:extLst>
                  <a:ext uri="{FF2B5EF4-FFF2-40B4-BE49-F238E27FC236}">
                    <a16:creationId xmlns:a16="http://schemas.microsoft.com/office/drawing/2014/main" id="{03450913-0316-4019-A051-A6420939A9E5}"/>
                  </a:ext>
                </a:extLst>
              </p:cNvPr>
              <p:cNvSpPr/>
              <p:nvPr/>
            </p:nvSpPr>
            <p:spPr bwMode="auto">
              <a:xfrm>
                <a:off x="4689997" y="4557239"/>
                <a:ext cx="23809" cy="21163"/>
              </a:xfrm>
              <a:custGeom>
                <a:avLst/>
                <a:gdLst>
                  <a:gd name="T0" fmla="*/ 0 w 4"/>
                  <a:gd name="T1" fmla="*/ 0 h 4"/>
                  <a:gd name="T2" fmla="*/ 0 w 4"/>
                  <a:gd name="T3" fmla="*/ 0 h 4"/>
                  <a:gd name="T4" fmla="*/ 0 w 4"/>
                  <a:gd name="T5" fmla="*/ 2 h 4"/>
                  <a:gd name="T6" fmla="*/ 3 w 4"/>
                  <a:gd name="T7" fmla="*/ 4 h 4"/>
                  <a:gd name="T8" fmla="*/ 3 w 4"/>
                  <a:gd name="T9" fmla="*/ 4 h 4"/>
                  <a:gd name="T10" fmla="*/ 4 w 4"/>
                  <a:gd name="T11" fmla="*/ 3 h 4"/>
                  <a:gd name="T12" fmla="*/ 4 w 4"/>
                  <a:gd name="T13" fmla="*/ 2 h 4"/>
                  <a:gd name="T14" fmla="*/ 3 w 4"/>
                  <a:gd name="T15" fmla="*/ 2 h 4"/>
                  <a:gd name="T16" fmla="*/ 3 w 4"/>
                  <a:gd name="T17" fmla="*/ 2 h 4"/>
                  <a:gd name="T18" fmla="*/ 0 w 4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" h="4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1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4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2"/>
                      <a:pt x="3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1" y="2"/>
                      <a:pt x="0" y="1"/>
                      <a:pt x="0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6" name="任意多边形: 形状 295">
                <a:extLst>
                  <a:ext uri="{FF2B5EF4-FFF2-40B4-BE49-F238E27FC236}">
                    <a16:creationId xmlns:a16="http://schemas.microsoft.com/office/drawing/2014/main" id="{C996F6F8-91BA-4203-8EC4-F1A2B72DEB29}"/>
                  </a:ext>
                </a:extLst>
              </p:cNvPr>
              <p:cNvSpPr/>
              <p:nvPr/>
            </p:nvSpPr>
            <p:spPr bwMode="auto">
              <a:xfrm>
                <a:off x="4689997" y="4549304"/>
                <a:ext cx="23809" cy="18518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1 h 3"/>
                  <a:gd name="T4" fmla="*/ 0 w 4"/>
                  <a:gd name="T5" fmla="*/ 1 h 3"/>
                  <a:gd name="T6" fmla="*/ 3 w 4"/>
                  <a:gd name="T7" fmla="*/ 3 h 3"/>
                  <a:gd name="T8" fmla="*/ 3 w 4"/>
                  <a:gd name="T9" fmla="*/ 3 h 3"/>
                  <a:gd name="T10" fmla="*/ 4 w 4"/>
                  <a:gd name="T11" fmla="*/ 3 h 3"/>
                  <a:gd name="T12" fmla="*/ 4 w 4"/>
                  <a:gd name="T13" fmla="*/ 2 h 3"/>
                  <a:gd name="T14" fmla="*/ 3 w 4"/>
                  <a:gd name="T15" fmla="*/ 3 h 3"/>
                  <a:gd name="T16" fmla="*/ 3 w 4"/>
                  <a:gd name="T17" fmla="*/ 3 h 3"/>
                  <a:gd name="T18" fmla="*/ 0 w 4"/>
                  <a:gd name="T19" fmla="*/ 1 h 3"/>
                  <a:gd name="T20" fmla="*/ 0 w 4"/>
                  <a:gd name="T2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4" y="3"/>
                      <a:pt x="3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7" name="任意多边形: 形状 296">
                <a:extLst>
                  <a:ext uri="{FF2B5EF4-FFF2-40B4-BE49-F238E27FC236}">
                    <a16:creationId xmlns:a16="http://schemas.microsoft.com/office/drawing/2014/main" id="{C61DE6D2-DB61-4C0F-947C-109C197A7836}"/>
                  </a:ext>
                </a:extLst>
              </p:cNvPr>
              <p:cNvSpPr/>
              <p:nvPr/>
            </p:nvSpPr>
            <p:spPr bwMode="auto">
              <a:xfrm>
                <a:off x="4689997" y="4424972"/>
                <a:ext cx="23809" cy="142849"/>
              </a:xfrm>
              <a:custGeom>
                <a:avLst/>
                <a:gdLst>
                  <a:gd name="T0" fmla="*/ 0 w 4"/>
                  <a:gd name="T1" fmla="*/ 0 h 26"/>
                  <a:gd name="T2" fmla="*/ 0 w 4"/>
                  <a:gd name="T3" fmla="*/ 23 h 26"/>
                  <a:gd name="T4" fmla="*/ 0 w 4"/>
                  <a:gd name="T5" fmla="*/ 24 h 26"/>
                  <a:gd name="T6" fmla="*/ 3 w 4"/>
                  <a:gd name="T7" fmla="*/ 26 h 26"/>
                  <a:gd name="T8" fmla="*/ 3 w 4"/>
                  <a:gd name="T9" fmla="*/ 26 h 26"/>
                  <a:gd name="T10" fmla="*/ 4 w 4"/>
                  <a:gd name="T11" fmla="*/ 25 h 26"/>
                  <a:gd name="T12" fmla="*/ 4 w 4"/>
                  <a:gd name="T13" fmla="*/ 1 h 26"/>
                  <a:gd name="T14" fmla="*/ 0 w 4"/>
                  <a:gd name="T15" fmla="*/ 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" h="26">
                    <a:moveTo>
                      <a:pt x="0" y="0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3" y="26"/>
                    </a:cubicBezTo>
                    <a:cubicBezTo>
                      <a:pt x="3" y="26"/>
                      <a:pt x="3" y="26"/>
                      <a:pt x="3" y="26"/>
                    </a:cubicBezTo>
                    <a:cubicBezTo>
                      <a:pt x="3" y="26"/>
                      <a:pt x="4" y="26"/>
                      <a:pt x="4" y="25"/>
                    </a:cubicBezTo>
                    <a:cubicBezTo>
                      <a:pt x="4" y="1"/>
                      <a:pt x="4" y="1"/>
                      <a:pt x="4" y="1"/>
                    </a:cubicBezTo>
                    <a:cubicBezTo>
                      <a:pt x="3" y="1"/>
                      <a:pt x="2" y="1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8" name="任意多边形: 形状 297">
                <a:extLst>
                  <a:ext uri="{FF2B5EF4-FFF2-40B4-BE49-F238E27FC236}">
                    <a16:creationId xmlns:a16="http://schemas.microsoft.com/office/drawing/2014/main" id="{8CF403CF-6D21-44DA-8E2D-8CEB6D0CA88B}"/>
                  </a:ext>
                </a:extLst>
              </p:cNvPr>
              <p:cNvSpPr/>
              <p:nvPr/>
            </p:nvSpPr>
            <p:spPr bwMode="auto">
              <a:xfrm>
                <a:off x="4713806" y="4787385"/>
                <a:ext cx="31744" cy="15872"/>
              </a:xfrm>
              <a:custGeom>
                <a:avLst/>
                <a:gdLst>
                  <a:gd name="T0" fmla="*/ 0 w 6"/>
                  <a:gd name="T1" fmla="*/ 0 h 3"/>
                  <a:gd name="T2" fmla="*/ 0 w 6"/>
                  <a:gd name="T3" fmla="*/ 0 h 3"/>
                  <a:gd name="T4" fmla="*/ 0 w 6"/>
                  <a:gd name="T5" fmla="*/ 1 h 3"/>
                  <a:gd name="T6" fmla="*/ 3 w 6"/>
                  <a:gd name="T7" fmla="*/ 3 h 3"/>
                  <a:gd name="T8" fmla="*/ 3 w 6"/>
                  <a:gd name="T9" fmla="*/ 3 h 3"/>
                  <a:gd name="T10" fmla="*/ 6 w 6"/>
                  <a:gd name="T11" fmla="*/ 1 h 3"/>
                  <a:gd name="T12" fmla="*/ 6 w 6"/>
                  <a:gd name="T13" fmla="*/ 0 h 3"/>
                  <a:gd name="T14" fmla="*/ 3 w 6"/>
                  <a:gd name="T15" fmla="*/ 1 h 3"/>
                  <a:gd name="T16" fmla="*/ 3 w 6"/>
                  <a:gd name="T17" fmla="*/ 1 h 3"/>
                  <a:gd name="T18" fmla="*/ 0 w 6"/>
                  <a:gd name="T1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5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9" name="任意多边形: 形状 298">
                <a:extLst>
                  <a:ext uri="{FF2B5EF4-FFF2-40B4-BE49-F238E27FC236}">
                    <a16:creationId xmlns:a16="http://schemas.microsoft.com/office/drawing/2014/main" id="{4D1D3F5B-B96B-4397-AF16-896DDF9C9D17}"/>
                  </a:ext>
                </a:extLst>
              </p:cNvPr>
              <p:cNvSpPr/>
              <p:nvPr/>
            </p:nvSpPr>
            <p:spPr bwMode="auto">
              <a:xfrm>
                <a:off x="4713806" y="4782094"/>
                <a:ext cx="31744" cy="10581"/>
              </a:xfrm>
              <a:custGeom>
                <a:avLst/>
                <a:gdLst>
                  <a:gd name="T0" fmla="*/ 6 w 6"/>
                  <a:gd name="T1" fmla="*/ 0 h 2"/>
                  <a:gd name="T2" fmla="*/ 6 w 6"/>
                  <a:gd name="T3" fmla="*/ 0 h 2"/>
                  <a:gd name="T4" fmla="*/ 3 w 6"/>
                  <a:gd name="T5" fmla="*/ 2 h 2"/>
                  <a:gd name="T6" fmla="*/ 3 w 6"/>
                  <a:gd name="T7" fmla="*/ 2 h 2"/>
                  <a:gd name="T8" fmla="*/ 0 w 6"/>
                  <a:gd name="T9" fmla="*/ 0 h 2"/>
                  <a:gd name="T10" fmla="*/ 0 w 6"/>
                  <a:gd name="T11" fmla="*/ 0 h 2"/>
                  <a:gd name="T12" fmla="*/ 0 w 6"/>
                  <a:gd name="T13" fmla="*/ 1 h 2"/>
                  <a:gd name="T14" fmla="*/ 0 w 6"/>
                  <a:gd name="T15" fmla="*/ 1 h 2"/>
                  <a:gd name="T16" fmla="*/ 3 w 6"/>
                  <a:gd name="T17" fmla="*/ 2 h 2"/>
                  <a:gd name="T18" fmla="*/ 3 w 6"/>
                  <a:gd name="T19" fmla="*/ 2 h 2"/>
                  <a:gd name="T20" fmla="*/ 6 w 6"/>
                  <a:gd name="T21" fmla="*/ 1 h 2"/>
                  <a:gd name="T22" fmla="*/ 6 w 6"/>
                  <a:gd name="T23" fmla="*/ 1 h 2"/>
                  <a:gd name="T24" fmla="*/ 6 w 6"/>
                  <a:gd name="T25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2"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1"/>
                      <a:pt x="4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1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5" y="2"/>
                      <a:pt x="6" y="2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0" name="任意多边形: 形状 299">
                <a:extLst>
                  <a:ext uri="{FF2B5EF4-FFF2-40B4-BE49-F238E27FC236}">
                    <a16:creationId xmlns:a16="http://schemas.microsoft.com/office/drawing/2014/main" id="{DF7CAD1D-5215-43DC-8BA9-1610ED0DEE40}"/>
                  </a:ext>
                </a:extLst>
              </p:cNvPr>
              <p:cNvSpPr/>
              <p:nvPr/>
            </p:nvSpPr>
            <p:spPr bwMode="auto">
              <a:xfrm>
                <a:off x="4713806" y="4430262"/>
                <a:ext cx="31744" cy="362413"/>
              </a:xfrm>
              <a:custGeom>
                <a:avLst/>
                <a:gdLst>
                  <a:gd name="T0" fmla="*/ 0 w 6"/>
                  <a:gd name="T1" fmla="*/ 0 h 66"/>
                  <a:gd name="T2" fmla="*/ 0 w 6"/>
                  <a:gd name="T3" fmla="*/ 24 h 66"/>
                  <a:gd name="T4" fmla="*/ 0 w 6"/>
                  <a:gd name="T5" fmla="*/ 25 h 66"/>
                  <a:gd name="T6" fmla="*/ 0 w 6"/>
                  <a:gd name="T7" fmla="*/ 26 h 66"/>
                  <a:gd name="T8" fmla="*/ 0 w 6"/>
                  <a:gd name="T9" fmla="*/ 64 h 66"/>
                  <a:gd name="T10" fmla="*/ 0 w 6"/>
                  <a:gd name="T11" fmla="*/ 64 h 66"/>
                  <a:gd name="T12" fmla="*/ 3 w 6"/>
                  <a:gd name="T13" fmla="*/ 66 h 66"/>
                  <a:gd name="T14" fmla="*/ 3 w 6"/>
                  <a:gd name="T15" fmla="*/ 66 h 66"/>
                  <a:gd name="T16" fmla="*/ 6 w 6"/>
                  <a:gd name="T17" fmla="*/ 64 h 66"/>
                  <a:gd name="T18" fmla="*/ 6 w 6"/>
                  <a:gd name="T19" fmla="*/ 64 h 66"/>
                  <a:gd name="T20" fmla="*/ 6 w 6"/>
                  <a:gd name="T21" fmla="*/ 0 h 66"/>
                  <a:gd name="T22" fmla="*/ 4 w 6"/>
                  <a:gd name="T23" fmla="*/ 1 h 66"/>
                  <a:gd name="T24" fmla="*/ 0 w 6"/>
                  <a:gd name="T25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" h="66">
                    <a:moveTo>
                      <a:pt x="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26"/>
                      <a:pt x="0" y="26"/>
                      <a:pt x="0" y="26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4"/>
                      <a:pt x="0" y="64"/>
                      <a:pt x="0" y="64"/>
                    </a:cubicBezTo>
                    <a:cubicBezTo>
                      <a:pt x="0" y="65"/>
                      <a:pt x="2" y="66"/>
                      <a:pt x="3" y="66"/>
                    </a:cubicBezTo>
                    <a:cubicBezTo>
                      <a:pt x="3" y="66"/>
                      <a:pt x="3" y="66"/>
                      <a:pt x="3" y="66"/>
                    </a:cubicBezTo>
                    <a:cubicBezTo>
                      <a:pt x="4" y="66"/>
                      <a:pt x="6" y="65"/>
                      <a:pt x="6" y="64"/>
                    </a:cubicBezTo>
                    <a:cubicBezTo>
                      <a:pt x="6" y="64"/>
                      <a:pt x="6" y="64"/>
                      <a:pt x="6" y="64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1"/>
                      <a:pt x="5" y="1"/>
                      <a:pt x="4" y="1"/>
                    </a:cubicBezTo>
                    <a:cubicBezTo>
                      <a:pt x="3" y="1"/>
                      <a:pt x="2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1" name="任意多边形: 形状 300">
                <a:extLst>
                  <a:ext uri="{FF2B5EF4-FFF2-40B4-BE49-F238E27FC236}">
                    <a16:creationId xmlns:a16="http://schemas.microsoft.com/office/drawing/2014/main" id="{4ADA2072-2ACE-400E-B770-1B84E5318742}"/>
                  </a:ext>
                </a:extLst>
              </p:cNvPr>
              <p:cNvSpPr/>
              <p:nvPr/>
            </p:nvSpPr>
            <p:spPr bwMode="auto">
              <a:xfrm>
                <a:off x="4504823" y="4660408"/>
                <a:ext cx="31744" cy="21163"/>
              </a:xfrm>
              <a:custGeom>
                <a:avLst/>
                <a:gdLst>
                  <a:gd name="T0" fmla="*/ 6 w 6"/>
                  <a:gd name="T1" fmla="*/ 0 h 4"/>
                  <a:gd name="T2" fmla="*/ 3 w 6"/>
                  <a:gd name="T3" fmla="*/ 2 h 4"/>
                  <a:gd name="T4" fmla="*/ 3 w 6"/>
                  <a:gd name="T5" fmla="*/ 2 h 4"/>
                  <a:gd name="T6" fmla="*/ 0 w 6"/>
                  <a:gd name="T7" fmla="*/ 0 h 4"/>
                  <a:gd name="T8" fmla="*/ 0 w 6"/>
                  <a:gd name="T9" fmla="*/ 0 h 4"/>
                  <a:gd name="T10" fmla="*/ 0 w 6"/>
                  <a:gd name="T11" fmla="*/ 2 h 4"/>
                  <a:gd name="T12" fmla="*/ 3 w 6"/>
                  <a:gd name="T13" fmla="*/ 4 h 4"/>
                  <a:gd name="T14" fmla="*/ 3 w 6"/>
                  <a:gd name="T15" fmla="*/ 4 h 4"/>
                  <a:gd name="T16" fmla="*/ 6 w 6"/>
                  <a:gd name="T17" fmla="*/ 2 h 4"/>
                  <a:gd name="T18" fmla="*/ 6 w 6"/>
                  <a:gd name="T19" fmla="*/ 0 h 4"/>
                  <a:gd name="T20" fmla="*/ 6 w 6"/>
                  <a:gd name="T21" fmla="*/ 0 h 4"/>
                  <a:gd name="T22" fmla="*/ 6 w 6"/>
                  <a:gd name="T23" fmla="*/ 0 h 4"/>
                  <a:gd name="T24" fmla="*/ 6 w 6"/>
                  <a:gd name="T25" fmla="*/ 0 h 4"/>
                  <a:gd name="T26" fmla="*/ 6 w 6"/>
                  <a:gd name="T2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4">
                    <a:moveTo>
                      <a:pt x="6" y="0"/>
                    </a:moveTo>
                    <a:cubicBezTo>
                      <a:pt x="6" y="1"/>
                      <a:pt x="5" y="2"/>
                      <a:pt x="3" y="2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2" y="2"/>
                      <a:pt x="0" y="1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"/>
                      <a:pt x="2" y="4"/>
                      <a:pt x="3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5" y="4"/>
                      <a:pt x="6" y="3"/>
                      <a:pt x="6" y="2"/>
                    </a:cubicBezTo>
                    <a:cubicBezTo>
                      <a:pt x="6" y="0"/>
                      <a:pt x="6" y="0"/>
                      <a:pt x="6" y="0"/>
                    </a:cubicBezTo>
                    <a:moveTo>
                      <a:pt x="6" y="0"/>
                    </a:move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1862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2" name="任意多边形: 形状 301">
                <a:extLst>
                  <a:ext uri="{FF2B5EF4-FFF2-40B4-BE49-F238E27FC236}">
                    <a16:creationId xmlns:a16="http://schemas.microsoft.com/office/drawing/2014/main" id="{480AB644-28CE-42CC-A5AD-AFC89BDC692B}"/>
                  </a:ext>
                </a:extLst>
              </p:cNvPr>
              <p:cNvSpPr/>
              <p:nvPr/>
            </p:nvSpPr>
            <p:spPr bwMode="auto">
              <a:xfrm>
                <a:off x="4504823" y="4655118"/>
                <a:ext cx="31744" cy="15872"/>
              </a:xfrm>
              <a:custGeom>
                <a:avLst/>
                <a:gdLst>
                  <a:gd name="T0" fmla="*/ 6 w 6"/>
                  <a:gd name="T1" fmla="*/ 0 h 3"/>
                  <a:gd name="T2" fmla="*/ 6 w 6"/>
                  <a:gd name="T3" fmla="*/ 1 h 3"/>
                  <a:gd name="T4" fmla="*/ 3 w 6"/>
                  <a:gd name="T5" fmla="*/ 3 h 3"/>
                  <a:gd name="T6" fmla="*/ 3 w 6"/>
                  <a:gd name="T7" fmla="*/ 3 h 3"/>
                  <a:gd name="T8" fmla="*/ 1 w 6"/>
                  <a:gd name="T9" fmla="*/ 1 h 3"/>
                  <a:gd name="T10" fmla="*/ 1 w 6"/>
                  <a:gd name="T11" fmla="*/ 0 h 3"/>
                  <a:gd name="T12" fmla="*/ 0 w 6"/>
                  <a:gd name="T13" fmla="*/ 1 h 3"/>
                  <a:gd name="T14" fmla="*/ 0 w 6"/>
                  <a:gd name="T15" fmla="*/ 1 h 3"/>
                  <a:gd name="T16" fmla="*/ 3 w 6"/>
                  <a:gd name="T17" fmla="*/ 3 h 3"/>
                  <a:gd name="T18" fmla="*/ 3 w 6"/>
                  <a:gd name="T19" fmla="*/ 3 h 3"/>
                  <a:gd name="T20" fmla="*/ 6 w 6"/>
                  <a:gd name="T21" fmla="*/ 1 h 3"/>
                  <a:gd name="T22" fmla="*/ 6 w 6"/>
                  <a:gd name="T23" fmla="*/ 1 h 3"/>
                  <a:gd name="T24" fmla="*/ 6 w 6"/>
                  <a:gd name="T25" fmla="*/ 1 h 3"/>
                  <a:gd name="T26" fmla="*/ 6 w 6"/>
                  <a:gd name="T27" fmla="*/ 1 h 3"/>
                  <a:gd name="T28" fmla="*/ 6 w 6"/>
                  <a:gd name="T2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" h="3">
                    <a:moveTo>
                      <a:pt x="6" y="0"/>
                    </a:moveTo>
                    <a:cubicBezTo>
                      <a:pt x="6" y="1"/>
                      <a:pt x="6" y="1"/>
                      <a:pt x="6" y="1"/>
                    </a:cubicBezTo>
                    <a:cubicBezTo>
                      <a:pt x="6" y="2"/>
                      <a:pt x="5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2" y="3"/>
                      <a:pt x="1" y="2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5" y="3"/>
                      <a:pt x="6" y="2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0"/>
                      <a:pt x="6" y="0"/>
                    </a:cubicBezTo>
                  </a:path>
                </a:pathLst>
              </a:custGeom>
              <a:solidFill>
                <a:srgbClr val="518BC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3" name="任意多边形: 形状 302">
                <a:extLst>
                  <a:ext uri="{FF2B5EF4-FFF2-40B4-BE49-F238E27FC236}">
                    <a16:creationId xmlns:a16="http://schemas.microsoft.com/office/drawing/2014/main" id="{A7435AB6-8A83-4028-9C59-2BDE4B68B1EF}"/>
                  </a:ext>
                </a:extLst>
              </p:cNvPr>
              <p:cNvSpPr/>
              <p:nvPr/>
            </p:nvSpPr>
            <p:spPr bwMode="auto">
              <a:xfrm>
                <a:off x="4510113" y="4319158"/>
                <a:ext cx="26453" cy="351832"/>
              </a:xfrm>
              <a:custGeom>
                <a:avLst/>
                <a:gdLst>
                  <a:gd name="T0" fmla="*/ 0 w 5"/>
                  <a:gd name="T1" fmla="*/ 0 h 64"/>
                  <a:gd name="T2" fmla="*/ 0 w 5"/>
                  <a:gd name="T3" fmla="*/ 61 h 64"/>
                  <a:gd name="T4" fmla="*/ 0 w 5"/>
                  <a:gd name="T5" fmla="*/ 62 h 64"/>
                  <a:gd name="T6" fmla="*/ 2 w 5"/>
                  <a:gd name="T7" fmla="*/ 64 h 64"/>
                  <a:gd name="T8" fmla="*/ 2 w 5"/>
                  <a:gd name="T9" fmla="*/ 64 h 64"/>
                  <a:gd name="T10" fmla="*/ 5 w 5"/>
                  <a:gd name="T11" fmla="*/ 62 h 64"/>
                  <a:gd name="T12" fmla="*/ 5 w 5"/>
                  <a:gd name="T13" fmla="*/ 61 h 64"/>
                  <a:gd name="T14" fmla="*/ 5 w 5"/>
                  <a:gd name="T15" fmla="*/ 3 h 64"/>
                  <a:gd name="T16" fmla="*/ 0 w 5"/>
                  <a:gd name="T17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64">
                    <a:moveTo>
                      <a:pt x="0" y="0"/>
                    </a:moveTo>
                    <a:cubicBezTo>
                      <a:pt x="0" y="61"/>
                      <a:pt x="0" y="61"/>
                      <a:pt x="0" y="6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2" y="64"/>
                      <a:pt x="2" y="64"/>
                      <a:pt x="2" y="64"/>
                    </a:cubicBezTo>
                    <a:cubicBezTo>
                      <a:pt x="4" y="64"/>
                      <a:pt x="5" y="63"/>
                      <a:pt x="5" y="62"/>
                    </a:cubicBezTo>
                    <a:cubicBezTo>
                      <a:pt x="5" y="61"/>
                      <a:pt x="5" y="61"/>
                      <a:pt x="5" y="61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4" name="任意多边形: 形状 303">
                <a:extLst>
                  <a:ext uri="{FF2B5EF4-FFF2-40B4-BE49-F238E27FC236}">
                    <a16:creationId xmlns:a16="http://schemas.microsoft.com/office/drawing/2014/main" id="{CD5201D1-4A4B-44EE-B98F-2965B0605D8F}"/>
                  </a:ext>
                </a:extLst>
              </p:cNvPr>
              <p:cNvSpPr/>
              <p:nvPr/>
            </p:nvSpPr>
            <p:spPr bwMode="auto">
              <a:xfrm>
                <a:off x="4481015" y="4276832"/>
                <a:ext cx="473518" cy="158721"/>
              </a:xfrm>
              <a:custGeom>
                <a:avLst/>
                <a:gdLst>
                  <a:gd name="T0" fmla="*/ 85 w 86"/>
                  <a:gd name="T1" fmla="*/ 3 h 29"/>
                  <a:gd name="T2" fmla="*/ 81 w 86"/>
                  <a:gd name="T3" fmla="*/ 8 h 29"/>
                  <a:gd name="T4" fmla="*/ 67 w 86"/>
                  <a:gd name="T5" fmla="*/ 17 h 29"/>
                  <a:gd name="T6" fmla="*/ 67 w 86"/>
                  <a:gd name="T7" fmla="*/ 20 h 29"/>
                  <a:gd name="T8" fmla="*/ 74 w 86"/>
                  <a:gd name="T9" fmla="*/ 16 h 29"/>
                  <a:gd name="T10" fmla="*/ 74 w 86"/>
                  <a:gd name="T11" fmla="*/ 16 h 29"/>
                  <a:gd name="T12" fmla="*/ 78 w 86"/>
                  <a:gd name="T13" fmla="*/ 13 h 29"/>
                  <a:gd name="T14" fmla="*/ 78 w 86"/>
                  <a:gd name="T15" fmla="*/ 13 h 29"/>
                  <a:gd name="T16" fmla="*/ 81 w 86"/>
                  <a:gd name="T17" fmla="*/ 12 h 29"/>
                  <a:gd name="T18" fmla="*/ 81 w 86"/>
                  <a:gd name="T19" fmla="*/ 12 h 29"/>
                  <a:gd name="T20" fmla="*/ 85 w 86"/>
                  <a:gd name="T21" fmla="*/ 3 h 29"/>
                  <a:gd name="T22" fmla="*/ 1 w 86"/>
                  <a:gd name="T23" fmla="*/ 0 h 29"/>
                  <a:gd name="T24" fmla="*/ 4 w 86"/>
                  <a:gd name="T25" fmla="*/ 8 h 29"/>
                  <a:gd name="T26" fmla="*/ 5 w 86"/>
                  <a:gd name="T27" fmla="*/ 8 h 29"/>
                  <a:gd name="T28" fmla="*/ 10 w 86"/>
                  <a:gd name="T29" fmla="*/ 11 h 29"/>
                  <a:gd name="T30" fmla="*/ 35 w 86"/>
                  <a:gd name="T31" fmla="*/ 26 h 29"/>
                  <a:gd name="T32" fmla="*/ 38 w 86"/>
                  <a:gd name="T33" fmla="*/ 27 h 29"/>
                  <a:gd name="T34" fmla="*/ 42 w 86"/>
                  <a:gd name="T35" fmla="*/ 28 h 29"/>
                  <a:gd name="T36" fmla="*/ 46 w 86"/>
                  <a:gd name="T37" fmla="*/ 29 h 29"/>
                  <a:gd name="T38" fmla="*/ 48 w 86"/>
                  <a:gd name="T39" fmla="*/ 28 h 29"/>
                  <a:gd name="T40" fmla="*/ 49 w 86"/>
                  <a:gd name="T41" fmla="*/ 28 h 29"/>
                  <a:gd name="T42" fmla="*/ 49 w 86"/>
                  <a:gd name="T43" fmla="*/ 28 h 29"/>
                  <a:gd name="T44" fmla="*/ 54 w 86"/>
                  <a:gd name="T45" fmla="*/ 27 h 29"/>
                  <a:gd name="T46" fmla="*/ 54 w 86"/>
                  <a:gd name="T47" fmla="*/ 27 h 29"/>
                  <a:gd name="T48" fmla="*/ 54 w 86"/>
                  <a:gd name="T49" fmla="*/ 27 h 29"/>
                  <a:gd name="T50" fmla="*/ 57 w 86"/>
                  <a:gd name="T51" fmla="*/ 26 h 29"/>
                  <a:gd name="T52" fmla="*/ 63 w 86"/>
                  <a:gd name="T53" fmla="*/ 22 h 29"/>
                  <a:gd name="T54" fmla="*/ 63 w 86"/>
                  <a:gd name="T55" fmla="*/ 19 h 29"/>
                  <a:gd name="T56" fmla="*/ 57 w 86"/>
                  <a:gd name="T57" fmla="*/ 22 h 29"/>
                  <a:gd name="T58" fmla="*/ 46 w 86"/>
                  <a:gd name="T59" fmla="*/ 25 h 29"/>
                  <a:gd name="T60" fmla="*/ 35 w 86"/>
                  <a:gd name="T61" fmla="*/ 22 h 29"/>
                  <a:gd name="T62" fmla="*/ 4 w 86"/>
                  <a:gd name="T63" fmla="*/ 4 h 29"/>
                  <a:gd name="T64" fmla="*/ 1 w 86"/>
                  <a:gd name="T65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86" h="29">
                    <a:moveTo>
                      <a:pt x="85" y="3"/>
                    </a:moveTo>
                    <a:cubicBezTo>
                      <a:pt x="85" y="5"/>
                      <a:pt x="83" y="7"/>
                      <a:pt x="81" y="8"/>
                    </a:cubicBezTo>
                    <a:cubicBezTo>
                      <a:pt x="67" y="17"/>
                      <a:pt x="67" y="17"/>
                      <a:pt x="67" y="17"/>
                    </a:cubicBezTo>
                    <a:cubicBezTo>
                      <a:pt x="67" y="20"/>
                      <a:pt x="67" y="20"/>
                      <a:pt x="67" y="20"/>
                    </a:cubicBezTo>
                    <a:cubicBezTo>
                      <a:pt x="74" y="16"/>
                      <a:pt x="74" y="16"/>
                      <a:pt x="74" y="16"/>
                    </a:cubicBezTo>
                    <a:cubicBezTo>
                      <a:pt x="74" y="16"/>
                      <a:pt x="74" y="16"/>
                      <a:pt x="74" y="16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78" y="13"/>
                      <a:pt x="78" y="13"/>
                      <a:pt x="78" y="13"/>
                    </a:cubicBezTo>
                    <a:cubicBezTo>
                      <a:pt x="81" y="12"/>
                      <a:pt x="81" y="12"/>
                      <a:pt x="81" y="12"/>
                    </a:cubicBezTo>
                    <a:cubicBezTo>
                      <a:pt x="81" y="12"/>
                      <a:pt x="81" y="12"/>
                      <a:pt x="81" y="12"/>
                    </a:cubicBezTo>
                    <a:cubicBezTo>
                      <a:pt x="84" y="10"/>
                      <a:pt x="86" y="6"/>
                      <a:pt x="85" y="3"/>
                    </a:cubicBezTo>
                    <a:moveTo>
                      <a:pt x="1" y="0"/>
                    </a:moveTo>
                    <a:cubicBezTo>
                      <a:pt x="0" y="3"/>
                      <a:pt x="1" y="6"/>
                      <a:pt x="4" y="8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10" y="11"/>
                      <a:pt x="10" y="11"/>
                      <a:pt x="10" y="11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6" y="26"/>
                      <a:pt x="37" y="27"/>
                      <a:pt x="38" y="27"/>
                    </a:cubicBezTo>
                    <a:cubicBezTo>
                      <a:pt x="40" y="28"/>
                      <a:pt x="41" y="28"/>
                      <a:pt x="42" y="28"/>
                    </a:cubicBezTo>
                    <a:cubicBezTo>
                      <a:pt x="44" y="28"/>
                      <a:pt x="45" y="29"/>
                      <a:pt x="46" y="29"/>
                    </a:cubicBezTo>
                    <a:cubicBezTo>
                      <a:pt x="47" y="29"/>
                      <a:pt x="47" y="29"/>
                      <a:pt x="48" y="28"/>
                    </a:cubicBezTo>
                    <a:cubicBezTo>
                      <a:pt x="48" y="28"/>
                      <a:pt x="49" y="28"/>
                      <a:pt x="4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1" y="28"/>
                      <a:pt x="53" y="28"/>
                      <a:pt x="54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4" y="27"/>
                      <a:pt x="54" y="27"/>
                      <a:pt x="54" y="27"/>
                    </a:cubicBezTo>
                    <a:cubicBezTo>
                      <a:pt x="55" y="27"/>
                      <a:pt x="56" y="26"/>
                      <a:pt x="57" y="26"/>
                    </a:cubicBezTo>
                    <a:cubicBezTo>
                      <a:pt x="63" y="22"/>
                      <a:pt x="63" y="22"/>
                      <a:pt x="63" y="22"/>
                    </a:cubicBezTo>
                    <a:cubicBezTo>
                      <a:pt x="63" y="19"/>
                      <a:pt x="63" y="19"/>
                      <a:pt x="63" y="19"/>
                    </a:cubicBezTo>
                    <a:cubicBezTo>
                      <a:pt x="57" y="22"/>
                      <a:pt x="57" y="22"/>
                      <a:pt x="57" y="22"/>
                    </a:cubicBezTo>
                    <a:cubicBezTo>
                      <a:pt x="54" y="24"/>
                      <a:pt x="50" y="25"/>
                      <a:pt x="46" y="25"/>
                    </a:cubicBezTo>
                    <a:cubicBezTo>
                      <a:pt x="42" y="25"/>
                      <a:pt x="39" y="24"/>
                      <a:pt x="35" y="22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4"/>
                      <a:pt x="1" y="2"/>
                      <a:pt x="1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5" name="任意多边形: 形状 304">
                <a:extLst>
                  <a:ext uri="{FF2B5EF4-FFF2-40B4-BE49-F238E27FC236}">
                    <a16:creationId xmlns:a16="http://schemas.microsoft.com/office/drawing/2014/main" id="{1BCA00DE-2983-4B47-BA2B-F2818B4F44AA}"/>
                  </a:ext>
                </a:extLst>
              </p:cNvPr>
              <p:cNvSpPr/>
              <p:nvPr/>
            </p:nvSpPr>
            <p:spPr bwMode="auto">
              <a:xfrm>
                <a:off x="4481015" y="4226572"/>
                <a:ext cx="473518" cy="185174"/>
              </a:xfrm>
              <a:custGeom>
                <a:avLst/>
                <a:gdLst>
                  <a:gd name="T0" fmla="*/ 2 w 86"/>
                  <a:gd name="T1" fmla="*/ 4 h 34"/>
                  <a:gd name="T2" fmla="*/ 1 w 86"/>
                  <a:gd name="T3" fmla="*/ 9 h 34"/>
                  <a:gd name="T4" fmla="*/ 4 w 86"/>
                  <a:gd name="T5" fmla="*/ 13 h 34"/>
                  <a:gd name="T6" fmla="*/ 35 w 86"/>
                  <a:gd name="T7" fmla="*/ 31 h 34"/>
                  <a:gd name="T8" fmla="*/ 46 w 86"/>
                  <a:gd name="T9" fmla="*/ 34 h 34"/>
                  <a:gd name="T10" fmla="*/ 57 w 86"/>
                  <a:gd name="T11" fmla="*/ 31 h 34"/>
                  <a:gd name="T12" fmla="*/ 63 w 86"/>
                  <a:gd name="T13" fmla="*/ 28 h 34"/>
                  <a:gd name="T14" fmla="*/ 63 w 86"/>
                  <a:gd name="T15" fmla="*/ 20 h 34"/>
                  <a:gd name="T16" fmla="*/ 48 w 86"/>
                  <a:gd name="T17" fmla="*/ 24 h 34"/>
                  <a:gd name="T18" fmla="*/ 40 w 86"/>
                  <a:gd name="T19" fmla="*/ 23 h 34"/>
                  <a:gd name="T20" fmla="*/ 2 w 86"/>
                  <a:gd name="T21" fmla="*/ 4 h 34"/>
                  <a:gd name="T22" fmla="*/ 75 w 86"/>
                  <a:gd name="T23" fmla="*/ 0 h 34"/>
                  <a:gd name="T24" fmla="*/ 67 w 86"/>
                  <a:gd name="T25" fmla="*/ 18 h 34"/>
                  <a:gd name="T26" fmla="*/ 67 w 86"/>
                  <a:gd name="T27" fmla="*/ 26 h 34"/>
                  <a:gd name="T28" fmla="*/ 81 w 86"/>
                  <a:gd name="T29" fmla="*/ 17 h 34"/>
                  <a:gd name="T30" fmla="*/ 85 w 86"/>
                  <a:gd name="T31" fmla="*/ 12 h 34"/>
                  <a:gd name="T32" fmla="*/ 81 w 86"/>
                  <a:gd name="T33" fmla="*/ 4 h 34"/>
                  <a:gd name="T34" fmla="*/ 75 w 86"/>
                  <a:gd name="T3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86" h="34">
                    <a:moveTo>
                      <a:pt x="2" y="4"/>
                    </a:moveTo>
                    <a:cubicBezTo>
                      <a:pt x="1" y="5"/>
                      <a:pt x="0" y="7"/>
                      <a:pt x="1" y="9"/>
                    </a:cubicBezTo>
                    <a:cubicBezTo>
                      <a:pt x="1" y="11"/>
                      <a:pt x="2" y="13"/>
                      <a:pt x="4" y="13"/>
                    </a:cubicBezTo>
                    <a:cubicBezTo>
                      <a:pt x="35" y="31"/>
                      <a:pt x="35" y="31"/>
                      <a:pt x="35" y="31"/>
                    </a:cubicBezTo>
                    <a:cubicBezTo>
                      <a:pt x="39" y="33"/>
                      <a:pt x="42" y="34"/>
                      <a:pt x="46" y="34"/>
                    </a:cubicBezTo>
                    <a:cubicBezTo>
                      <a:pt x="50" y="34"/>
                      <a:pt x="54" y="33"/>
                      <a:pt x="57" y="31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63" y="20"/>
                      <a:pt x="63" y="20"/>
                      <a:pt x="63" y="20"/>
                    </a:cubicBezTo>
                    <a:cubicBezTo>
                      <a:pt x="58" y="23"/>
                      <a:pt x="53" y="24"/>
                      <a:pt x="48" y="24"/>
                    </a:cubicBezTo>
                    <a:cubicBezTo>
                      <a:pt x="45" y="24"/>
                      <a:pt x="42" y="23"/>
                      <a:pt x="40" y="23"/>
                    </a:cubicBezTo>
                    <a:cubicBezTo>
                      <a:pt x="28" y="19"/>
                      <a:pt x="8" y="7"/>
                      <a:pt x="2" y="4"/>
                    </a:cubicBezTo>
                    <a:moveTo>
                      <a:pt x="75" y="0"/>
                    </a:moveTo>
                    <a:cubicBezTo>
                      <a:pt x="75" y="8"/>
                      <a:pt x="72" y="14"/>
                      <a:pt x="67" y="18"/>
                    </a:cubicBezTo>
                    <a:cubicBezTo>
                      <a:pt x="67" y="26"/>
                      <a:pt x="67" y="26"/>
                      <a:pt x="67" y="26"/>
                    </a:cubicBezTo>
                    <a:cubicBezTo>
                      <a:pt x="81" y="17"/>
                      <a:pt x="81" y="17"/>
                      <a:pt x="81" y="17"/>
                    </a:cubicBezTo>
                    <a:cubicBezTo>
                      <a:pt x="83" y="16"/>
                      <a:pt x="85" y="14"/>
                      <a:pt x="85" y="12"/>
                    </a:cubicBezTo>
                    <a:cubicBezTo>
                      <a:pt x="86" y="9"/>
                      <a:pt x="84" y="6"/>
                      <a:pt x="81" y="4"/>
                    </a:cubicBezTo>
                    <a:cubicBezTo>
                      <a:pt x="75" y="0"/>
                      <a:pt x="75" y="0"/>
                      <a:pt x="75" y="0"/>
                    </a:cubicBezTo>
                  </a:path>
                </a:pathLst>
              </a:custGeom>
              <a:solidFill>
                <a:srgbClr val="ACCE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6" name="任意多边形: 形状 305">
                <a:extLst>
                  <a:ext uri="{FF2B5EF4-FFF2-40B4-BE49-F238E27FC236}">
                    <a16:creationId xmlns:a16="http://schemas.microsoft.com/office/drawing/2014/main" id="{25B62A1B-4EA6-41FB-8522-BD9E9F4BCB97}"/>
                  </a:ext>
                </a:extLst>
              </p:cNvPr>
              <p:cNvSpPr/>
              <p:nvPr/>
            </p:nvSpPr>
            <p:spPr bwMode="auto">
              <a:xfrm>
                <a:off x="4306422" y="4501688"/>
                <a:ext cx="193111" cy="92588"/>
              </a:xfrm>
              <a:custGeom>
                <a:avLst/>
                <a:gdLst>
                  <a:gd name="T0" fmla="*/ 8 w 35"/>
                  <a:gd name="T1" fmla="*/ 0 h 17"/>
                  <a:gd name="T2" fmla="*/ 4 w 35"/>
                  <a:gd name="T3" fmla="*/ 0 h 17"/>
                  <a:gd name="T4" fmla="*/ 1 w 35"/>
                  <a:gd name="T5" fmla="*/ 4 h 17"/>
                  <a:gd name="T6" fmla="*/ 15 w 35"/>
                  <a:gd name="T7" fmla="*/ 13 h 17"/>
                  <a:gd name="T8" fmla="*/ 26 w 35"/>
                  <a:gd name="T9" fmla="*/ 17 h 17"/>
                  <a:gd name="T10" fmla="*/ 29 w 35"/>
                  <a:gd name="T11" fmla="*/ 16 h 17"/>
                  <a:gd name="T12" fmla="*/ 31 w 35"/>
                  <a:gd name="T13" fmla="*/ 5 h 17"/>
                  <a:gd name="T14" fmla="*/ 31 w 35"/>
                  <a:gd name="T15" fmla="*/ 6 h 17"/>
                  <a:gd name="T16" fmla="*/ 26 w 35"/>
                  <a:gd name="T17" fmla="*/ 8 h 17"/>
                  <a:gd name="T18" fmla="*/ 20 w 35"/>
                  <a:gd name="T19" fmla="*/ 3 h 17"/>
                  <a:gd name="T20" fmla="*/ 20 w 35"/>
                  <a:gd name="T21" fmla="*/ 0 h 17"/>
                  <a:gd name="T22" fmla="*/ 11 w 35"/>
                  <a:gd name="T23" fmla="*/ 0 h 17"/>
                  <a:gd name="T24" fmla="*/ 8 w 35"/>
                  <a:gd name="T25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17">
                    <a:moveTo>
                      <a:pt x="8" y="0"/>
                    </a:moveTo>
                    <a:cubicBezTo>
                      <a:pt x="6" y="0"/>
                      <a:pt x="5" y="0"/>
                      <a:pt x="4" y="0"/>
                    </a:cubicBezTo>
                    <a:cubicBezTo>
                      <a:pt x="1" y="1"/>
                      <a:pt x="0" y="3"/>
                      <a:pt x="1" y="4"/>
                    </a:cubicBezTo>
                    <a:cubicBezTo>
                      <a:pt x="2" y="5"/>
                      <a:pt x="9" y="10"/>
                      <a:pt x="15" y="13"/>
                    </a:cubicBezTo>
                    <a:cubicBezTo>
                      <a:pt x="19" y="16"/>
                      <a:pt x="23" y="17"/>
                      <a:pt x="26" y="17"/>
                    </a:cubicBezTo>
                    <a:cubicBezTo>
                      <a:pt x="27" y="17"/>
                      <a:pt x="28" y="17"/>
                      <a:pt x="29" y="16"/>
                    </a:cubicBezTo>
                    <a:cubicBezTo>
                      <a:pt x="35" y="13"/>
                      <a:pt x="31" y="5"/>
                      <a:pt x="31" y="5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31" y="7"/>
                      <a:pt x="28" y="8"/>
                      <a:pt x="26" y="8"/>
                    </a:cubicBezTo>
                    <a:cubicBezTo>
                      <a:pt x="23" y="8"/>
                      <a:pt x="20" y="7"/>
                      <a:pt x="20" y="3"/>
                    </a:cubicBezTo>
                    <a:cubicBezTo>
                      <a:pt x="20" y="2"/>
                      <a:pt x="20" y="1"/>
                      <a:pt x="20" y="0"/>
                    </a:cubicBezTo>
                    <a:cubicBezTo>
                      <a:pt x="17" y="0"/>
                      <a:pt x="13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</a:path>
                </a:pathLst>
              </a:custGeom>
              <a:solidFill>
                <a:srgbClr val="005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7" name="任意多边形: 形状 306">
                <a:extLst>
                  <a:ext uri="{FF2B5EF4-FFF2-40B4-BE49-F238E27FC236}">
                    <a16:creationId xmlns:a16="http://schemas.microsoft.com/office/drawing/2014/main" id="{EC25ADA4-74C5-401A-A5D0-E9BCC49D833D}"/>
                  </a:ext>
                </a:extLst>
              </p:cNvPr>
              <p:cNvSpPr/>
              <p:nvPr/>
            </p:nvSpPr>
            <p:spPr bwMode="auto">
              <a:xfrm>
                <a:off x="4414881" y="4491106"/>
                <a:ext cx="60844" cy="52907"/>
              </a:xfrm>
              <a:custGeom>
                <a:avLst/>
                <a:gdLst>
                  <a:gd name="T0" fmla="*/ 0 w 11"/>
                  <a:gd name="T1" fmla="*/ 0 h 10"/>
                  <a:gd name="T2" fmla="*/ 0 w 11"/>
                  <a:gd name="T3" fmla="*/ 2 h 10"/>
                  <a:gd name="T4" fmla="*/ 0 w 11"/>
                  <a:gd name="T5" fmla="*/ 5 h 10"/>
                  <a:gd name="T6" fmla="*/ 6 w 11"/>
                  <a:gd name="T7" fmla="*/ 10 h 10"/>
                  <a:gd name="T8" fmla="*/ 11 w 11"/>
                  <a:gd name="T9" fmla="*/ 8 h 10"/>
                  <a:gd name="T10" fmla="*/ 11 w 11"/>
                  <a:gd name="T11" fmla="*/ 7 h 10"/>
                  <a:gd name="T12" fmla="*/ 11 w 11"/>
                  <a:gd name="T13" fmla="*/ 1 h 10"/>
                  <a:gd name="T14" fmla="*/ 7 w 11"/>
                  <a:gd name="T15" fmla="*/ 2 h 10"/>
                  <a:gd name="T16" fmla="*/ 0 w 11"/>
                  <a:gd name="T1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10">
                    <a:moveTo>
                      <a:pt x="0" y="0"/>
                    </a:moveTo>
                    <a:cubicBezTo>
                      <a:pt x="0" y="0"/>
                      <a:pt x="0" y="1"/>
                      <a:pt x="0" y="2"/>
                    </a:cubicBezTo>
                    <a:cubicBezTo>
                      <a:pt x="0" y="3"/>
                      <a:pt x="0" y="4"/>
                      <a:pt x="0" y="5"/>
                    </a:cubicBezTo>
                    <a:cubicBezTo>
                      <a:pt x="0" y="9"/>
                      <a:pt x="3" y="10"/>
                      <a:pt x="6" y="10"/>
                    </a:cubicBezTo>
                    <a:cubicBezTo>
                      <a:pt x="8" y="10"/>
                      <a:pt x="11" y="9"/>
                      <a:pt x="11" y="8"/>
                    </a:cubicBezTo>
                    <a:cubicBezTo>
                      <a:pt x="11" y="8"/>
                      <a:pt x="11" y="8"/>
                      <a:pt x="11" y="7"/>
                    </a:cubicBezTo>
                    <a:cubicBezTo>
                      <a:pt x="11" y="6"/>
                      <a:pt x="11" y="4"/>
                      <a:pt x="11" y="1"/>
                    </a:cubicBezTo>
                    <a:cubicBezTo>
                      <a:pt x="10" y="1"/>
                      <a:pt x="9" y="2"/>
                      <a:pt x="7" y="2"/>
                    </a:cubicBezTo>
                    <a:cubicBezTo>
                      <a:pt x="5" y="2"/>
                      <a:pt x="2" y="1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8" name="任意多边形: 形状 307">
                <a:extLst>
                  <a:ext uri="{FF2B5EF4-FFF2-40B4-BE49-F238E27FC236}">
                    <a16:creationId xmlns:a16="http://schemas.microsoft.com/office/drawing/2014/main" id="{C2812D4C-BC2E-4CD5-B95C-779B34202D42}"/>
                  </a:ext>
                </a:extLst>
              </p:cNvPr>
              <p:cNvSpPr/>
              <p:nvPr/>
            </p:nvSpPr>
            <p:spPr bwMode="auto">
              <a:xfrm>
                <a:off x="4713806" y="3742472"/>
                <a:ext cx="92588" cy="55553"/>
              </a:xfrm>
              <a:custGeom>
                <a:avLst/>
                <a:gdLst>
                  <a:gd name="T0" fmla="*/ 0 w 17"/>
                  <a:gd name="T1" fmla="*/ 9 h 10"/>
                  <a:gd name="T2" fmla="*/ 0 w 17"/>
                  <a:gd name="T3" fmla="*/ 10 h 10"/>
                  <a:gd name="T4" fmla="*/ 0 w 17"/>
                  <a:gd name="T5" fmla="*/ 10 h 10"/>
                  <a:gd name="T6" fmla="*/ 2 w 17"/>
                  <a:gd name="T7" fmla="*/ 10 h 10"/>
                  <a:gd name="T8" fmla="*/ 1 w 17"/>
                  <a:gd name="T9" fmla="*/ 10 h 10"/>
                  <a:gd name="T10" fmla="*/ 0 w 17"/>
                  <a:gd name="T11" fmla="*/ 9 h 10"/>
                  <a:gd name="T12" fmla="*/ 16 w 17"/>
                  <a:gd name="T13" fmla="*/ 0 h 10"/>
                  <a:gd name="T14" fmla="*/ 9 w 17"/>
                  <a:gd name="T15" fmla="*/ 3 h 10"/>
                  <a:gd name="T16" fmla="*/ 15 w 17"/>
                  <a:gd name="T17" fmla="*/ 8 h 10"/>
                  <a:gd name="T18" fmla="*/ 17 w 17"/>
                  <a:gd name="T19" fmla="*/ 5 h 10"/>
                  <a:gd name="T20" fmla="*/ 16 w 17"/>
                  <a:gd name="T2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10">
                    <a:moveTo>
                      <a:pt x="0" y="9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10"/>
                      <a:pt x="1" y="10"/>
                      <a:pt x="2" y="10"/>
                    </a:cubicBezTo>
                    <a:cubicBezTo>
                      <a:pt x="2" y="10"/>
                      <a:pt x="2" y="10"/>
                      <a:pt x="1" y="10"/>
                    </a:cubicBezTo>
                    <a:cubicBezTo>
                      <a:pt x="1" y="10"/>
                      <a:pt x="1" y="10"/>
                      <a:pt x="0" y="9"/>
                    </a:cubicBezTo>
                    <a:moveTo>
                      <a:pt x="16" y="0"/>
                    </a:moveTo>
                    <a:cubicBezTo>
                      <a:pt x="15" y="2"/>
                      <a:pt x="12" y="3"/>
                      <a:pt x="9" y="3"/>
                    </a:cubicBezTo>
                    <a:cubicBezTo>
                      <a:pt x="11" y="5"/>
                      <a:pt x="13" y="6"/>
                      <a:pt x="15" y="8"/>
                    </a:cubicBezTo>
                    <a:cubicBezTo>
                      <a:pt x="17" y="7"/>
                      <a:pt x="17" y="6"/>
                      <a:pt x="17" y="5"/>
                    </a:cubicBezTo>
                    <a:cubicBezTo>
                      <a:pt x="17" y="4"/>
                      <a:pt x="16" y="2"/>
                      <a:pt x="16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9" name="任意多边形: 形状 308">
                <a:extLst>
                  <a:ext uri="{FF2B5EF4-FFF2-40B4-BE49-F238E27FC236}">
                    <a16:creationId xmlns:a16="http://schemas.microsoft.com/office/drawing/2014/main" id="{731196EF-668A-4B6A-A8E7-DBD65FAE0AC5}"/>
                  </a:ext>
                </a:extLst>
              </p:cNvPr>
              <p:cNvSpPr/>
              <p:nvPr/>
            </p:nvSpPr>
            <p:spPr bwMode="auto">
              <a:xfrm>
                <a:off x="4708515" y="3742472"/>
                <a:ext cx="87297" cy="60844"/>
              </a:xfrm>
              <a:custGeom>
                <a:avLst/>
                <a:gdLst>
                  <a:gd name="T0" fmla="*/ 3 w 16"/>
                  <a:gd name="T1" fmla="*/ 0 h 11"/>
                  <a:gd name="T2" fmla="*/ 0 w 16"/>
                  <a:gd name="T3" fmla="*/ 1 h 11"/>
                  <a:gd name="T4" fmla="*/ 0 w 16"/>
                  <a:gd name="T5" fmla="*/ 2 h 11"/>
                  <a:gd name="T6" fmla="*/ 1 w 16"/>
                  <a:gd name="T7" fmla="*/ 9 h 11"/>
                  <a:gd name="T8" fmla="*/ 2 w 16"/>
                  <a:gd name="T9" fmla="*/ 10 h 11"/>
                  <a:gd name="T10" fmla="*/ 3 w 16"/>
                  <a:gd name="T11" fmla="*/ 10 h 11"/>
                  <a:gd name="T12" fmla="*/ 6 w 16"/>
                  <a:gd name="T13" fmla="*/ 11 h 11"/>
                  <a:gd name="T14" fmla="*/ 14 w 16"/>
                  <a:gd name="T15" fmla="*/ 9 h 11"/>
                  <a:gd name="T16" fmla="*/ 16 w 16"/>
                  <a:gd name="T17" fmla="*/ 8 h 11"/>
                  <a:gd name="T18" fmla="*/ 10 w 16"/>
                  <a:gd name="T19" fmla="*/ 3 h 11"/>
                  <a:gd name="T20" fmla="*/ 9 w 16"/>
                  <a:gd name="T21" fmla="*/ 3 h 11"/>
                  <a:gd name="T22" fmla="*/ 3 w 16"/>
                  <a:gd name="T2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1">
                    <a:moveTo>
                      <a:pt x="3" y="0"/>
                    </a:moveTo>
                    <a:cubicBezTo>
                      <a:pt x="2" y="1"/>
                      <a:pt x="1" y="1"/>
                      <a:pt x="0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3"/>
                      <a:pt x="1" y="6"/>
                      <a:pt x="1" y="9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4" y="11"/>
                      <a:pt x="5" y="11"/>
                      <a:pt x="6" y="11"/>
                    </a:cubicBezTo>
                    <a:cubicBezTo>
                      <a:pt x="9" y="11"/>
                      <a:pt x="11" y="10"/>
                      <a:pt x="14" y="9"/>
                    </a:cubicBezTo>
                    <a:cubicBezTo>
                      <a:pt x="15" y="9"/>
                      <a:pt x="16" y="8"/>
                      <a:pt x="16" y="8"/>
                    </a:cubicBezTo>
                    <a:cubicBezTo>
                      <a:pt x="14" y="6"/>
                      <a:pt x="12" y="5"/>
                      <a:pt x="10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6" y="3"/>
                      <a:pt x="3" y="2"/>
                      <a:pt x="3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0" name="任意多边形: 形状 309">
                <a:extLst>
                  <a:ext uri="{FF2B5EF4-FFF2-40B4-BE49-F238E27FC236}">
                    <a16:creationId xmlns:a16="http://schemas.microsoft.com/office/drawing/2014/main" id="{FB227A58-7008-4C69-9D2B-569685B7308B}"/>
                  </a:ext>
                </a:extLst>
              </p:cNvPr>
              <p:cNvSpPr/>
              <p:nvPr/>
            </p:nvSpPr>
            <p:spPr bwMode="auto">
              <a:xfrm>
                <a:off x="4629155" y="3594333"/>
                <a:ext cx="89942" cy="137558"/>
              </a:xfrm>
              <a:custGeom>
                <a:avLst/>
                <a:gdLst>
                  <a:gd name="T0" fmla="*/ 0 w 16"/>
                  <a:gd name="T1" fmla="*/ 0 h 25"/>
                  <a:gd name="T2" fmla="*/ 0 w 16"/>
                  <a:gd name="T3" fmla="*/ 16 h 25"/>
                  <a:gd name="T4" fmla="*/ 4 w 16"/>
                  <a:gd name="T5" fmla="*/ 18 h 25"/>
                  <a:gd name="T6" fmla="*/ 16 w 16"/>
                  <a:gd name="T7" fmla="*/ 25 h 25"/>
                  <a:gd name="T8" fmla="*/ 9 w 16"/>
                  <a:gd name="T9" fmla="*/ 18 h 25"/>
                  <a:gd name="T10" fmla="*/ 7 w 16"/>
                  <a:gd name="T11" fmla="*/ 19 h 25"/>
                  <a:gd name="T12" fmla="*/ 5 w 16"/>
                  <a:gd name="T13" fmla="*/ 17 h 25"/>
                  <a:gd name="T14" fmla="*/ 6 w 16"/>
                  <a:gd name="T15" fmla="*/ 13 h 25"/>
                  <a:gd name="T16" fmla="*/ 1 w 16"/>
                  <a:gd name="T17" fmla="*/ 1 h 25"/>
                  <a:gd name="T18" fmla="*/ 0 w 16"/>
                  <a:gd name="T19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25">
                    <a:moveTo>
                      <a:pt x="0" y="0"/>
                    </a:moveTo>
                    <a:cubicBezTo>
                      <a:pt x="0" y="4"/>
                      <a:pt x="0" y="12"/>
                      <a:pt x="0" y="16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9" y="21"/>
                      <a:pt x="16" y="25"/>
                    </a:cubicBezTo>
                    <a:cubicBezTo>
                      <a:pt x="14" y="22"/>
                      <a:pt x="11" y="20"/>
                      <a:pt x="9" y="18"/>
                    </a:cubicBezTo>
                    <a:cubicBezTo>
                      <a:pt x="9" y="19"/>
                      <a:pt x="8" y="19"/>
                      <a:pt x="7" y="19"/>
                    </a:cubicBezTo>
                    <a:cubicBezTo>
                      <a:pt x="6" y="19"/>
                      <a:pt x="5" y="17"/>
                      <a:pt x="5" y="1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1" y="9"/>
                      <a:pt x="1" y="1"/>
                      <a:pt x="1" y="1"/>
                    </a:cubicBezTo>
                    <a:cubicBezTo>
                      <a:pt x="1" y="1"/>
                      <a:pt x="0" y="1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1" name="任意多边形: 形状 310">
                <a:extLst>
                  <a:ext uri="{FF2B5EF4-FFF2-40B4-BE49-F238E27FC236}">
                    <a16:creationId xmlns:a16="http://schemas.microsoft.com/office/drawing/2014/main" id="{39EA92B3-6B41-4BDD-9947-D04FF1FEB673}"/>
                  </a:ext>
                </a:extLst>
              </p:cNvPr>
              <p:cNvSpPr/>
              <p:nvPr/>
            </p:nvSpPr>
            <p:spPr bwMode="auto">
              <a:xfrm>
                <a:off x="4629155" y="3681630"/>
                <a:ext cx="95232" cy="71425"/>
              </a:xfrm>
              <a:custGeom>
                <a:avLst/>
                <a:gdLst>
                  <a:gd name="T0" fmla="*/ 0 w 17"/>
                  <a:gd name="T1" fmla="*/ 0 h 13"/>
                  <a:gd name="T2" fmla="*/ 0 w 17"/>
                  <a:gd name="T3" fmla="*/ 2 h 13"/>
                  <a:gd name="T4" fmla="*/ 10 w 17"/>
                  <a:gd name="T5" fmla="*/ 13 h 13"/>
                  <a:gd name="T6" fmla="*/ 14 w 17"/>
                  <a:gd name="T7" fmla="*/ 13 h 13"/>
                  <a:gd name="T8" fmla="*/ 14 w 17"/>
                  <a:gd name="T9" fmla="*/ 12 h 13"/>
                  <a:gd name="T10" fmla="*/ 17 w 17"/>
                  <a:gd name="T11" fmla="*/ 11 h 13"/>
                  <a:gd name="T12" fmla="*/ 17 w 17"/>
                  <a:gd name="T13" fmla="*/ 11 h 13"/>
                  <a:gd name="T14" fmla="*/ 16 w 17"/>
                  <a:gd name="T15" fmla="*/ 9 h 13"/>
                  <a:gd name="T16" fmla="*/ 4 w 17"/>
                  <a:gd name="T17" fmla="*/ 2 h 13"/>
                  <a:gd name="T18" fmla="*/ 0 w 17"/>
                  <a:gd name="T1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7" h="13">
                    <a:moveTo>
                      <a:pt x="0" y="0"/>
                    </a:moveTo>
                    <a:cubicBezTo>
                      <a:pt x="0" y="1"/>
                      <a:pt x="0" y="2"/>
                      <a:pt x="0" y="2"/>
                    </a:cubicBezTo>
                    <a:cubicBezTo>
                      <a:pt x="0" y="6"/>
                      <a:pt x="3" y="13"/>
                      <a:pt x="10" y="13"/>
                    </a:cubicBezTo>
                    <a:cubicBezTo>
                      <a:pt x="11" y="13"/>
                      <a:pt x="12" y="13"/>
                      <a:pt x="14" y="13"/>
                    </a:cubicBezTo>
                    <a:cubicBezTo>
                      <a:pt x="14" y="13"/>
                      <a:pt x="14" y="12"/>
                      <a:pt x="14" y="12"/>
                    </a:cubicBezTo>
                    <a:cubicBezTo>
                      <a:pt x="15" y="12"/>
                      <a:pt x="16" y="12"/>
                      <a:pt x="17" y="11"/>
                    </a:cubicBezTo>
                    <a:cubicBezTo>
                      <a:pt x="17" y="11"/>
                      <a:pt x="17" y="11"/>
                      <a:pt x="17" y="11"/>
                    </a:cubicBezTo>
                    <a:cubicBezTo>
                      <a:pt x="16" y="11"/>
                      <a:pt x="16" y="10"/>
                      <a:pt x="16" y="9"/>
                    </a:cubicBezTo>
                    <a:cubicBezTo>
                      <a:pt x="9" y="5"/>
                      <a:pt x="4" y="2"/>
                      <a:pt x="4" y="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2" name="任意多边形: 形状 311">
                <a:extLst>
                  <a:ext uri="{FF2B5EF4-FFF2-40B4-BE49-F238E27FC236}">
                    <a16:creationId xmlns:a16="http://schemas.microsoft.com/office/drawing/2014/main" id="{1A47AEB4-7EE6-46DD-B4D8-54A593391F53}"/>
                  </a:ext>
                </a:extLst>
              </p:cNvPr>
              <p:cNvSpPr/>
              <p:nvPr/>
            </p:nvSpPr>
            <p:spPr bwMode="auto">
              <a:xfrm>
                <a:off x="4515404" y="4067851"/>
                <a:ext cx="132267" cy="108460"/>
              </a:xfrm>
              <a:custGeom>
                <a:avLst/>
                <a:gdLst>
                  <a:gd name="T0" fmla="*/ 18 w 24"/>
                  <a:gd name="T1" fmla="*/ 0 h 20"/>
                  <a:gd name="T2" fmla="*/ 0 w 24"/>
                  <a:gd name="T3" fmla="*/ 10 h 20"/>
                  <a:gd name="T4" fmla="*/ 23 w 24"/>
                  <a:gd name="T5" fmla="*/ 20 h 20"/>
                  <a:gd name="T6" fmla="*/ 24 w 24"/>
                  <a:gd name="T7" fmla="*/ 2 h 20"/>
                  <a:gd name="T8" fmla="*/ 18 w 24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0">
                    <a:moveTo>
                      <a:pt x="18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5" y="12"/>
                      <a:pt x="16" y="17"/>
                      <a:pt x="23" y="20"/>
                    </a:cubicBezTo>
                    <a:cubicBezTo>
                      <a:pt x="23" y="15"/>
                      <a:pt x="24" y="8"/>
                      <a:pt x="24" y="2"/>
                    </a:cubicBezTo>
                    <a:cubicBezTo>
                      <a:pt x="22" y="1"/>
                      <a:pt x="20" y="0"/>
                      <a:pt x="18" y="0"/>
                    </a:cubicBezTo>
                  </a:path>
                </a:pathLst>
              </a:custGeom>
              <a:solidFill>
                <a:srgbClr val="005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3" name="任意多边形: 形状 312">
                <a:extLst>
                  <a:ext uri="{FF2B5EF4-FFF2-40B4-BE49-F238E27FC236}">
                    <a16:creationId xmlns:a16="http://schemas.microsoft.com/office/drawing/2014/main" id="{0D7190A3-4690-4CFA-B77B-11FB829E7BB2}"/>
                  </a:ext>
                </a:extLst>
              </p:cNvPr>
              <p:cNvSpPr/>
              <p:nvPr/>
            </p:nvSpPr>
            <p:spPr bwMode="auto">
              <a:xfrm>
                <a:off x="4515404" y="4067851"/>
                <a:ext cx="97879" cy="52907"/>
              </a:xfrm>
              <a:custGeom>
                <a:avLst/>
                <a:gdLst>
                  <a:gd name="T0" fmla="*/ 18 w 18"/>
                  <a:gd name="T1" fmla="*/ 0 h 10"/>
                  <a:gd name="T2" fmla="*/ 0 w 18"/>
                  <a:gd name="T3" fmla="*/ 10 h 10"/>
                  <a:gd name="T4" fmla="*/ 0 w 18"/>
                  <a:gd name="T5" fmla="*/ 10 h 10"/>
                  <a:gd name="T6" fmla="*/ 18 w 18"/>
                  <a:gd name="T7" fmla="*/ 0 h 10"/>
                  <a:gd name="T8" fmla="*/ 18 w 18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0">
                    <a:moveTo>
                      <a:pt x="18" y="0"/>
                    </a:move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05D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4" name="任意多边形: 形状 313">
                <a:extLst>
                  <a:ext uri="{FF2B5EF4-FFF2-40B4-BE49-F238E27FC236}">
                    <a16:creationId xmlns:a16="http://schemas.microsoft.com/office/drawing/2014/main" id="{3DA124BE-D4AB-4403-BE28-1CAF096D98F0}"/>
                  </a:ext>
                </a:extLst>
              </p:cNvPr>
              <p:cNvSpPr/>
              <p:nvPr/>
            </p:nvSpPr>
            <p:spPr bwMode="auto">
              <a:xfrm>
                <a:off x="4399009" y="4120758"/>
                <a:ext cx="494681" cy="330669"/>
              </a:xfrm>
              <a:custGeom>
                <a:avLst/>
                <a:gdLst>
                  <a:gd name="T0" fmla="*/ 89 w 90"/>
                  <a:gd name="T1" fmla="*/ 14 h 60"/>
                  <a:gd name="T2" fmla="*/ 82 w 90"/>
                  <a:gd name="T3" fmla="*/ 21 h 60"/>
                  <a:gd name="T4" fmla="*/ 82 w 90"/>
                  <a:gd name="T5" fmla="*/ 37 h 60"/>
                  <a:gd name="T6" fmla="*/ 90 w 90"/>
                  <a:gd name="T7" fmla="*/ 19 h 60"/>
                  <a:gd name="T8" fmla="*/ 89 w 90"/>
                  <a:gd name="T9" fmla="*/ 14 h 60"/>
                  <a:gd name="T10" fmla="*/ 21 w 90"/>
                  <a:gd name="T11" fmla="*/ 0 h 60"/>
                  <a:gd name="T12" fmla="*/ 0 w 90"/>
                  <a:gd name="T13" fmla="*/ 12 h 60"/>
                  <a:gd name="T14" fmla="*/ 0 w 90"/>
                  <a:gd name="T15" fmla="*/ 56 h 60"/>
                  <a:gd name="T16" fmla="*/ 3 w 90"/>
                  <a:gd name="T17" fmla="*/ 58 h 60"/>
                  <a:gd name="T18" fmla="*/ 7 w 90"/>
                  <a:gd name="T19" fmla="*/ 60 h 60"/>
                  <a:gd name="T20" fmla="*/ 9 w 90"/>
                  <a:gd name="T21" fmla="*/ 60 h 60"/>
                  <a:gd name="T22" fmla="*/ 14 w 90"/>
                  <a:gd name="T23" fmla="*/ 59 h 60"/>
                  <a:gd name="T24" fmla="*/ 15 w 90"/>
                  <a:gd name="T25" fmla="*/ 59 h 60"/>
                  <a:gd name="T26" fmla="*/ 15 w 90"/>
                  <a:gd name="T27" fmla="*/ 60 h 60"/>
                  <a:gd name="T28" fmla="*/ 15 w 90"/>
                  <a:gd name="T29" fmla="*/ 28 h 60"/>
                  <a:gd name="T30" fmla="*/ 15 w 90"/>
                  <a:gd name="T31" fmla="*/ 22 h 60"/>
                  <a:gd name="T32" fmla="*/ 17 w 90"/>
                  <a:gd name="T33" fmla="*/ 23 h 60"/>
                  <a:gd name="T34" fmla="*/ 55 w 90"/>
                  <a:gd name="T35" fmla="*/ 42 h 60"/>
                  <a:gd name="T36" fmla="*/ 63 w 90"/>
                  <a:gd name="T37" fmla="*/ 43 h 60"/>
                  <a:gd name="T38" fmla="*/ 78 w 90"/>
                  <a:gd name="T39" fmla="*/ 39 h 60"/>
                  <a:gd name="T40" fmla="*/ 78 w 90"/>
                  <a:gd name="T41" fmla="*/ 22 h 60"/>
                  <a:gd name="T42" fmla="*/ 68 w 90"/>
                  <a:gd name="T43" fmla="*/ 25 h 60"/>
                  <a:gd name="T44" fmla="*/ 63 w 90"/>
                  <a:gd name="T45" fmla="*/ 26 h 60"/>
                  <a:gd name="T46" fmla="*/ 43 w 90"/>
                  <a:gd name="T47" fmla="*/ 18 h 60"/>
                  <a:gd name="T48" fmla="*/ 44 w 90"/>
                  <a:gd name="T49" fmla="*/ 10 h 60"/>
                  <a:gd name="T50" fmla="*/ 21 w 90"/>
                  <a:gd name="T51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0" h="60">
                    <a:moveTo>
                      <a:pt x="89" y="14"/>
                    </a:moveTo>
                    <a:cubicBezTo>
                      <a:pt x="88" y="17"/>
                      <a:pt x="85" y="19"/>
                      <a:pt x="82" y="21"/>
                    </a:cubicBezTo>
                    <a:cubicBezTo>
                      <a:pt x="82" y="37"/>
                      <a:pt x="82" y="37"/>
                      <a:pt x="82" y="37"/>
                    </a:cubicBezTo>
                    <a:cubicBezTo>
                      <a:pt x="87" y="33"/>
                      <a:pt x="90" y="27"/>
                      <a:pt x="90" y="19"/>
                    </a:cubicBezTo>
                    <a:cubicBezTo>
                      <a:pt x="90" y="18"/>
                      <a:pt x="90" y="16"/>
                      <a:pt x="89" y="14"/>
                    </a:cubicBezTo>
                    <a:moveTo>
                      <a:pt x="21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23"/>
                      <a:pt x="0" y="46"/>
                      <a:pt x="0" y="56"/>
                    </a:cubicBezTo>
                    <a:cubicBezTo>
                      <a:pt x="1" y="56"/>
                      <a:pt x="2" y="57"/>
                      <a:pt x="3" y="58"/>
                    </a:cubicBezTo>
                    <a:cubicBezTo>
                      <a:pt x="4" y="59"/>
                      <a:pt x="5" y="60"/>
                      <a:pt x="7" y="60"/>
                    </a:cubicBezTo>
                    <a:cubicBezTo>
                      <a:pt x="8" y="60"/>
                      <a:pt x="9" y="60"/>
                      <a:pt x="9" y="60"/>
                    </a:cubicBezTo>
                    <a:cubicBezTo>
                      <a:pt x="12" y="60"/>
                      <a:pt x="13" y="59"/>
                      <a:pt x="14" y="59"/>
                    </a:cubicBezTo>
                    <a:cubicBezTo>
                      <a:pt x="15" y="59"/>
                      <a:pt x="15" y="59"/>
                      <a:pt x="15" y="59"/>
                    </a:cubicBezTo>
                    <a:cubicBezTo>
                      <a:pt x="15" y="59"/>
                      <a:pt x="15" y="59"/>
                      <a:pt x="15" y="60"/>
                    </a:cubicBezTo>
                    <a:cubicBezTo>
                      <a:pt x="15" y="49"/>
                      <a:pt x="15" y="31"/>
                      <a:pt x="15" y="28"/>
                    </a:cubicBezTo>
                    <a:cubicBezTo>
                      <a:pt x="15" y="26"/>
                      <a:pt x="15" y="22"/>
                      <a:pt x="15" y="22"/>
                    </a:cubicBezTo>
                    <a:cubicBezTo>
                      <a:pt x="15" y="22"/>
                      <a:pt x="16" y="22"/>
                      <a:pt x="17" y="23"/>
                    </a:cubicBezTo>
                    <a:cubicBezTo>
                      <a:pt x="23" y="26"/>
                      <a:pt x="43" y="38"/>
                      <a:pt x="55" y="42"/>
                    </a:cubicBezTo>
                    <a:cubicBezTo>
                      <a:pt x="57" y="42"/>
                      <a:pt x="60" y="43"/>
                      <a:pt x="63" y="43"/>
                    </a:cubicBezTo>
                    <a:cubicBezTo>
                      <a:pt x="68" y="43"/>
                      <a:pt x="73" y="42"/>
                      <a:pt x="78" y="39"/>
                    </a:cubicBezTo>
                    <a:cubicBezTo>
                      <a:pt x="78" y="22"/>
                      <a:pt x="78" y="22"/>
                      <a:pt x="78" y="22"/>
                    </a:cubicBezTo>
                    <a:cubicBezTo>
                      <a:pt x="74" y="24"/>
                      <a:pt x="71" y="25"/>
                      <a:pt x="68" y="25"/>
                    </a:cubicBezTo>
                    <a:cubicBezTo>
                      <a:pt x="66" y="26"/>
                      <a:pt x="65" y="26"/>
                      <a:pt x="63" y="26"/>
                    </a:cubicBezTo>
                    <a:cubicBezTo>
                      <a:pt x="54" y="26"/>
                      <a:pt x="43" y="20"/>
                      <a:pt x="43" y="18"/>
                    </a:cubicBezTo>
                    <a:cubicBezTo>
                      <a:pt x="43" y="17"/>
                      <a:pt x="44" y="14"/>
                      <a:pt x="44" y="10"/>
                    </a:cubicBezTo>
                    <a:cubicBezTo>
                      <a:pt x="37" y="7"/>
                      <a:pt x="26" y="2"/>
                      <a:pt x="21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5" name="任意多边形: 形状 314">
                <a:extLst>
                  <a:ext uri="{FF2B5EF4-FFF2-40B4-BE49-F238E27FC236}">
                    <a16:creationId xmlns:a16="http://schemas.microsoft.com/office/drawing/2014/main" id="{5C88CF4E-8CAF-4D32-A977-2C12FAF7099E}"/>
                  </a:ext>
                </a:extLst>
              </p:cNvPr>
              <p:cNvSpPr/>
              <p:nvPr/>
            </p:nvSpPr>
            <p:spPr bwMode="auto">
              <a:xfrm>
                <a:off x="4399009" y="4120758"/>
                <a:ext cx="116395" cy="66134"/>
              </a:xfrm>
              <a:custGeom>
                <a:avLst/>
                <a:gdLst>
                  <a:gd name="T0" fmla="*/ 21 w 21"/>
                  <a:gd name="T1" fmla="*/ 0 h 12"/>
                  <a:gd name="T2" fmla="*/ 0 w 21"/>
                  <a:gd name="T3" fmla="*/ 12 h 12"/>
                  <a:gd name="T4" fmla="*/ 0 w 21"/>
                  <a:gd name="T5" fmla="*/ 12 h 12"/>
                  <a:gd name="T6" fmla="*/ 21 w 21"/>
                  <a:gd name="T7" fmla="*/ 0 h 12"/>
                  <a:gd name="T8" fmla="*/ 21 w 21"/>
                  <a:gd name="T9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2">
                    <a:moveTo>
                      <a:pt x="21" y="0"/>
                    </a:move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1" y="0"/>
                      <a:pt x="21" y="0"/>
                      <a:pt x="21" y="0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6" name="任意多边形: 形状 315">
                <a:extLst>
                  <a:ext uri="{FF2B5EF4-FFF2-40B4-BE49-F238E27FC236}">
                    <a16:creationId xmlns:a16="http://schemas.microsoft.com/office/drawing/2014/main" id="{F0154322-C113-4481-AC42-69AD93E267AF}"/>
                  </a:ext>
                </a:extLst>
              </p:cNvPr>
              <p:cNvSpPr/>
              <p:nvPr/>
            </p:nvSpPr>
            <p:spPr bwMode="auto">
              <a:xfrm>
                <a:off x="4684706" y="3972618"/>
                <a:ext cx="95232" cy="76716"/>
              </a:xfrm>
              <a:custGeom>
                <a:avLst/>
                <a:gdLst>
                  <a:gd name="T0" fmla="*/ 17 w 17"/>
                  <a:gd name="T1" fmla="*/ 0 h 14"/>
                  <a:gd name="T2" fmla="*/ 0 w 17"/>
                  <a:gd name="T3" fmla="*/ 9 h 14"/>
                  <a:gd name="T4" fmla="*/ 9 w 17"/>
                  <a:gd name="T5" fmla="*/ 14 h 14"/>
                  <a:gd name="T6" fmla="*/ 9 w 17"/>
                  <a:gd name="T7" fmla="*/ 12 h 14"/>
                  <a:gd name="T8" fmla="*/ 16 w 17"/>
                  <a:gd name="T9" fmla="*/ 1 h 14"/>
                  <a:gd name="T10" fmla="*/ 17 w 17"/>
                  <a:gd name="T11" fmla="*/ 0 h 14"/>
                  <a:gd name="T12" fmla="*/ 17 w 17"/>
                  <a:gd name="T13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4">
                    <a:moveTo>
                      <a:pt x="17" y="0"/>
                    </a:moveTo>
                    <a:cubicBezTo>
                      <a:pt x="0" y="9"/>
                      <a:pt x="0" y="9"/>
                      <a:pt x="0" y="9"/>
                    </a:cubicBezTo>
                    <a:cubicBezTo>
                      <a:pt x="9" y="14"/>
                      <a:pt x="9" y="14"/>
                      <a:pt x="9" y="14"/>
                    </a:cubicBezTo>
                    <a:cubicBezTo>
                      <a:pt x="9" y="12"/>
                      <a:pt x="9" y="12"/>
                      <a:pt x="9" y="12"/>
                    </a:cubicBezTo>
                    <a:cubicBezTo>
                      <a:pt x="9" y="7"/>
                      <a:pt x="12" y="3"/>
                      <a:pt x="16" y="1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7" y="0"/>
                      <a:pt x="17" y="0"/>
                      <a:pt x="17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7" name="任意多边形: 形状 316">
                <a:extLst>
                  <a:ext uri="{FF2B5EF4-FFF2-40B4-BE49-F238E27FC236}">
                    <a16:creationId xmlns:a16="http://schemas.microsoft.com/office/drawing/2014/main" id="{146701C0-BECF-4F36-8990-35A069B1C106}"/>
                  </a:ext>
                </a:extLst>
              </p:cNvPr>
              <p:cNvSpPr/>
              <p:nvPr/>
            </p:nvSpPr>
            <p:spPr bwMode="auto">
              <a:xfrm>
                <a:off x="4637090" y="4022879"/>
                <a:ext cx="190465" cy="240727"/>
              </a:xfrm>
              <a:custGeom>
                <a:avLst/>
                <a:gdLst>
                  <a:gd name="T0" fmla="*/ 9 w 35"/>
                  <a:gd name="T1" fmla="*/ 0 h 44"/>
                  <a:gd name="T2" fmla="*/ 2 w 35"/>
                  <a:gd name="T3" fmla="*/ 4 h 44"/>
                  <a:gd name="T4" fmla="*/ 2 w 35"/>
                  <a:gd name="T5" fmla="*/ 10 h 44"/>
                  <a:gd name="T6" fmla="*/ 1 w 35"/>
                  <a:gd name="T7" fmla="*/ 28 h 44"/>
                  <a:gd name="T8" fmla="*/ 0 w 35"/>
                  <a:gd name="T9" fmla="*/ 36 h 44"/>
                  <a:gd name="T10" fmla="*/ 20 w 35"/>
                  <a:gd name="T11" fmla="*/ 44 h 44"/>
                  <a:gd name="T12" fmla="*/ 25 w 35"/>
                  <a:gd name="T13" fmla="*/ 43 h 44"/>
                  <a:gd name="T14" fmla="*/ 35 w 35"/>
                  <a:gd name="T15" fmla="*/ 40 h 44"/>
                  <a:gd name="T16" fmla="*/ 35 w 35"/>
                  <a:gd name="T17" fmla="*/ 32 h 44"/>
                  <a:gd name="T18" fmla="*/ 29 w 35"/>
                  <a:gd name="T19" fmla="*/ 35 h 44"/>
                  <a:gd name="T20" fmla="*/ 27 w 35"/>
                  <a:gd name="T21" fmla="*/ 36 h 44"/>
                  <a:gd name="T22" fmla="*/ 24 w 35"/>
                  <a:gd name="T23" fmla="*/ 35 h 44"/>
                  <a:gd name="T24" fmla="*/ 24 w 35"/>
                  <a:gd name="T25" fmla="*/ 35 h 44"/>
                  <a:gd name="T26" fmla="*/ 21 w 35"/>
                  <a:gd name="T27" fmla="*/ 33 h 44"/>
                  <a:gd name="T28" fmla="*/ 21 w 35"/>
                  <a:gd name="T29" fmla="*/ 33 h 44"/>
                  <a:gd name="T30" fmla="*/ 18 w 35"/>
                  <a:gd name="T31" fmla="*/ 29 h 44"/>
                  <a:gd name="T32" fmla="*/ 18 w 35"/>
                  <a:gd name="T33" fmla="*/ 5 h 44"/>
                  <a:gd name="T34" fmla="*/ 9 w 35"/>
                  <a:gd name="T35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5" h="44">
                    <a:moveTo>
                      <a:pt x="9" y="0"/>
                    </a:moveTo>
                    <a:cubicBezTo>
                      <a:pt x="2" y="4"/>
                      <a:pt x="2" y="4"/>
                      <a:pt x="2" y="4"/>
                    </a:cubicBezTo>
                    <a:cubicBezTo>
                      <a:pt x="2" y="6"/>
                      <a:pt x="2" y="8"/>
                      <a:pt x="2" y="10"/>
                    </a:cubicBezTo>
                    <a:cubicBezTo>
                      <a:pt x="2" y="16"/>
                      <a:pt x="1" y="23"/>
                      <a:pt x="1" y="28"/>
                    </a:cubicBezTo>
                    <a:cubicBezTo>
                      <a:pt x="1" y="32"/>
                      <a:pt x="0" y="35"/>
                      <a:pt x="0" y="36"/>
                    </a:cubicBezTo>
                    <a:cubicBezTo>
                      <a:pt x="0" y="38"/>
                      <a:pt x="11" y="44"/>
                      <a:pt x="20" y="44"/>
                    </a:cubicBezTo>
                    <a:cubicBezTo>
                      <a:pt x="22" y="44"/>
                      <a:pt x="23" y="44"/>
                      <a:pt x="25" y="43"/>
                    </a:cubicBezTo>
                    <a:cubicBezTo>
                      <a:pt x="28" y="43"/>
                      <a:pt x="31" y="42"/>
                      <a:pt x="35" y="40"/>
                    </a:cubicBezTo>
                    <a:cubicBezTo>
                      <a:pt x="35" y="32"/>
                      <a:pt x="35" y="32"/>
                      <a:pt x="35" y="32"/>
                    </a:cubicBezTo>
                    <a:cubicBezTo>
                      <a:pt x="29" y="35"/>
                      <a:pt x="29" y="35"/>
                      <a:pt x="29" y="35"/>
                    </a:cubicBezTo>
                    <a:cubicBezTo>
                      <a:pt x="28" y="36"/>
                      <a:pt x="27" y="36"/>
                      <a:pt x="27" y="36"/>
                    </a:cubicBezTo>
                    <a:cubicBezTo>
                      <a:pt x="26" y="36"/>
                      <a:pt x="25" y="36"/>
                      <a:pt x="24" y="35"/>
                    </a:cubicBezTo>
                    <a:cubicBezTo>
                      <a:pt x="24" y="35"/>
                      <a:pt x="24" y="35"/>
                      <a:pt x="24" y="35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33"/>
                      <a:pt x="18" y="31"/>
                      <a:pt x="18" y="29"/>
                    </a:cubicBezTo>
                    <a:cubicBezTo>
                      <a:pt x="18" y="5"/>
                      <a:pt x="18" y="5"/>
                      <a:pt x="18" y="5"/>
                    </a:cubicBezTo>
                    <a:cubicBezTo>
                      <a:pt x="9" y="0"/>
                      <a:pt x="9" y="0"/>
                      <a:pt x="9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8" name="任意多边形: 形状 317">
                <a:extLst>
                  <a:ext uri="{FF2B5EF4-FFF2-40B4-BE49-F238E27FC236}">
                    <a16:creationId xmlns:a16="http://schemas.microsoft.com/office/drawing/2014/main" id="{739966DB-ECBE-4C93-BA0D-2A079B2CFF83}"/>
                  </a:ext>
                </a:extLst>
              </p:cNvPr>
              <p:cNvSpPr/>
              <p:nvPr/>
            </p:nvSpPr>
            <p:spPr bwMode="auto">
              <a:xfrm>
                <a:off x="4779939" y="3890612"/>
                <a:ext cx="137558" cy="82007"/>
              </a:xfrm>
              <a:custGeom>
                <a:avLst/>
                <a:gdLst>
                  <a:gd name="T0" fmla="*/ 25 w 25"/>
                  <a:gd name="T1" fmla="*/ 0 h 15"/>
                  <a:gd name="T2" fmla="*/ 9 w 25"/>
                  <a:gd name="T3" fmla="*/ 9 h 15"/>
                  <a:gd name="T4" fmla="*/ 7 w 25"/>
                  <a:gd name="T5" fmla="*/ 10 h 15"/>
                  <a:gd name="T6" fmla="*/ 0 w 25"/>
                  <a:gd name="T7" fmla="*/ 15 h 15"/>
                  <a:gd name="T8" fmla="*/ 0 w 25"/>
                  <a:gd name="T9" fmla="*/ 15 h 15"/>
                  <a:gd name="T10" fmla="*/ 25 w 25"/>
                  <a:gd name="T11" fmla="*/ 1 h 15"/>
                  <a:gd name="T12" fmla="*/ 25 w 25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" h="15">
                    <a:moveTo>
                      <a:pt x="25" y="0"/>
                    </a:moveTo>
                    <a:cubicBezTo>
                      <a:pt x="9" y="9"/>
                      <a:pt x="9" y="9"/>
                      <a:pt x="9" y="9"/>
                    </a:cubicBezTo>
                    <a:cubicBezTo>
                      <a:pt x="8" y="10"/>
                      <a:pt x="8" y="10"/>
                      <a:pt x="7" y="1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25" y="1"/>
                      <a:pt x="25" y="1"/>
                      <a:pt x="25" y="1"/>
                    </a:cubicBezTo>
                    <a:cubicBezTo>
                      <a:pt x="25" y="0"/>
                      <a:pt x="25" y="0"/>
                      <a:pt x="25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9" name="任意多边形: 形状 318">
                <a:extLst>
                  <a:ext uri="{FF2B5EF4-FFF2-40B4-BE49-F238E27FC236}">
                    <a16:creationId xmlns:a16="http://schemas.microsoft.com/office/drawing/2014/main" id="{A3A75D5C-B76A-4630-AEC6-E3F9E7E96AB6}"/>
                  </a:ext>
                </a:extLst>
              </p:cNvPr>
              <p:cNvSpPr/>
              <p:nvPr/>
            </p:nvSpPr>
            <p:spPr bwMode="auto">
              <a:xfrm>
                <a:off x="4816974" y="3940874"/>
                <a:ext cx="10581" cy="5291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2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0" name="任意多边形: 形状 319">
                <a:extLst>
                  <a:ext uri="{FF2B5EF4-FFF2-40B4-BE49-F238E27FC236}">
                    <a16:creationId xmlns:a16="http://schemas.microsoft.com/office/drawing/2014/main" id="{E7D8ECB0-F370-4C4E-BDA2-0847F615C8CC}"/>
                  </a:ext>
                </a:extLst>
              </p:cNvPr>
              <p:cNvSpPr/>
              <p:nvPr/>
            </p:nvSpPr>
            <p:spPr bwMode="auto">
              <a:xfrm>
                <a:off x="4647671" y="3858868"/>
                <a:ext cx="269825" cy="185174"/>
              </a:xfrm>
              <a:custGeom>
                <a:avLst/>
                <a:gdLst>
                  <a:gd name="T0" fmla="*/ 49 w 49"/>
                  <a:gd name="T1" fmla="*/ 0 h 34"/>
                  <a:gd name="T2" fmla="*/ 0 w 49"/>
                  <a:gd name="T3" fmla="*/ 28 h 34"/>
                  <a:gd name="T4" fmla="*/ 0 w 49"/>
                  <a:gd name="T5" fmla="*/ 34 h 34"/>
                  <a:gd name="T6" fmla="*/ 7 w 49"/>
                  <a:gd name="T7" fmla="*/ 30 h 34"/>
                  <a:gd name="T8" fmla="*/ 24 w 49"/>
                  <a:gd name="T9" fmla="*/ 21 h 34"/>
                  <a:gd name="T10" fmla="*/ 31 w 49"/>
                  <a:gd name="T11" fmla="*/ 16 h 34"/>
                  <a:gd name="T12" fmla="*/ 33 w 49"/>
                  <a:gd name="T13" fmla="*/ 15 h 34"/>
                  <a:gd name="T14" fmla="*/ 49 w 49"/>
                  <a:gd name="T15" fmla="*/ 6 h 34"/>
                  <a:gd name="T16" fmla="*/ 49 w 49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9" h="34">
                    <a:moveTo>
                      <a:pt x="49" y="0"/>
                    </a:moveTo>
                    <a:cubicBezTo>
                      <a:pt x="0" y="28"/>
                      <a:pt x="0" y="28"/>
                      <a:pt x="0" y="28"/>
                    </a:cubicBezTo>
                    <a:cubicBezTo>
                      <a:pt x="0" y="30"/>
                      <a:pt x="0" y="32"/>
                      <a:pt x="0" y="34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24" y="21"/>
                      <a:pt x="24" y="21"/>
                      <a:pt x="24" y="21"/>
                    </a:cubicBezTo>
                    <a:cubicBezTo>
                      <a:pt x="31" y="16"/>
                      <a:pt x="31" y="16"/>
                      <a:pt x="31" y="16"/>
                    </a:cubicBezTo>
                    <a:cubicBezTo>
                      <a:pt x="33" y="15"/>
                      <a:pt x="33" y="15"/>
                      <a:pt x="33" y="15"/>
                    </a:cubicBezTo>
                    <a:cubicBezTo>
                      <a:pt x="49" y="6"/>
                      <a:pt x="49" y="6"/>
                      <a:pt x="49" y="6"/>
                    </a:cubicBezTo>
                    <a:cubicBezTo>
                      <a:pt x="49" y="4"/>
                      <a:pt x="49" y="2"/>
                      <a:pt x="49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1" name="任意多边形: 形状 320">
                <a:extLst>
                  <a:ext uri="{FF2B5EF4-FFF2-40B4-BE49-F238E27FC236}">
                    <a16:creationId xmlns:a16="http://schemas.microsoft.com/office/drawing/2014/main" id="{224DF413-0702-4650-9266-86FD9ED2078C}"/>
                  </a:ext>
                </a:extLst>
              </p:cNvPr>
              <p:cNvSpPr/>
              <p:nvPr/>
            </p:nvSpPr>
            <p:spPr bwMode="auto">
              <a:xfrm>
                <a:off x="4637090" y="3758344"/>
                <a:ext cx="280407" cy="253953"/>
              </a:xfrm>
              <a:custGeom>
                <a:avLst/>
                <a:gdLst>
                  <a:gd name="T0" fmla="*/ 36 w 51"/>
                  <a:gd name="T1" fmla="*/ 0 h 46"/>
                  <a:gd name="T2" fmla="*/ 31 w 51"/>
                  <a:gd name="T3" fmla="*/ 2 h 46"/>
                  <a:gd name="T4" fmla="*/ 32 w 51"/>
                  <a:gd name="T5" fmla="*/ 7 h 46"/>
                  <a:gd name="T6" fmla="*/ 37 w 51"/>
                  <a:gd name="T7" fmla="*/ 12 h 46"/>
                  <a:gd name="T8" fmla="*/ 33 w 51"/>
                  <a:gd name="T9" fmla="*/ 13 h 46"/>
                  <a:gd name="T10" fmla="*/ 25 w 51"/>
                  <a:gd name="T11" fmla="*/ 11 h 46"/>
                  <a:gd name="T12" fmla="*/ 22 w 51"/>
                  <a:gd name="T13" fmla="*/ 12 h 46"/>
                  <a:gd name="T14" fmla="*/ 13 w 51"/>
                  <a:gd name="T15" fmla="*/ 8 h 46"/>
                  <a:gd name="T16" fmla="*/ 2 w 51"/>
                  <a:gd name="T17" fmla="*/ 16 h 46"/>
                  <a:gd name="T18" fmla="*/ 1 w 51"/>
                  <a:gd name="T19" fmla="*/ 17 h 46"/>
                  <a:gd name="T20" fmla="*/ 1 w 51"/>
                  <a:gd name="T21" fmla="*/ 17 h 46"/>
                  <a:gd name="T22" fmla="*/ 7 w 51"/>
                  <a:gd name="T23" fmla="*/ 15 h 46"/>
                  <a:gd name="T24" fmla="*/ 15 w 51"/>
                  <a:gd name="T25" fmla="*/ 19 h 46"/>
                  <a:gd name="T26" fmla="*/ 11 w 51"/>
                  <a:gd name="T27" fmla="*/ 32 h 46"/>
                  <a:gd name="T28" fmla="*/ 0 w 51"/>
                  <a:gd name="T29" fmla="*/ 39 h 46"/>
                  <a:gd name="T30" fmla="*/ 1 w 51"/>
                  <a:gd name="T31" fmla="*/ 41 h 46"/>
                  <a:gd name="T32" fmla="*/ 2 w 51"/>
                  <a:gd name="T33" fmla="*/ 46 h 46"/>
                  <a:gd name="T34" fmla="*/ 51 w 51"/>
                  <a:gd name="T35" fmla="*/ 18 h 46"/>
                  <a:gd name="T36" fmla="*/ 51 w 51"/>
                  <a:gd name="T37" fmla="*/ 15 h 46"/>
                  <a:gd name="T38" fmla="*/ 36 w 51"/>
                  <a:gd name="T3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1" h="46">
                    <a:moveTo>
                      <a:pt x="36" y="0"/>
                    </a:moveTo>
                    <a:cubicBezTo>
                      <a:pt x="35" y="0"/>
                      <a:pt x="33" y="1"/>
                      <a:pt x="31" y="2"/>
                    </a:cubicBezTo>
                    <a:cubicBezTo>
                      <a:pt x="32" y="3"/>
                      <a:pt x="33" y="5"/>
                      <a:pt x="32" y="7"/>
                    </a:cubicBezTo>
                    <a:cubicBezTo>
                      <a:pt x="35" y="9"/>
                      <a:pt x="37" y="11"/>
                      <a:pt x="37" y="12"/>
                    </a:cubicBezTo>
                    <a:cubicBezTo>
                      <a:pt x="36" y="13"/>
                      <a:pt x="35" y="13"/>
                      <a:pt x="33" y="13"/>
                    </a:cubicBezTo>
                    <a:cubicBezTo>
                      <a:pt x="31" y="13"/>
                      <a:pt x="28" y="12"/>
                      <a:pt x="25" y="11"/>
                    </a:cubicBezTo>
                    <a:cubicBezTo>
                      <a:pt x="24" y="12"/>
                      <a:pt x="23" y="12"/>
                      <a:pt x="22" y="12"/>
                    </a:cubicBezTo>
                    <a:cubicBezTo>
                      <a:pt x="17" y="12"/>
                      <a:pt x="13" y="9"/>
                      <a:pt x="13" y="8"/>
                    </a:cubicBezTo>
                    <a:cubicBezTo>
                      <a:pt x="10" y="10"/>
                      <a:pt x="5" y="13"/>
                      <a:pt x="2" y="16"/>
                    </a:cubicBezTo>
                    <a:cubicBezTo>
                      <a:pt x="2" y="16"/>
                      <a:pt x="2" y="16"/>
                      <a:pt x="1" y="17"/>
                    </a:cubicBezTo>
                    <a:cubicBezTo>
                      <a:pt x="1" y="17"/>
                      <a:pt x="1" y="17"/>
                      <a:pt x="1" y="17"/>
                    </a:cubicBezTo>
                    <a:cubicBezTo>
                      <a:pt x="3" y="15"/>
                      <a:pt x="5" y="15"/>
                      <a:pt x="7" y="15"/>
                    </a:cubicBezTo>
                    <a:cubicBezTo>
                      <a:pt x="10" y="15"/>
                      <a:pt x="13" y="16"/>
                      <a:pt x="15" y="19"/>
                    </a:cubicBezTo>
                    <a:cubicBezTo>
                      <a:pt x="19" y="25"/>
                      <a:pt x="15" y="30"/>
                      <a:pt x="11" y="32"/>
                    </a:cubicBezTo>
                    <a:cubicBezTo>
                      <a:pt x="10" y="34"/>
                      <a:pt x="5" y="36"/>
                      <a:pt x="0" y="39"/>
                    </a:cubicBezTo>
                    <a:cubicBezTo>
                      <a:pt x="1" y="40"/>
                      <a:pt x="1" y="41"/>
                      <a:pt x="1" y="41"/>
                    </a:cubicBezTo>
                    <a:cubicBezTo>
                      <a:pt x="1" y="43"/>
                      <a:pt x="2" y="44"/>
                      <a:pt x="2" y="46"/>
                    </a:cubicBezTo>
                    <a:cubicBezTo>
                      <a:pt x="51" y="18"/>
                      <a:pt x="51" y="18"/>
                      <a:pt x="51" y="18"/>
                    </a:cubicBezTo>
                    <a:cubicBezTo>
                      <a:pt x="51" y="17"/>
                      <a:pt x="51" y="16"/>
                      <a:pt x="51" y="15"/>
                    </a:cubicBezTo>
                    <a:cubicBezTo>
                      <a:pt x="50" y="8"/>
                      <a:pt x="43" y="0"/>
                      <a:pt x="36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2" name="任意多边形: 形状 321">
                <a:extLst>
                  <a:ext uri="{FF2B5EF4-FFF2-40B4-BE49-F238E27FC236}">
                    <a16:creationId xmlns:a16="http://schemas.microsoft.com/office/drawing/2014/main" id="{9062CFE0-BA28-475E-8938-826A01DF227B}"/>
                  </a:ext>
                </a:extLst>
              </p:cNvPr>
              <p:cNvSpPr/>
              <p:nvPr/>
            </p:nvSpPr>
            <p:spPr bwMode="auto">
              <a:xfrm>
                <a:off x="4772004" y="3798025"/>
                <a:ext cx="66135" cy="31744"/>
              </a:xfrm>
              <a:custGeom>
                <a:avLst/>
                <a:gdLst>
                  <a:gd name="T0" fmla="*/ 7 w 12"/>
                  <a:gd name="T1" fmla="*/ 0 h 6"/>
                  <a:gd name="T2" fmla="*/ 4 w 12"/>
                  <a:gd name="T3" fmla="*/ 3 h 6"/>
                  <a:gd name="T4" fmla="*/ 0 w 12"/>
                  <a:gd name="T5" fmla="*/ 4 h 6"/>
                  <a:gd name="T6" fmla="*/ 8 w 12"/>
                  <a:gd name="T7" fmla="*/ 6 h 6"/>
                  <a:gd name="T8" fmla="*/ 12 w 12"/>
                  <a:gd name="T9" fmla="*/ 5 h 6"/>
                  <a:gd name="T10" fmla="*/ 7 w 12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6">
                    <a:moveTo>
                      <a:pt x="7" y="0"/>
                    </a:moveTo>
                    <a:cubicBezTo>
                      <a:pt x="7" y="1"/>
                      <a:pt x="6" y="2"/>
                      <a:pt x="4" y="3"/>
                    </a:cubicBezTo>
                    <a:cubicBezTo>
                      <a:pt x="2" y="4"/>
                      <a:pt x="1" y="4"/>
                      <a:pt x="0" y="4"/>
                    </a:cubicBezTo>
                    <a:cubicBezTo>
                      <a:pt x="3" y="5"/>
                      <a:pt x="6" y="6"/>
                      <a:pt x="8" y="6"/>
                    </a:cubicBezTo>
                    <a:cubicBezTo>
                      <a:pt x="10" y="6"/>
                      <a:pt x="11" y="6"/>
                      <a:pt x="12" y="5"/>
                    </a:cubicBezTo>
                    <a:cubicBezTo>
                      <a:pt x="12" y="4"/>
                      <a:pt x="10" y="2"/>
                      <a:pt x="7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3" name="任意多边形: 形状 322">
                <a:extLst>
                  <a:ext uri="{FF2B5EF4-FFF2-40B4-BE49-F238E27FC236}">
                    <a16:creationId xmlns:a16="http://schemas.microsoft.com/office/drawing/2014/main" id="{1CB5F6D6-05F4-4F2C-9B8B-B910692C4C65}"/>
                  </a:ext>
                </a:extLst>
              </p:cNvPr>
              <p:cNvSpPr/>
              <p:nvPr/>
            </p:nvSpPr>
            <p:spPr bwMode="auto">
              <a:xfrm>
                <a:off x="4851364" y="4160437"/>
                <a:ext cx="42326" cy="76716"/>
              </a:xfrm>
              <a:custGeom>
                <a:avLst/>
                <a:gdLst>
                  <a:gd name="T0" fmla="*/ 8 w 8"/>
                  <a:gd name="T1" fmla="*/ 0 h 14"/>
                  <a:gd name="T2" fmla="*/ 0 w 8"/>
                  <a:gd name="T3" fmla="*/ 5 h 14"/>
                  <a:gd name="T4" fmla="*/ 0 w 8"/>
                  <a:gd name="T5" fmla="*/ 14 h 14"/>
                  <a:gd name="T6" fmla="*/ 7 w 8"/>
                  <a:gd name="T7" fmla="*/ 7 h 14"/>
                  <a:gd name="T8" fmla="*/ 8 w 8"/>
                  <a:gd name="T9" fmla="*/ 6 h 14"/>
                  <a:gd name="T10" fmla="*/ 8 w 8"/>
                  <a:gd name="T1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4">
                    <a:moveTo>
                      <a:pt x="8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3" y="12"/>
                      <a:pt x="6" y="10"/>
                      <a:pt x="7" y="7"/>
                    </a:cubicBezTo>
                    <a:cubicBezTo>
                      <a:pt x="7" y="7"/>
                      <a:pt x="8" y="6"/>
                      <a:pt x="8" y="6"/>
                    </a:cubicBezTo>
                    <a:cubicBezTo>
                      <a:pt x="8" y="4"/>
                      <a:pt x="8" y="2"/>
                      <a:pt x="8" y="0"/>
                    </a:cubicBezTo>
                  </a:path>
                </a:pathLst>
              </a:custGeom>
              <a:solidFill>
                <a:srgbClr val="FFCD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4" name="任意多边形: 形状 323">
                <a:extLst>
                  <a:ext uri="{FF2B5EF4-FFF2-40B4-BE49-F238E27FC236}">
                    <a16:creationId xmlns:a16="http://schemas.microsoft.com/office/drawing/2014/main" id="{67E2FDF1-2B3C-4C63-9477-D49FFD294DD9}"/>
                  </a:ext>
                </a:extLst>
              </p:cNvPr>
              <p:cNvSpPr/>
              <p:nvPr/>
            </p:nvSpPr>
            <p:spPr bwMode="auto">
              <a:xfrm>
                <a:off x="4420172" y="3925002"/>
                <a:ext cx="156076" cy="92588"/>
              </a:xfrm>
              <a:custGeom>
                <a:avLst/>
                <a:gdLst>
                  <a:gd name="T0" fmla="*/ 24 w 28"/>
                  <a:gd name="T1" fmla="*/ 0 h 17"/>
                  <a:gd name="T2" fmla="*/ 15 w 28"/>
                  <a:gd name="T3" fmla="*/ 4 h 17"/>
                  <a:gd name="T4" fmla="*/ 15 w 28"/>
                  <a:gd name="T5" fmla="*/ 4 h 17"/>
                  <a:gd name="T6" fmla="*/ 10 w 28"/>
                  <a:gd name="T7" fmla="*/ 2 h 17"/>
                  <a:gd name="T8" fmla="*/ 0 w 28"/>
                  <a:gd name="T9" fmla="*/ 8 h 17"/>
                  <a:gd name="T10" fmla="*/ 14 w 28"/>
                  <a:gd name="T11" fmla="*/ 17 h 17"/>
                  <a:gd name="T12" fmla="*/ 15 w 28"/>
                  <a:gd name="T13" fmla="*/ 17 h 17"/>
                  <a:gd name="T14" fmla="*/ 28 w 28"/>
                  <a:gd name="T15" fmla="*/ 12 h 17"/>
                  <a:gd name="T16" fmla="*/ 24 w 28"/>
                  <a:gd name="T1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" h="17">
                    <a:moveTo>
                      <a:pt x="24" y="0"/>
                    </a:moveTo>
                    <a:cubicBezTo>
                      <a:pt x="20" y="2"/>
                      <a:pt x="17" y="4"/>
                      <a:pt x="15" y="4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4" y="4"/>
                      <a:pt x="12" y="3"/>
                      <a:pt x="10" y="2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6" y="12"/>
                      <a:pt x="12" y="17"/>
                      <a:pt x="14" y="17"/>
                    </a:cubicBezTo>
                    <a:cubicBezTo>
                      <a:pt x="14" y="17"/>
                      <a:pt x="14" y="17"/>
                      <a:pt x="15" y="17"/>
                    </a:cubicBezTo>
                    <a:cubicBezTo>
                      <a:pt x="17" y="17"/>
                      <a:pt x="23" y="14"/>
                      <a:pt x="28" y="12"/>
                    </a:cubicBezTo>
                    <a:cubicBezTo>
                      <a:pt x="24" y="9"/>
                      <a:pt x="24" y="3"/>
                      <a:pt x="24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5" name="任意多边形: 形状 324">
                <a:extLst>
                  <a:ext uri="{FF2B5EF4-FFF2-40B4-BE49-F238E27FC236}">
                    <a16:creationId xmlns:a16="http://schemas.microsoft.com/office/drawing/2014/main" id="{F2CC839C-3F6D-4D32-9ADF-95D2538403E2}"/>
                  </a:ext>
                </a:extLst>
              </p:cNvPr>
              <p:cNvSpPr/>
              <p:nvPr/>
            </p:nvSpPr>
            <p:spPr bwMode="auto">
              <a:xfrm>
                <a:off x="4414881" y="3935583"/>
                <a:ext cx="60844" cy="31744"/>
              </a:xfrm>
              <a:custGeom>
                <a:avLst/>
                <a:gdLst>
                  <a:gd name="T0" fmla="*/ 10 w 11"/>
                  <a:gd name="T1" fmla="*/ 0 h 6"/>
                  <a:gd name="T2" fmla="*/ 0 w 11"/>
                  <a:gd name="T3" fmla="*/ 6 h 6"/>
                  <a:gd name="T4" fmla="*/ 1 w 11"/>
                  <a:gd name="T5" fmla="*/ 6 h 6"/>
                  <a:gd name="T6" fmla="*/ 11 w 11"/>
                  <a:gd name="T7" fmla="*/ 0 h 6"/>
                  <a:gd name="T8" fmla="*/ 10 w 11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6">
                    <a:moveTo>
                      <a:pt x="10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0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6" name="任意多边形: 形状 325">
                <a:extLst>
                  <a:ext uri="{FF2B5EF4-FFF2-40B4-BE49-F238E27FC236}">
                    <a16:creationId xmlns:a16="http://schemas.microsoft.com/office/drawing/2014/main" id="{163548E7-9B4C-46B1-AAD9-9BF0F5138BA4}"/>
                  </a:ext>
                </a:extLst>
              </p:cNvPr>
              <p:cNvSpPr/>
              <p:nvPr/>
            </p:nvSpPr>
            <p:spPr bwMode="auto">
              <a:xfrm>
                <a:off x="4414881" y="3930293"/>
                <a:ext cx="55553" cy="37035"/>
              </a:xfrm>
              <a:custGeom>
                <a:avLst/>
                <a:gdLst>
                  <a:gd name="T0" fmla="*/ 9 w 10"/>
                  <a:gd name="T1" fmla="*/ 0 h 7"/>
                  <a:gd name="T2" fmla="*/ 0 w 10"/>
                  <a:gd name="T3" fmla="*/ 6 h 7"/>
                  <a:gd name="T4" fmla="*/ 0 w 10"/>
                  <a:gd name="T5" fmla="*/ 7 h 7"/>
                  <a:gd name="T6" fmla="*/ 10 w 10"/>
                  <a:gd name="T7" fmla="*/ 1 h 7"/>
                  <a:gd name="T8" fmla="*/ 9 w 10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9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7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0" y="1"/>
                      <a:pt x="9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7" name="任意多边形: 形状 326">
                <a:extLst>
                  <a:ext uri="{FF2B5EF4-FFF2-40B4-BE49-F238E27FC236}">
                    <a16:creationId xmlns:a16="http://schemas.microsoft.com/office/drawing/2014/main" id="{5C5F7D92-4360-4ADD-9B12-4390479A0A05}"/>
                  </a:ext>
                </a:extLst>
              </p:cNvPr>
              <p:cNvSpPr/>
              <p:nvPr/>
            </p:nvSpPr>
            <p:spPr bwMode="auto">
              <a:xfrm>
                <a:off x="4399009" y="3917065"/>
                <a:ext cx="66135" cy="44972"/>
              </a:xfrm>
              <a:custGeom>
                <a:avLst/>
                <a:gdLst>
                  <a:gd name="T0" fmla="*/ 7 w 12"/>
                  <a:gd name="T1" fmla="*/ 0 h 8"/>
                  <a:gd name="T2" fmla="*/ 0 w 12"/>
                  <a:gd name="T3" fmla="*/ 6 h 8"/>
                  <a:gd name="T4" fmla="*/ 3 w 12"/>
                  <a:gd name="T5" fmla="*/ 8 h 8"/>
                  <a:gd name="T6" fmla="*/ 12 w 12"/>
                  <a:gd name="T7" fmla="*/ 2 h 8"/>
                  <a:gd name="T8" fmla="*/ 7 w 12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8">
                    <a:moveTo>
                      <a:pt x="7" y="0"/>
                    </a:moveTo>
                    <a:cubicBezTo>
                      <a:pt x="5" y="2"/>
                      <a:pt x="3" y="4"/>
                      <a:pt x="0" y="6"/>
                    </a:cubicBezTo>
                    <a:cubicBezTo>
                      <a:pt x="1" y="7"/>
                      <a:pt x="2" y="7"/>
                      <a:pt x="3" y="8"/>
                    </a:cubicBezTo>
                    <a:cubicBezTo>
                      <a:pt x="12" y="2"/>
                      <a:pt x="12" y="2"/>
                      <a:pt x="12" y="2"/>
                    </a:cubicBezTo>
                    <a:cubicBezTo>
                      <a:pt x="11" y="2"/>
                      <a:pt x="9" y="1"/>
                      <a:pt x="7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8" name="任意多边形: 形状 327">
                <a:extLst>
                  <a:ext uri="{FF2B5EF4-FFF2-40B4-BE49-F238E27FC236}">
                    <a16:creationId xmlns:a16="http://schemas.microsoft.com/office/drawing/2014/main" id="{BFD3645B-10F8-4F1C-9299-D9A2102491E7}"/>
                  </a:ext>
                </a:extLst>
              </p:cNvPr>
              <p:cNvSpPr/>
              <p:nvPr/>
            </p:nvSpPr>
            <p:spPr bwMode="auto">
              <a:xfrm>
                <a:off x="4285260" y="3829770"/>
                <a:ext cx="153430" cy="121686"/>
              </a:xfrm>
              <a:custGeom>
                <a:avLst/>
                <a:gdLst>
                  <a:gd name="T0" fmla="*/ 5 w 28"/>
                  <a:gd name="T1" fmla="*/ 0 h 22"/>
                  <a:gd name="T2" fmla="*/ 0 w 28"/>
                  <a:gd name="T3" fmla="*/ 9 h 22"/>
                  <a:gd name="T4" fmla="*/ 5 w 28"/>
                  <a:gd name="T5" fmla="*/ 14 h 22"/>
                  <a:gd name="T6" fmla="*/ 12 w 28"/>
                  <a:gd name="T7" fmla="*/ 16 h 22"/>
                  <a:gd name="T8" fmla="*/ 17 w 28"/>
                  <a:gd name="T9" fmla="*/ 19 h 22"/>
                  <a:gd name="T10" fmla="*/ 21 w 28"/>
                  <a:gd name="T11" fmla="*/ 22 h 22"/>
                  <a:gd name="T12" fmla="*/ 28 w 28"/>
                  <a:gd name="T13" fmla="*/ 16 h 22"/>
                  <a:gd name="T14" fmla="*/ 19 w 28"/>
                  <a:gd name="T15" fmla="*/ 11 h 22"/>
                  <a:gd name="T16" fmla="*/ 15 w 28"/>
                  <a:gd name="T17" fmla="*/ 8 h 22"/>
                  <a:gd name="T18" fmla="*/ 13 w 28"/>
                  <a:gd name="T19" fmla="*/ 3 h 22"/>
                  <a:gd name="T20" fmla="*/ 12 w 28"/>
                  <a:gd name="T21" fmla="*/ 2 h 22"/>
                  <a:gd name="T22" fmla="*/ 11 w 28"/>
                  <a:gd name="T23" fmla="*/ 3 h 22"/>
                  <a:gd name="T24" fmla="*/ 6 w 28"/>
                  <a:gd name="T25" fmla="*/ 0 h 22"/>
                  <a:gd name="T26" fmla="*/ 5 w 28"/>
                  <a:gd name="T27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8" h="22">
                    <a:moveTo>
                      <a:pt x="5" y="0"/>
                    </a:moveTo>
                    <a:cubicBezTo>
                      <a:pt x="2" y="0"/>
                      <a:pt x="0" y="7"/>
                      <a:pt x="0" y="9"/>
                    </a:cubicBezTo>
                    <a:cubicBezTo>
                      <a:pt x="0" y="10"/>
                      <a:pt x="4" y="13"/>
                      <a:pt x="5" y="14"/>
                    </a:cubicBezTo>
                    <a:cubicBezTo>
                      <a:pt x="7" y="16"/>
                      <a:pt x="11" y="15"/>
                      <a:pt x="12" y="16"/>
                    </a:cubicBezTo>
                    <a:cubicBezTo>
                      <a:pt x="13" y="17"/>
                      <a:pt x="17" y="19"/>
                      <a:pt x="17" y="19"/>
                    </a:cubicBezTo>
                    <a:cubicBezTo>
                      <a:pt x="17" y="19"/>
                      <a:pt x="19" y="20"/>
                      <a:pt x="21" y="22"/>
                    </a:cubicBezTo>
                    <a:cubicBezTo>
                      <a:pt x="24" y="20"/>
                      <a:pt x="26" y="18"/>
                      <a:pt x="28" y="16"/>
                    </a:cubicBezTo>
                    <a:cubicBezTo>
                      <a:pt x="23" y="14"/>
                      <a:pt x="19" y="11"/>
                      <a:pt x="19" y="11"/>
                    </a:cubicBezTo>
                    <a:cubicBezTo>
                      <a:pt x="19" y="11"/>
                      <a:pt x="17" y="10"/>
                      <a:pt x="15" y="8"/>
                    </a:cubicBezTo>
                    <a:cubicBezTo>
                      <a:pt x="14" y="5"/>
                      <a:pt x="14" y="4"/>
                      <a:pt x="13" y="3"/>
                    </a:cubicBezTo>
                    <a:cubicBezTo>
                      <a:pt x="13" y="2"/>
                      <a:pt x="12" y="2"/>
                      <a:pt x="12" y="2"/>
                    </a:cubicBezTo>
                    <a:cubicBezTo>
                      <a:pt x="11" y="2"/>
                      <a:pt x="11" y="2"/>
                      <a:pt x="11" y="3"/>
                    </a:cubicBezTo>
                    <a:cubicBezTo>
                      <a:pt x="10" y="2"/>
                      <a:pt x="9" y="1"/>
                      <a:pt x="6" y="0"/>
                    </a:cubicBezTo>
                    <a:cubicBezTo>
                      <a:pt x="6" y="0"/>
                      <a:pt x="5" y="0"/>
                      <a:pt x="5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9" name="任意多边形: 形状 328">
                <a:extLst>
                  <a:ext uri="{FF2B5EF4-FFF2-40B4-BE49-F238E27FC236}">
                    <a16:creationId xmlns:a16="http://schemas.microsoft.com/office/drawing/2014/main" id="{EAAA3E87-1916-4E5E-AE6D-6E3D075F64BE}"/>
                  </a:ext>
                </a:extLst>
              </p:cNvPr>
              <p:cNvSpPr/>
              <p:nvPr/>
            </p:nvSpPr>
            <p:spPr bwMode="auto">
              <a:xfrm>
                <a:off x="4708515" y="3768926"/>
                <a:ext cx="108460" cy="55553"/>
              </a:xfrm>
              <a:custGeom>
                <a:avLst/>
                <a:gdLst>
                  <a:gd name="T0" fmla="*/ 1 w 20"/>
                  <a:gd name="T1" fmla="*/ 5 h 10"/>
                  <a:gd name="T2" fmla="*/ 1 w 20"/>
                  <a:gd name="T3" fmla="*/ 5 h 10"/>
                  <a:gd name="T4" fmla="*/ 0 w 20"/>
                  <a:gd name="T5" fmla="*/ 6 h 10"/>
                  <a:gd name="T6" fmla="*/ 0 w 20"/>
                  <a:gd name="T7" fmla="*/ 6 h 10"/>
                  <a:gd name="T8" fmla="*/ 9 w 20"/>
                  <a:gd name="T9" fmla="*/ 10 h 10"/>
                  <a:gd name="T10" fmla="*/ 12 w 20"/>
                  <a:gd name="T11" fmla="*/ 9 h 10"/>
                  <a:gd name="T12" fmla="*/ 3 w 20"/>
                  <a:gd name="T13" fmla="*/ 5 h 10"/>
                  <a:gd name="T14" fmla="*/ 1 w 20"/>
                  <a:gd name="T15" fmla="*/ 5 h 10"/>
                  <a:gd name="T16" fmla="*/ 18 w 20"/>
                  <a:gd name="T17" fmla="*/ 0 h 10"/>
                  <a:gd name="T18" fmla="*/ 18 w 20"/>
                  <a:gd name="T19" fmla="*/ 0 h 10"/>
                  <a:gd name="T20" fmla="*/ 16 w 20"/>
                  <a:gd name="T21" fmla="*/ 3 h 10"/>
                  <a:gd name="T22" fmla="*/ 19 w 20"/>
                  <a:gd name="T23" fmla="*/ 5 h 10"/>
                  <a:gd name="T24" fmla="*/ 18 w 20"/>
                  <a:gd name="T25" fmla="*/ 0 h 10"/>
                  <a:gd name="T26" fmla="*/ 18 w 20"/>
                  <a:gd name="T2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" h="10">
                    <a:moveTo>
                      <a:pt x="1" y="5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1" y="5"/>
                      <a:pt x="0" y="6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4" y="10"/>
                      <a:pt x="9" y="10"/>
                    </a:cubicBezTo>
                    <a:cubicBezTo>
                      <a:pt x="10" y="10"/>
                      <a:pt x="11" y="10"/>
                      <a:pt x="12" y="9"/>
                    </a:cubicBezTo>
                    <a:cubicBezTo>
                      <a:pt x="9" y="8"/>
                      <a:pt x="5" y="7"/>
                      <a:pt x="3" y="5"/>
                    </a:cubicBezTo>
                    <a:cubicBezTo>
                      <a:pt x="2" y="5"/>
                      <a:pt x="2" y="5"/>
                      <a:pt x="1" y="5"/>
                    </a:cubicBezTo>
                    <a:moveTo>
                      <a:pt x="18" y="0"/>
                    </a:moveTo>
                    <a:cubicBezTo>
                      <a:pt x="18" y="0"/>
                      <a:pt x="18" y="0"/>
                      <a:pt x="18" y="0"/>
                    </a:cubicBezTo>
                    <a:cubicBezTo>
                      <a:pt x="18" y="1"/>
                      <a:pt x="18" y="2"/>
                      <a:pt x="16" y="3"/>
                    </a:cubicBezTo>
                    <a:cubicBezTo>
                      <a:pt x="17" y="4"/>
                      <a:pt x="18" y="4"/>
                      <a:pt x="19" y="5"/>
                    </a:cubicBezTo>
                    <a:cubicBezTo>
                      <a:pt x="20" y="3"/>
                      <a:pt x="19" y="1"/>
                      <a:pt x="18" y="0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0" name="任意多边形: 形状 329">
                <a:extLst>
                  <a:ext uri="{FF2B5EF4-FFF2-40B4-BE49-F238E27FC236}">
                    <a16:creationId xmlns:a16="http://schemas.microsoft.com/office/drawing/2014/main" id="{9A8F3FA8-6E79-4773-92D8-5B568B3133B0}"/>
                  </a:ext>
                </a:extLst>
              </p:cNvPr>
              <p:cNvSpPr/>
              <p:nvPr/>
            </p:nvSpPr>
            <p:spPr bwMode="auto">
              <a:xfrm>
                <a:off x="4724387" y="3787444"/>
                <a:ext cx="87297" cy="31744"/>
              </a:xfrm>
              <a:custGeom>
                <a:avLst/>
                <a:gdLst>
                  <a:gd name="T0" fmla="*/ 13 w 16"/>
                  <a:gd name="T1" fmla="*/ 0 h 6"/>
                  <a:gd name="T2" fmla="*/ 11 w 16"/>
                  <a:gd name="T3" fmla="*/ 1 h 6"/>
                  <a:gd name="T4" fmla="*/ 3 w 16"/>
                  <a:gd name="T5" fmla="*/ 3 h 6"/>
                  <a:gd name="T6" fmla="*/ 0 w 16"/>
                  <a:gd name="T7" fmla="*/ 2 h 6"/>
                  <a:gd name="T8" fmla="*/ 9 w 16"/>
                  <a:gd name="T9" fmla="*/ 6 h 6"/>
                  <a:gd name="T10" fmla="*/ 13 w 16"/>
                  <a:gd name="T11" fmla="*/ 5 h 6"/>
                  <a:gd name="T12" fmla="*/ 16 w 16"/>
                  <a:gd name="T13" fmla="*/ 2 h 6"/>
                  <a:gd name="T14" fmla="*/ 13 w 16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6">
                    <a:moveTo>
                      <a:pt x="13" y="0"/>
                    </a:moveTo>
                    <a:cubicBezTo>
                      <a:pt x="13" y="0"/>
                      <a:pt x="12" y="1"/>
                      <a:pt x="11" y="1"/>
                    </a:cubicBezTo>
                    <a:cubicBezTo>
                      <a:pt x="8" y="2"/>
                      <a:pt x="6" y="3"/>
                      <a:pt x="3" y="3"/>
                    </a:cubicBezTo>
                    <a:cubicBezTo>
                      <a:pt x="2" y="3"/>
                      <a:pt x="1" y="3"/>
                      <a:pt x="0" y="2"/>
                    </a:cubicBezTo>
                    <a:cubicBezTo>
                      <a:pt x="2" y="4"/>
                      <a:pt x="6" y="5"/>
                      <a:pt x="9" y="6"/>
                    </a:cubicBezTo>
                    <a:cubicBezTo>
                      <a:pt x="10" y="6"/>
                      <a:pt x="11" y="6"/>
                      <a:pt x="13" y="5"/>
                    </a:cubicBezTo>
                    <a:cubicBezTo>
                      <a:pt x="15" y="4"/>
                      <a:pt x="16" y="3"/>
                      <a:pt x="16" y="2"/>
                    </a:cubicBezTo>
                    <a:cubicBezTo>
                      <a:pt x="15" y="1"/>
                      <a:pt x="14" y="1"/>
                      <a:pt x="13" y="0"/>
                    </a:cubicBezTo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1" name="任意多边形: 形状 330">
                <a:extLst>
                  <a:ext uri="{FF2B5EF4-FFF2-40B4-BE49-F238E27FC236}">
                    <a16:creationId xmlns:a16="http://schemas.microsoft.com/office/drawing/2014/main" id="{3F73220D-A2CF-49CC-9A5A-F385838D2B13}"/>
                  </a:ext>
                </a:extLst>
              </p:cNvPr>
              <p:cNvSpPr/>
              <p:nvPr/>
            </p:nvSpPr>
            <p:spPr bwMode="auto">
              <a:xfrm>
                <a:off x="4607992" y="3467356"/>
                <a:ext cx="243372" cy="153430"/>
              </a:xfrm>
              <a:custGeom>
                <a:avLst/>
                <a:gdLst>
                  <a:gd name="T0" fmla="*/ 40 w 44"/>
                  <a:gd name="T1" fmla="*/ 17 h 28"/>
                  <a:gd name="T2" fmla="*/ 40 w 44"/>
                  <a:gd name="T3" fmla="*/ 26 h 28"/>
                  <a:gd name="T4" fmla="*/ 43 w 44"/>
                  <a:gd name="T5" fmla="*/ 28 h 28"/>
                  <a:gd name="T6" fmla="*/ 42 w 44"/>
                  <a:gd name="T7" fmla="*/ 18 h 28"/>
                  <a:gd name="T8" fmla="*/ 40 w 44"/>
                  <a:gd name="T9" fmla="*/ 17 h 28"/>
                  <a:gd name="T10" fmla="*/ 14 w 44"/>
                  <a:gd name="T11" fmla="*/ 0 h 28"/>
                  <a:gd name="T12" fmla="*/ 0 w 44"/>
                  <a:gd name="T13" fmla="*/ 10 h 28"/>
                  <a:gd name="T14" fmla="*/ 4 w 44"/>
                  <a:gd name="T15" fmla="*/ 9 h 28"/>
                  <a:gd name="T16" fmla="*/ 16 w 44"/>
                  <a:gd name="T17" fmla="*/ 12 h 28"/>
                  <a:gd name="T18" fmla="*/ 33 w 44"/>
                  <a:gd name="T19" fmla="*/ 22 h 28"/>
                  <a:gd name="T20" fmla="*/ 33 w 44"/>
                  <a:gd name="T21" fmla="*/ 13 h 28"/>
                  <a:gd name="T22" fmla="*/ 32 w 44"/>
                  <a:gd name="T23" fmla="*/ 12 h 28"/>
                  <a:gd name="T24" fmla="*/ 29 w 44"/>
                  <a:gd name="T25" fmla="*/ 9 h 28"/>
                  <a:gd name="T26" fmla="*/ 14 w 44"/>
                  <a:gd name="T27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28">
                    <a:moveTo>
                      <a:pt x="40" y="17"/>
                    </a:moveTo>
                    <a:cubicBezTo>
                      <a:pt x="40" y="26"/>
                      <a:pt x="40" y="26"/>
                      <a:pt x="40" y="26"/>
                    </a:cubicBezTo>
                    <a:cubicBezTo>
                      <a:pt x="43" y="28"/>
                      <a:pt x="43" y="28"/>
                      <a:pt x="43" y="28"/>
                    </a:cubicBezTo>
                    <a:cubicBezTo>
                      <a:pt x="44" y="25"/>
                      <a:pt x="44" y="21"/>
                      <a:pt x="42" y="18"/>
                    </a:cubicBezTo>
                    <a:cubicBezTo>
                      <a:pt x="40" y="17"/>
                      <a:pt x="40" y="17"/>
                      <a:pt x="40" y="17"/>
                    </a:cubicBezTo>
                    <a:moveTo>
                      <a:pt x="14" y="0"/>
                    </a:moveTo>
                    <a:cubicBezTo>
                      <a:pt x="14" y="0"/>
                      <a:pt x="4" y="4"/>
                      <a:pt x="0" y="10"/>
                    </a:cubicBezTo>
                    <a:cubicBezTo>
                      <a:pt x="1" y="9"/>
                      <a:pt x="3" y="9"/>
                      <a:pt x="4" y="9"/>
                    </a:cubicBezTo>
                    <a:cubicBezTo>
                      <a:pt x="8" y="9"/>
                      <a:pt x="12" y="10"/>
                      <a:pt x="16" y="12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3" y="13"/>
                      <a:pt x="33" y="13"/>
                      <a:pt x="33" y="13"/>
                    </a:cubicBezTo>
                    <a:cubicBezTo>
                      <a:pt x="32" y="12"/>
                      <a:pt x="32" y="12"/>
                      <a:pt x="32" y="12"/>
                    </a:cubicBezTo>
                    <a:cubicBezTo>
                      <a:pt x="31" y="12"/>
                      <a:pt x="30" y="10"/>
                      <a:pt x="29" y="9"/>
                    </a:cubicBezTo>
                    <a:cubicBezTo>
                      <a:pt x="20" y="6"/>
                      <a:pt x="14" y="3"/>
                      <a:pt x="14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2" name="任意多边形: 形状 331">
                <a:extLst>
                  <a:ext uri="{FF2B5EF4-FFF2-40B4-BE49-F238E27FC236}">
                    <a16:creationId xmlns:a16="http://schemas.microsoft.com/office/drawing/2014/main" id="{1B79294B-D92B-4C37-8E78-2C7136EBE9D9}"/>
                  </a:ext>
                </a:extLst>
              </p:cNvPr>
              <p:cNvSpPr/>
              <p:nvPr/>
            </p:nvSpPr>
            <p:spPr bwMode="auto">
              <a:xfrm>
                <a:off x="4790520" y="3538781"/>
                <a:ext cx="37035" cy="71425"/>
              </a:xfrm>
              <a:custGeom>
                <a:avLst/>
                <a:gdLst>
                  <a:gd name="T0" fmla="*/ 0 w 14"/>
                  <a:gd name="T1" fmla="*/ 0 h 27"/>
                  <a:gd name="T2" fmla="*/ 0 w 14"/>
                  <a:gd name="T3" fmla="*/ 19 h 27"/>
                  <a:gd name="T4" fmla="*/ 14 w 14"/>
                  <a:gd name="T5" fmla="*/ 27 h 27"/>
                  <a:gd name="T6" fmla="*/ 14 w 14"/>
                  <a:gd name="T7" fmla="*/ 8 h 27"/>
                  <a:gd name="T8" fmla="*/ 0 w 14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7">
                    <a:moveTo>
                      <a:pt x="0" y="0"/>
                    </a:moveTo>
                    <a:lnTo>
                      <a:pt x="0" y="19"/>
                    </a:lnTo>
                    <a:lnTo>
                      <a:pt x="14" y="27"/>
                    </a:lnTo>
                    <a:lnTo>
                      <a:pt x="14" y="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3" name="任意多边形: 形状 332">
                <a:extLst>
                  <a:ext uri="{FF2B5EF4-FFF2-40B4-BE49-F238E27FC236}">
                    <a16:creationId xmlns:a16="http://schemas.microsoft.com/office/drawing/2014/main" id="{2C29359A-ADE5-43A7-96BF-BADA2D3D873E}"/>
                  </a:ext>
                </a:extLst>
              </p:cNvPr>
              <p:cNvSpPr/>
              <p:nvPr/>
            </p:nvSpPr>
            <p:spPr bwMode="auto">
              <a:xfrm>
                <a:off x="4790520" y="3538781"/>
                <a:ext cx="37035" cy="71425"/>
              </a:xfrm>
              <a:custGeom>
                <a:avLst/>
                <a:gdLst>
                  <a:gd name="T0" fmla="*/ 0 w 14"/>
                  <a:gd name="T1" fmla="*/ 0 h 27"/>
                  <a:gd name="T2" fmla="*/ 0 w 14"/>
                  <a:gd name="T3" fmla="*/ 19 h 27"/>
                  <a:gd name="T4" fmla="*/ 14 w 14"/>
                  <a:gd name="T5" fmla="*/ 27 h 27"/>
                  <a:gd name="T6" fmla="*/ 14 w 14"/>
                  <a:gd name="T7" fmla="*/ 8 h 27"/>
                  <a:gd name="T8" fmla="*/ 0 w 14"/>
                  <a:gd name="T9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27">
                    <a:moveTo>
                      <a:pt x="0" y="0"/>
                    </a:moveTo>
                    <a:lnTo>
                      <a:pt x="0" y="19"/>
                    </a:lnTo>
                    <a:lnTo>
                      <a:pt x="14" y="27"/>
                    </a:lnTo>
                    <a:lnTo>
                      <a:pt x="14" y="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4" name="任意多边形: 形状 333">
                <a:extLst>
                  <a:ext uri="{FF2B5EF4-FFF2-40B4-BE49-F238E27FC236}">
                    <a16:creationId xmlns:a16="http://schemas.microsoft.com/office/drawing/2014/main" id="{F782FFC4-C3BC-4115-B267-AF89AB16B60E}"/>
                  </a:ext>
                </a:extLst>
              </p:cNvPr>
              <p:cNvSpPr/>
              <p:nvPr/>
            </p:nvSpPr>
            <p:spPr bwMode="auto">
              <a:xfrm>
                <a:off x="4766713" y="3517619"/>
                <a:ext cx="71425" cy="47616"/>
              </a:xfrm>
              <a:custGeom>
                <a:avLst/>
                <a:gdLst>
                  <a:gd name="T0" fmla="*/ 0 w 13"/>
                  <a:gd name="T1" fmla="*/ 0 h 9"/>
                  <a:gd name="T2" fmla="*/ 3 w 13"/>
                  <a:gd name="T3" fmla="*/ 3 h 9"/>
                  <a:gd name="T4" fmla="*/ 4 w 13"/>
                  <a:gd name="T5" fmla="*/ 4 h 9"/>
                  <a:gd name="T6" fmla="*/ 11 w 13"/>
                  <a:gd name="T7" fmla="*/ 8 h 9"/>
                  <a:gd name="T8" fmla="*/ 13 w 13"/>
                  <a:gd name="T9" fmla="*/ 9 h 9"/>
                  <a:gd name="T10" fmla="*/ 7 w 13"/>
                  <a:gd name="T11" fmla="*/ 3 h 9"/>
                  <a:gd name="T12" fmla="*/ 0 w 13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9">
                    <a:moveTo>
                      <a:pt x="0" y="0"/>
                    </a:moveTo>
                    <a:cubicBezTo>
                      <a:pt x="1" y="1"/>
                      <a:pt x="2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11" y="8"/>
                      <a:pt x="11" y="8"/>
                      <a:pt x="11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2" y="7"/>
                      <a:pt x="10" y="5"/>
                      <a:pt x="7" y="3"/>
                    </a:cubicBezTo>
                    <a:cubicBezTo>
                      <a:pt x="4" y="2"/>
                      <a:pt x="2" y="1"/>
                      <a:pt x="0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5" name="任意多边形: 形状 334">
                <a:extLst>
                  <a:ext uri="{FF2B5EF4-FFF2-40B4-BE49-F238E27FC236}">
                    <a16:creationId xmlns:a16="http://schemas.microsoft.com/office/drawing/2014/main" id="{600CC220-1AB2-457E-9311-BB14B0B0D736}"/>
                  </a:ext>
                </a:extLst>
              </p:cNvPr>
              <p:cNvSpPr/>
              <p:nvPr/>
            </p:nvSpPr>
            <p:spPr bwMode="auto">
              <a:xfrm>
                <a:off x="4592120" y="3517619"/>
                <a:ext cx="251309" cy="240727"/>
              </a:xfrm>
              <a:custGeom>
                <a:avLst/>
                <a:gdLst>
                  <a:gd name="T0" fmla="*/ 7 w 46"/>
                  <a:gd name="T1" fmla="*/ 0 h 44"/>
                  <a:gd name="T2" fmla="*/ 3 w 46"/>
                  <a:gd name="T3" fmla="*/ 1 h 44"/>
                  <a:gd name="T4" fmla="*/ 7 w 46"/>
                  <a:gd name="T5" fmla="*/ 14 h 44"/>
                  <a:gd name="T6" fmla="*/ 8 w 46"/>
                  <a:gd name="T7" fmla="*/ 15 h 44"/>
                  <a:gd name="T8" fmla="*/ 13 w 46"/>
                  <a:gd name="T9" fmla="*/ 27 h 44"/>
                  <a:gd name="T10" fmla="*/ 14 w 46"/>
                  <a:gd name="T11" fmla="*/ 23 h 44"/>
                  <a:gd name="T12" fmla="*/ 17 w 46"/>
                  <a:gd name="T13" fmla="*/ 22 h 44"/>
                  <a:gd name="T14" fmla="*/ 18 w 46"/>
                  <a:gd name="T15" fmla="*/ 28 h 44"/>
                  <a:gd name="T16" fmla="*/ 16 w 46"/>
                  <a:gd name="T17" fmla="*/ 32 h 44"/>
                  <a:gd name="T18" fmla="*/ 23 w 46"/>
                  <a:gd name="T19" fmla="*/ 39 h 44"/>
                  <a:gd name="T20" fmla="*/ 31 w 46"/>
                  <a:gd name="T21" fmla="*/ 44 h 44"/>
                  <a:gd name="T22" fmla="*/ 38 w 46"/>
                  <a:gd name="T23" fmla="*/ 41 h 44"/>
                  <a:gd name="T24" fmla="*/ 38 w 46"/>
                  <a:gd name="T25" fmla="*/ 41 h 44"/>
                  <a:gd name="T26" fmla="*/ 44 w 46"/>
                  <a:gd name="T27" fmla="*/ 28 h 44"/>
                  <a:gd name="T28" fmla="*/ 46 w 46"/>
                  <a:gd name="T29" fmla="*/ 19 h 44"/>
                  <a:gd name="T30" fmla="*/ 43 w 46"/>
                  <a:gd name="T31" fmla="*/ 17 h 44"/>
                  <a:gd name="T32" fmla="*/ 36 w 46"/>
                  <a:gd name="T33" fmla="*/ 13 h 44"/>
                  <a:gd name="T34" fmla="*/ 19 w 46"/>
                  <a:gd name="T35" fmla="*/ 3 h 44"/>
                  <a:gd name="T36" fmla="*/ 7 w 46"/>
                  <a:gd name="T37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6" h="44">
                    <a:moveTo>
                      <a:pt x="7" y="0"/>
                    </a:moveTo>
                    <a:cubicBezTo>
                      <a:pt x="6" y="0"/>
                      <a:pt x="4" y="0"/>
                      <a:pt x="3" y="1"/>
                    </a:cubicBezTo>
                    <a:cubicBezTo>
                      <a:pt x="0" y="4"/>
                      <a:pt x="0" y="9"/>
                      <a:pt x="7" y="14"/>
                    </a:cubicBezTo>
                    <a:cubicBezTo>
                      <a:pt x="7" y="15"/>
                      <a:pt x="8" y="15"/>
                      <a:pt x="8" y="15"/>
                    </a:cubicBezTo>
                    <a:cubicBezTo>
                      <a:pt x="8" y="15"/>
                      <a:pt x="8" y="23"/>
                      <a:pt x="13" y="27"/>
                    </a:cubicBezTo>
                    <a:cubicBezTo>
                      <a:pt x="14" y="23"/>
                      <a:pt x="14" y="23"/>
                      <a:pt x="14" y="23"/>
                    </a:cubicBezTo>
                    <a:cubicBezTo>
                      <a:pt x="15" y="23"/>
                      <a:pt x="16" y="22"/>
                      <a:pt x="17" y="22"/>
                    </a:cubicBezTo>
                    <a:cubicBezTo>
                      <a:pt x="19" y="22"/>
                      <a:pt x="20" y="25"/>
                      <a:pt x="18" y="28"/>
                    </a:cubicBezTo>
                    <a:cubicBezTo>
                      <a:pt x="17" y="29"/>
                      <a:pt x="17" y="31"/>
                      <a:pt x="16" y="32"/>
                    </a:cubicBezTo>
                    <a:cubicBezTo>
                      <a:pt x="18" y="34"/>
                      <a:pt x="21" y="36"/>
                      <a:pt x="23" y="39"/>
                    </a:cubicBezTo>
                    <a:cubicBezTo>
                      <a:pt x="25" y="41"/>
                      <a:pt x="28" y="42"/>
                      <a:pt x="31" y="44"/>
                    </a:cubicBezTo>
                    <a:cubicBezTo>
                      <a:pt x="34" y="44"/>
                      <a:pt x="37" y="43"/>
                      <a:pt x="38" y="41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40" y="38"/>
                      <a:pt x="40" y="35"/>
                      <a:pt x="44" y="28"/>
                    </a:cubicBezTo>
                    <a:cubicBezTo>
                      <a:pt x="45" y="25"/>
                      <a:pt x="46" y="22"/>
                      <a:pt x="46" y="19"/>
                    </a:cubicBezTo>
                    <a:cubicBezTo>
                      <a:pt x="43" y="17"/>
                      <a:pt x="43" y="17"/>
                      <a:pt x="43" y="17"/>
                    </a:cubicBezTo>
                    <a:cubicBezTo>
                      <a:pt x="36" y="13"/>
                      <a:pt x="36" y="13"/>
                      <a:pt x="36" y="13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5" y="1"/>
                      <a:pt x="11" y="0"/>
                      <a:pt x="7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6" name="任意多边形: 形状 335">
                <a:extLst>
                  <a:ext uri="{FF2B5EF4-FFF2-40B4-BE49-F238E27FC236}">
                    <a16:creationId xmlns:a16="http://schemas.microsoft.com/office/drawing/2014/main" id="{3A0E8EC8-B25C-40A3-8DFF-2BE42A431004}"/>
                  </a:ext>
                </a:extLst>
              </p:cNvPr>
              <p:cNvSpPr/>
              <p:nvPr/>
            </p:nvSpPr>
            <p:spPr bwMode="auto">
              <a:xfrm>
                <a:off x="4719097" y="3731891"/>
                <a:ext cx="42326" cy="26453"/>
              </a:xfrm>
              <a:custGeom>
                <a:avLst/>
                <a:gdLst>
                  <a:gd name="T0" fmla="*/ 0 w 8"/>
                  <a:gd name="T1" fmla="*/ 0 h 5"/>
                  <a:gd name="T2" fmla="*/ 1 w 8"/>
                  <a:gd name="T3" fmla="*/ 2 h 5"/>
                  <a:gd name="T4" fmla="*/ 1 w 8"/>
                  <a:gd name="T5" fmla="*/ 2 h 5"/>
                  <a:gd name="T6" fmla="*/ 7 w 8"/>
                  <a:gd name="T7" fmla="*/ 5 h 5"/>
                  <a:gd name="T8" fmla="*/ 8 w 8"/>
                  <a:gd name="T9" fmla="*/ 5 h 5"/>
                  <a:gd name="T10" fmla="*/ 0 w 8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0" y="0"/>
                    </a:moveTo>
                    <a:cubicBezTo>
                      <a:pt x="0" y="1"/>
                      <a:pt x="0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1" y="4"/>
                      <a:pt x="4" y="5"/>
                      <a:pt x="7" y="5"/>
                    </a:cubicBezTo>
                    <a:cubicBezTo>
                      <a:pt x="7" y="5"/>
                      <a:pt x="7" y="5"/>
                      <a:pt x="8" y="5"/>
                    </a:cubicBezTo>
                    <a:cubicBezTo>
                      <a:pt x="5" y="3"/>
                      <a:pt x="2" y="2"/>
                      <a:pt x="0" y="0"/>
                    </a:cubicBezTo>
                  </a:path>
                </a:pathLst>
              </a:custGeom>
              <a:solidFill>
                <a:srgbClr val="6353A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7" name="任意多边形: 形状 336">
                <a:extLst>
                  <a:ext uri="{FF2B5EF4-FFF2-40B4-BE49-F238E27FC236}">
                    <a16:creationId xmlns:a16="http://schemas.microsoft.com/office/drawing/2014/main" id="{D21C695A-9431-4FBE-BE9B-F6EAF93D0C29}"/>
                  </a:ext>
                </a:extLst>
              </p:cNvPr>
              <p:cNvSpPr/>
              <p:nvPr/>
            </p:nvSpPr>
            <p:spPr bwMode="auto">
              <a:xfrm>
                <a:off x="4658253" y="3636658"/>
                <a:ext cx="42326" cy="60844"/>
              </a:xfrm>
              <a:custGeom>
                <a:avLst/>
                <a:gdLst>
                  <a:gd name="T0" fmla="*/ 5 w 8"/>
                  <a:gd name="T1" fmla="*/ 0 h 11"/>
                  <a:gd name="T2" fmla="*/ 2 w 8"/>
                  <a:gd name="T3" fmla="*/ 1 h 11"/>
                  <a:gd name="T4" fmla="*/ 1 w 8"/>
                  <a:gd name="T5" fmla="*/ 5 h 11"/>
                  <a:gd name="T6" fmla="*/ 0 w 8"/>
                  <a:gd name="T7" fmla="*/ 9 h 11"/>
                  <a:gd name="T8" fmla="*/ 2 w 8"/>
                  <a:gd name="T9" fmla="*/ 11 h 11"/>
                  <a:gd name="T10" fmla="*/ 4 w 8"/>
                  <a:gd name="T11" fmla="*/ 10 h 11"/>
                  <a:gd name="T12" fmla="*/ 6 w 8"/>
                  <a:gd name="T13" fmla="*/ 6 h 11"/>
                  <a:gd name="T14" fmla="*/ 5 w 8"/>
                  <a:gd name="T15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cubicBezTo>
                      <a:pt x="4" y="0"/>
                      <a:pt x="3" y="1"/>
                      <a:pt x="2" y="1"/>
                    </a:cubicBezTo>
                    <a:cubicBezTo>
                      <a:pt x="1" y="5"/>
                      <a:pt x="1" y="5"/>
                      <a:pt x="1" y="5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1" y="11"/>
                      <a:pt x="2" y="11"/>
                    </a:cubicBezTo>
                    <a:cubicBezTo>
                      <a:pt x="3" y="11"/>
                      <a:pt x="4" y="11"/>
                      <a:pt x="4" y="10"/>
                    </a:cubicBezTo>
                    <a:cubicBezTo>
                      <a:pt x="5" y="9"/>
                      <a:pt x="5" y="7"/>
                      <a:pt x="6" y="6"/>
                    </a:cubicBezTo>
                    <a:cubicBezTo>
                      <a:pt x="8" y="3"/>
                      <a:pt x="7" y="0"/>
                      <a:pt x="5" y="0"/>
                    </a:cubicBezTo>
                  </a:path>
                </a:pathLst>
              </a:custGeom>
              <a:solidFill>
                <a:srgbClr val="FFD7D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8" name="任意多边形: 形状 337">
                <a:extLst>
                  <a:ext uri="{FF2B5EF4-FFF2-40B4-BE49-F238E27FC236}">
                    <a16:creationId xmlns:a16="http://schemas.microsoft.com/office/drawing/2014/main" id="{C05021AF-B208-43CD-A482-CD6D12605361}"/>
                  </a:ext>
                </a:extLst>
              </p:cNvPr>
              <p:cNvSpPr/>
              <p:nvPr/>
            </p:nvSpPr>
            <p:spPr bwMode="auto">
              <a:xfrm>
                <a:off x="4399009" y="4430262"/>
                <a:ext cx="87297" cy="71425"/>
              </a:xfrm>
              <a:custGeom>
                <a:avLst/>
                <a:gdLst>
                  <a:gd name="T0" fmla="*/ 0 w 16"/>
                  <a:gd name="T1" fmla="*/ 0 h 13"/>
                  <a:gd name="T2" fmla="*/ 0 w 16"/>
                  <a:gd name="T3" fmla="*/ 0 h 13"/>
                  <a:gd name="T4" fmla="*/ 0 w 16"/>
                  <a:gd name="T5" fmla="*/ 6 h 13"/>
                  <a:gd name="T6" fmla="*/ 3 w 16"/>
                  <a:gd name="T7" fmla="*/ 11 h 13"/>
                  <a:gd name="T8" fmla="*/ 10 w 16"/>
                  <a:gd name="T9" fmla="*/ 13 h 13"/>
                  <a:gd name="T10" fmla="*/ 14 w 16"/>
                  <a:gd name="T11" fmla="*/ 12 h 13"/>
                  <a:gd name="T12" fmla="*/ 16 w 16"/>
                  <a:gd name="T13" fmla="*/ 10 h 13"/>
                  <a:gd name="T14" fmla="*/ 16 w 16"/>
                  <a:gd name="T15" fmla="*/ 5 h 13"/>
                  <a:gd name="T16" fmla="*/ 15 w 16"/>
                  <a:gd name="T17" fmla="*/ 4 h 13"/>
                  <a:gd name="T18" fmla="*/ 15 w 16"/>
                  <a:gd name="T19" fmla="*/ 3 h 13"/>
                  <a:gd name="T20" fmla="*/ 14 w 16"/>
                  <a:gd name="T21" fmla="*/ 3 h 13"/>
                  <a:gd name="T22" fmla="*/ 9 w 16"/>
                  <a:gd name="T23" fmla="*/ 4 h 13"/>
                  <a:gd name="T24" fmla="*/ 7 w 16"/>
                  <a:gd name="T25" fmla="*/ 4 h 13"/>
                  <a:gd name="T26" fmla="*/ 3 w 16"/>
                  <a:gd name="T27" fmla="*/ 2 h 13"/>
                  <a:gd name="T28" fmla="*/ 0 w 16"/>
                  <a:gd name="T29" fmla="*/ 0 h 13"/>
                  <a:gd name="T30" fmla="*/ 0 w 16"/>
                  <a:gd name="T3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3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3" y="11"/>
                    </a:cubicBezTo>
                    <a:cubicBezTo>
                      <a:pt x="5" y="12"/>
                      <a:pt x="8" y="13"/>
                      <a:pt x="10" y="13"/>
                    </a:cubicBezTo>
                    <a:cubicBezTo>
                      <a:pt x="12" y="13"/>
                      <a:pt x="13" y="12"/>
                      <a:pt x="14" y="12"/>
                    </a:cubicBezTo>
                    <a:cubicBezTo>
                      <a:pt x="15" y="12"/>
                      <a:pt x="16" y="11"/>
                      <a:pt x="16" y="10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4"/>
                      <a:pt x="16" y="4"/>
                      <a:pt x="15" y="4"/>
                    </a:cubicBezTo>
                    <a:cubicBezTo>
                      <a:pt x="15" y="3"/>
                      <a:pt x="15" y="3"/>
                      <a:pt x="15" y="3"/>
                    </a:cubicBezTo>
                    <a:cubicBezTo>
                      <a:pt x="15" y="3"/>
                      <a:pt x="15" y="3"/>
                      <a:pt x="14" y="3"/>
                    </a:cubicBezTo>
                    <a:cubicBezTo>
                      <a:pt x="13" y="3"/>
                      <a:pt x="12" y="4"/>
                      <a:pt x="9" y="4"/>
                    </a:cubicBezTo>
                    <a:cubicBezTo>
                      <a:pt x="9" y="4"/>
                      <a:pt x="8" y="4"/>
                      <a:pt x="7" y="4"/>
                    </a:cubicBezTo>
                    <a:cubicBezTo>
                      <a:pt x="5" y="4"/>
                      <a:pt x="4" y="3"/>
                      <a:pt x="3" y="2"/>
                    </a:cubicBezTo>
                    <a:cubicBezTo>
                      <a:pt x="2" y="1"/>
                      <a:pt x="1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004A8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9" name="任意多边形: 形状 338">
                <a:extLst>
                  <a:ext uri="{FF2B5EF4-FFF2-40B4-BE49-F238E27FC236}">
                    <a16:creationId xmlns:a16="http://schemas.microsoft.com/office/drawing/2014/main" id="{183AD9C6-21F3-4957-8F39-5C28670B0085}"/>
                  </a:ext>
                </a:extLst>
              </p:cNvPr>
              <p:cNvSpPr/>
              <p:nvPr/>
            </p:nvSpPr>
            <p:spPr bwMode="auto">
              <a:xfrm>
                <a:off x="4552439" y="3840351"/>
                <a:ext cx="187820" cy="156076"/>
              </a:xfrm>
              <a:custGeom>
                <a:avLst/>
                <a:gdLst>
                  <a:gd name="T0" fmla="*/ 22 w 34"/>
                  <a:gd name="T1" fmla="*/ 0 h 28"/>
                  <a:gd name="T2" fmla="*/ 16 w 34"/>
                  <a:gd name="T3" fmla="*/ 2 h 28"/>
                  <a:gd name="T4" fmla="*/ 16 w 34"/>
                  <a:gd name="T5" fmla="*/ 2 h 28"/>
                  <a:gd name="T6" fmla="*/ 0 w 34"/>
                  <a:gd name="T7" fmla="*/ 13 h 28"/>
                  <a:gd name="T8" fmla="*/ 0 w 34"/>
                  <a:gd name="T9" fmla="*/ 15 h 28"/>
                  <a:gd name="T10" fmla="*/ 4 w 34"/>
                  <a:gd name="T11" fmla="*/ 27 h 28"/>
                  <a:gd name="T12" fmla="*/ 8 w 34"/>
                  <a:gd name="T13" fmla="*/ 28 h 28"/>
                  <a:gd name="T14" fmla="*/ 15 w 34"/>
                  <a:gd name="T15" fmla="*/ 24 h 28"/>
                  <a:gd name="T16" fmla="*/ 26 w 34"/>
                  <a:gd name="T17" fmla="*/ 17 h 28"/>
                  <a:gd name="T18" fmla="*/ 30 w 34"/>
                  <a:gd name="T19" fmla="*/ 4 h 28"/>
                  <a:gd name="T20" fmla="*/ 22 w 34"/>
                  <a:gd name="T21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4" h="28">
                    <a:moveTo>
                      <a:pt x="22" y="0"/>
                    </a:moveTo>
                    <a:cubicBezTo>
                      <a:pt x="20" y="0"/>
                      <a:pt x="18" y="0"/>
                      <a:pt x="16" y="2"/>
                    </a:cubicBezTo>
                    <a:cubicBezTo>
                      <a:pt x="16" y="2"/>
                      <a:pt x="16" y="2"/>
                      <a:pt x="16" y="2"/>
                    </a:cubicBezTo>
                    <a:cubicBezTo>
                      <a:pt x="12" y="5"/>
                      <a:pt x="0" y="13"/>
                      <a:pt x="0" y="13"/>
                    </a:cubicBezTo>
                    <a:cubicBezTo>
                      <a:pt x="0" y="13"/>
                      <a:pt x="0" y="14"/>
                      <a:pt x="0" y="15"/>
                    </a:cubicBezTo>
                    <a:cubicBezTo>
                      <a:pt x="0" y="18"/>
                      <a:pt x="0" y="24"/>
                      <a:pt x="4" y="27"/>
                    </a:cubicBezTo>
                    <a:cubicBezTo>
                      <a:pt x="5" y="27"/>
                      <a:pt x="6" y="28"/>
                      <a:pt x="8" y="28"/>
                    </a:cubicBezTo>
                    <a:cubicBezTo>
                      <a:pt x="8" y="28"/>
                      <a:pt x="12" y="26"/>
                      <a:pt x="15" y="24"/>
                    </a:cubicBezTo>
                    <a:cubicBezTo>
                      <a:pt x="20" y="21"/>
                      <a:pt x="25" y="19"/>
                      <a:pt x="26" y="17"/>
                    </a:cubicBezTo>
                    <a:cubicBezTo>
                      <a:pt x="30" y="15"/>
                      <a:pt x="34" y="10"/>
                      <a:pt x="30" y="4"/>
                    </a:cubicBezTo>
                    <a:cubicBezTo>
                      <a:pt x="28" y="1"/>
                      <a:pt x="25" y="0"/>
                      <a:pt x="22" y="0"/>
                    </a:cubicBezTo>
                  </a:path>
                </a:pathLst>
              </a:custGeom>
              <a:solidFill>
                <a:srgbClr val="FF9E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0" name="任意多边形: 形状 339">
                <a:extLst>
                  <a:ext uri="{FF2B5EF4-FFF2-40B4-BE49-F238E27FC236}">
                    <a16:creationId xmlns:a16="http://schemas.microsoft.com/office/drawing/2014/main" id="{4E26B568-58CA-4FC5-9B92-6AAEFD075EFC}"/>
                  </a:ext>
                </a:extLst>
              </p:cNvPr>
              <p:cNvSpPr/>
              <p:nvPr/>
            </p:nvSpPr>
            <p:spPr bwMode="auto">
              <a:xfrm>
                <a:off x="4734969" y="3972618"/>
                <a:ext cx="50262" cy="87297"/>
              </a:xfrm>
              <a:custGeom>
                <a:avLst/>
                <a:gdLst>
                  <a:gd name="T0" fmla="*/ 8 w 9"/>
                  <a:gd name="T1" fmla="*/ 0 h 16"/>
                  <a:gd name="T2" fmla="*/ 7 w 9"/>
                  <a:gd name="T3" fmla="*/ 1 h 16"/>
                  <a:gd name="T4" fmla="*/ 0 w 9"/>
                  <a:gd name="T5" fmla="*/ 12 h 16"/>
                  <a:gd name="T6" fmla="*/ 0 w 9"/>
                  <a:gd name="T7" fmla="*/ 14 h 16"/>
                  <a:gd name="T8" fmla="*/ 3 w 9"/>
                  <a:gd name="T9" fmla="*/ 16 h 16"/>
                  <a:gd name="T10" fmla="*/ 3 w 9"/>
                  <a:gd name="T11" fmla="*/ 14 h 16"/>
                  <a:gd name="T12" fmla="*/ 9 w 9"/>
                  <a:gd name="T13" fmla="*/ 3 h 16"/>
                  <a:gd name="T14" fmla="*/ 8 w 9"/>
                  <a:gd name="T1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6">
                    <a:moveTo>
                      <a:pt x="8" y="0"/>
                    </a:moveTo>
                    <a:cubicBezTo>
                      <a:pt x="7" y="1"/>
                      <a:pt x="7" y="1"/>
                      <a:pt x="7" y="1"/>
                    </a:cubicBezTo>
                    <a:cubicBezTo>
                      <a:pt x="3" y="3"/>
                      <a:pt x="0" y="7"/>
                      <a:pt x="0" y="12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3" y="16"/>
                      <a:pt x="3" y="16"/>
                      <a:pt x="3" y="16"/>
                    </a:cubicBezTo>
                    <a:cubicBezTo>
                      <a:pt x="3" y="14"/>
                      <a:pt x="3" y="14"/>
                      <a:pt x="3" y="14"/>
                    </a:cubicBezTo>
                    <a:cubicBezTo>
                      <a:pt x="3" y="10"/>
                      <a:pt x="5" y="6"/>
                      <a:pt x="9" y="3"/>
                    </a:cubicBezTo>
                    <a:cubicBezTo>
                      <a:pt x="8" y="2"/>
                      <a:pt x="8" y="1"/>
                      <a:pt x="8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1" name="任意多边形: 形状 340">
                <a:extLst>
                  <a:ext uri="{FF2B5EF4-FFF2-40B4-BE49-F238E27FC236}">
                    <a16:creationId xmlns:a16="http://schemas.microsoft.com/office/drawing/2014/main" id="{0DD3A554-9362-4047-A799-B1891444CBDE}"/>
                  </a:ext>
                </a:extLst>
              </p:cNvPr>
              <p:cNvSpPr/>
              <p:nvPr/>
            </p:nvSpPr>
            <p:spPr bwMode="auto">
              <a:xfrm>
                <a:off x="4734969" y="4049332"/>
                <a:ext cx="31744" cy="166658"/>
              </a:xfrm>
              <a:custGeom>
                <a:avLst/>
                <a:gdLst>
                  <a:gd name="T0" fmla="*/ 0 w 6"/>
                  <a:gd name="T1" fmla="*/ 0 h 30"/>
                  <a:gd name="T2" fmla="*/ 0 w 6"/>
                  <a:gd name="T3" fmla="*/ 24 h 30"/>
                  <a:gd name="T4" fmla="*/ 3 w 6"/>
                  <a:gd name="T5" fmla="*/ 28 h 30"/>
                  <a:gd name="T6" fmla="*/ 3 w 6"/>
                  <a:gd name="T7" fmla="*/ 28 h 30"/>
                  <a:gd name="T8" fmla="*/ 6 w 6"/>
                  <a:gd name="T9" fmla="*/ 30 h 30"/>
                  <a:gd name="T10" fmla="*/ 6 w 6"/>
                  <a:gd name="T11" fmla="*/ 30 h 30"/>
                  <a:gd name="T12" fmla="*/ 3 w 6"/>
                  <a:gd name="T13" fmla="*/ 25 h 30"/>
                  <a:gd name="T14" fmla="*/ 3 w 6"/>
                  <a:gd name="T15" fmla="*/ 2 h 30"/>
                  <a:gd name="T16" fmla="*/ 0 w 6"/>
                  <a:gd name="T1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" h="30">
                    <a:moveTo>
                      <a:pt x="0" y="0"/>
                    </a:moveTo>
                    <a:cubicBezTo>
                      <a:pt x="0" y="24"/>
                      <a:pt x="0" y="24"/>
                      <a:pt x="0" y="24"/>
                    </a:cubicBezTo>
                    <a:cubicBezTo>
                      <a:pt x="0" y="26"/>
                      <a:pt x="1" y="28"/>
                      <a:pt x="3" y="28"/>
                    </a:cubicBezTo>
                    <a:cubicBezTo>
                      <a:pt x="3" y="28"/>
                      <a:pt x="3" y="28"/>
                      <a:pt x="3" y="28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6" y="30"/>
                      <a:pt x="6" y="30"/>
                      <a:pt x="6" y="30"/>
                    </a:cubicBezTo>
                    <a:cubicBezTo>
                      <a:pt x="4" y="29"/>
                      <a:pt x="3" y="28"/>
                      <a:pt x="3" y="25"/>
                    </a:cubicBezTo>
                    <a:cubicBezTo>
                      <a:pt x="3" y="2"/>
                      <a:pt x="3" y="2"/>
                      <a:pt x="3" y="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2" name="任意多边形: 形状 341">
                <a:extLst>
                  <a:ext uri="{FF2B5EF4-FFF2-40B4-BE49-F238E27FC236}">
                    <a16:creationId xmlns:a16="http://schemas.microsoft.com/office/drawing/2014/main" id="{CD5CD6DF-9CFB-4B2A-BCAF-6C892BF6A7F2}"/>
                  </a:ext>
                </a:extLst>
              </p:cNvPr>
              <p:cNvSpPr/>
              <p:nvPr/>
            </p:nvSpPr>
            <p:spPr bwMode="auto">
              <a:xfrm>
                <a:off x="4779939" y="3874740"/>
                <a:ext cx="214274" cy="113751"/>
              </a:xfrm>
              <a:custGeom>
                <a:avLst/>
                <a:gdLst>
                  <a:gd name="T0" fmla="*/ 39 w 39"/>
                  <a:gd name="T1" fmla="*/ 1 h 21"/>
                  <a:gd name="T2" fmla="*/ 39 w 39"/>
                  <a:gd name="T3" fmla="*/ 1 h 21"/>
                  <a:gd name="T4" fmla="*/ 39 w 39"/>
                  <a:gd name="T5" fmla="*/ 2 h 21"/>
                  <a:gd name="T6" fmla="*/ 39 w 39"/>
                  <a:gd name="T7" fmla="*/ 1 h 21"/>
                  <a:gd name="T8" fmla="*/ 31 w 39"/>
                  <a:gd name="T9" fmla="*/ 0 h 21"/>
                  <a:gd name="T10" fmla="*/ 31 w 39"/>
                  <a:gd name="T11" fmla="*/ 0 h 21"/>
                  <a:gd name="T12" fmla="*/ 25 w 39"/>
                  <a:gd name="T13" fmla="*/ 4 h 21"/>
                  <a:gd name="T14" fmla="*/ 0 w 39"/>
                  <a:gd name="T15" fmla="*/ 18 h 21"/>
                  <a:gd name="T16" fmla="*/ 1 w 39"/>
                  <a:gd name="T17" fmla="*/ 21 h 21"/>
                  <a:gd name="T18" fmla="*/ 2 w 39"/>
                  <a:gd name="T19" fmla="*/ 21 h 21"/>
                  <a:gd name="T20" fmla="*/ 31 w 39"/>
                  <a:gd name="T21" fmla="*/ 3 h 21"/>
                  <a:gd name="T22" fmla="*/ 31 w 39"/>
                  <a:gd name="T23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9" h="21">
                    <a:moveTo>
                      <a:pt x="39" y="1"/>
                    </a:moveTo>
                    <a:cubicBezTo>
                      <a:pt x="39" y="1"/>
                      <a:pt x="39" y="1"/>
                      <a:pt x="39" y="1"/>
                    </a:cubicBezTo>
                    <a:cubicBezTo>
                      <a:pt x="39" y="1"/>
                      <a:pt x="39" y="2"/>
                      <a:pt x="39" y="2"/>
                    </a:cubicBezTo>
                    <a:cubicBezTo>
                      <a:pt x="39" y="1"/>
                      <a:pt x="39" y="1"/>
                      <a:pt x="39" y="1"/>
                    </a:cubicBezTo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9"/>
                      <a:pt x="0" y="20"/>
                      <a:pt x="1" y="21"/>
                    </a:cubicBezTo>
                    <a:cubicBezTo>
                      <a:pt x="1" y="21"/>
                      <a:pt x="1" y="21"/>
                      <a:pt x="2" y="21"/>
                    </a:cubicBezTo>
                    <a:cubicBezTo>
                      <a:pt x="31" y="3"/>
                      <a:pt x="31" y="3"/>
                      <a:pt x="31" y="3"/>
                    </a:cubicBezTo>
                    <a:cubicBezTo>
                      <a:pt x="31" y="0"/>
                      <a:pt x="31" y="0"/>
                      <a:pt x="31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3" name="任意多边形: 形状 342">
                <a:extLst>
                  <a:ext uri="{FF2B5EF4-FFF2-40B4-BE49-F238E27FC236}">
                    <a16:creationId xmlns:a16="http://schemas.microsoft.com/office/drawing/2014/main" id="{0018927D-DAFC-4B39-A42D-E10E0CA17269}"/>
                  </a:ext>
                </a:extLst>
              </p:cNvPr>
              <p:cNvSpPr/>
              <p:nvPr/>
            </p:nvSpPr>
            <p:spPr bwMode="auto">
              <a:xfrm>
                <a:off x="4949241" y="3869449"/>
                <a:ext cx="44972" cy="21163"/>
              </a:xfrm>
              <a:custGeom>
                <a:avLst/>
                <a:gdLst>
                  <a:gd name="T0" fmla="*/ 3 w 8"/>
                  <a:gd name="T1" fmla="*/ 0 h 4"/>
                  <a:gd name="T2" fmla="*/ 0 w 8"/>
                  <a:gd name="T3" fmla="*/ 1 h 4"/>
                  <a:gd name="T4" fmla="*/ 0 w 8"/>
                  <a:gd name="T5" fmla="*/ 4 h 4"/>
                  <a:gd name="T6" fmla="*/ 3 w 8"/>
                  <a:gd name="T7" fmla="*/ 3 h 4"/>
                  <a:gd name="T8" fmla="*/ 6 w 8"/>
                  <a:gd name="T9" fmla="*/ 2 h 4"/>
                  <a:gd name="T10" fmla="*/ 8 w 8"/>
                  <a:gd name="T11" fmla="*/ 2 h 4"/>
                  <a:gd name="T12" fmla="*/ 8 w 8"/>
                  <a:gd name="T13" fmla="*/ 2 h 4"/>
                  <a:gd name="T14" fmla="*/ 6 w 8"/>
                  <a:gd name="T15" fmla="*/ 1 h 4"/>
                  <a:gd name="T16" fmla="*/ 6 w 8"/>
                  <a:gd name="T17" fmla="*/ 1 h 4"/>
                  <a:gd name="T18" fmla="*/ 3 w 8"/>
                  <a:gd name="T1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">
                    <a:moveTo>
                      <a:pt x="3" y="0"/>
                    </a:moveTo>
                    <a:cubicBezTo>
                      <a:pt x="2" y="0"/>
                      <a:pt x="1" y="1"/>
                      <a:pt x="0" y="1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2"/>
                      <a:pt x="5" y="2"/>
                      <a:pt x="6" y="2"/>
                    </a:cubicBezTo>
                    <a:cubicBezTo>
                      <a:pt x="6" y="2"/>
                      <a:pt x="7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6" y="1"/>
                      <a:pt x="6" y="1"/>
                      <a:pt x="6" y="1"/>
                    </a:cubicBezTo>
                    <a:cubicBezTo>
                      <a:pt x="5" y="1"/>
                      <a:pt x="4" y="0"/>
                      <a:pt x="3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4" name="任意多边形: 形状 343">
                <a:extLst>
                  <a:ext uri="{FF2B5EF4-FFF2-40B4-BE49-F238E27FC236}">
                    <a16:creationId xmlns:a16="http://schemas.microsoft.com/office/drawing/2014/main" id="{01867053-F8A7-47CC-A48D-BC537953115F}"/>
                  </a:ext>
                </a:extLst>
              </p:cNvPr>
              <p:cNvSpPr/>
              <p:nvPr/>
            </p:nvSpPr>
            <p:spPr bwMode="auto">
              <a:xfrm>
                <a:off x="4999503" y="3885321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5" name="任意多边形: 形状 344">
                <a:extLst>
                  <a:ext uri="{FF2B5EF4-FFF2-40B4-BE49-F238E27FC236}">
                    <a16:creationId xmlns:a16="http://schemas.microsoft.com/office/drawing/2014/main" id="{B74BF029-4FCC-47DD-B2D5-41ACBC7F6779}"/>
                  </a:ext>
                </a:extLst>
              </p:cNvPr>
              <p:cNvSpPr/>
              <p:nvPr/>
            </p:nvSpPr>
            <p:spPr bwMode="auto">
              <a:xfrm>
                <a:off x="4994213" y="3880030"/>
                <a:ext cx="15872" cy="219565"/>
              </a:xfrm>
              <a:custGeom>
                <a:avLst/>
                <a:gdLst>
                  <a:gd name="T0" fmla="*/ 0 w 3"/>
                  <a:gd name="T1" fmla="*/ 0 h 40"/>
                  <a:gd name="T2" fmla="*/ 0 w 3"/>
                  <a:gd name="T3" fmla="*/ 40 h 40"/>
                  <a:gd name="T4" fmla="*/ 3 w 3"/>
                  <a:gd name="T5" fmla="*/ 31 h 40"/>
                  <a:gd name="T6" fmla="*/ 3 w 3"/>
                  <a:gd name="T7" fmla="*/ 5 h 40"/>
                  <a:gd name="T8" fmla="*/ 1 w 3"/>
                  <a:gd name="T9" fmla="*/ 1 h 40"/>
                  <a:gd name="T10" fmla="*/ 1 w 3"/>
                  <a:gd name="T11" fmla="*/ 1 h 40"/>
                  <a:gd name="T12" fmla="*/ 0 w 3"/>
                  <a:gd name="T13" fmla="*/ 1 h 40"/>
                  <a:gd name="T14" fmla="*/ 0 w 3"/>
                  <a:gd name="T1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40">
                    <a:moveTo>
                      <a:pt x="0" y="0"/>
                    </a:moveTo>
                    <a:cubicBezTo>
                      <a:pt x="0" y="40"/>
                      <a:pt x="0" y="40"/>
                      <a:pt x="0" y="40"/>
                    </a:cubicBezTo>
                    <a:cubicBezTo>
                      <a:pt x="2" y="37"/>
                      <a:pt x="3" y="34"/>
                      <a:pt x="3" y="31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0"/>
                      <a:pt x="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6" name="任意多边形: 形状 345">
                <a:extLst>
                  <a:ext uri="{FF2B5EF4-FFF2-40B4-BE49-F238E27FC236}">
                    <a16:creationId xmlns:a16="http://schemas.microsoft.com/office/drawing/2014/main" id="{AC553175-A7A6-4B1D-B286-8F05F7B29F97}"/>
                  </a:ext>
                </a:extLst>
              </p:cNvPr>
              <p:cNvSpPr/>
              <p:nvPr/>
            </p:nvSpPr>
            <p:spPr bwMode="auto">
              <a:xfrm>
                <a:off x="4750841" y="3988490"/>
                <a:ext cx="116395" cy="121686"/>
              </a:xfrm>
              <a:custGeom>
                <a:avLst/>
                <a:gdLst>
                  <a:gd name="T0" fmla="*/ 6 w 21"/>
                  <a:gd name="T1" fmla="*/ 0 h 22"/>
                  <a:gd name="T2" fmla="*/ 0 w 21"/>
                  <a:gd name="T3" fmla="*/ 11 h 22"/>
                  <a:gd name="T4" fmla="*/ 0 w 21"/>
                  <a:gd name="T5" fmla="*/ 13 h 22"/>
                  <a:gd name="T6" fmla="*/ 16 w 21"/>
                  <a:gd name="T7" fmla="*/ 22 h 22"/>
                  <a:gd name="T8" fmla="*/ 21 w 21"/>
                  <a:gd name="T9" fmla="*/ 15 h 22"/>
                  <a:gd name="T10" fmla="*/ 15 w 21"/>
                  <a:gd name="T11" fmla="*/ 11 h 22"/>
                  <a:gd name="T12" fmla="*/ 6 w 21"/>
                  <a:gd name="T13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2">
                    <a:moveTo>
                      <a:pt x="6" y="0"/>
                    </a:moveTo>
                    <a:cubicBezTo>
                      <a:pt x="2" y="3"/>
                      <a:pt x="0" y="7"/>
                      <a:pt x="0" y="11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6" y="22"/>
                      <a:pt x="16" y="22"/>
                      <a:pt x="16" y="22"/>
                    </a:cubicBezTo>
                    <a:cubicBezTo>
                      <a:pt x="17" y="19"/>
                      <a:pt x="19" y="17"/>
                      <a:pt x="21" y="15"/>
                    </a:cubicBezTo>
                    <a:cubicBezTo>
                      <a:pt x="15" y="11"/>
                      <a:pt x="15" y="11"/>
                      <a:pt x="15" y="11"/>
                    </a:cubicBezTo>
                    <a:cubicBezTo>
                      <a:pt x="11" y="9"/>
                      <a:pt x="8" y="5"/>
                      <a:pt x="6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7" name="任意多边形: 形状 346">
                <a:extLst>
                  <a:ext uri="{FF2B5EF4-FFF2-40B4-BE49-F238E27FC236}">
                    <a16:creationId xmlns:a16="http://schemas.microsoft.com/office/drawing/2014/main" id="{20C6C6C8-D4DB-471E-9616-4A54255544CB}"/>
                  </a:ext>
                </a:extLst>
              </p:cNvPr>
              <p:cNvSpPr/>
              <p:nvPr/>
            </p:nvSpPr>
            <p:spPr bwMode="auto">
              <a:xfrm>
                <a:off x="4750841" y="4059914"/>
                <a:ext cx="87297" cy="161367"/>
              </a:xfrm>
              <a:custGeom>
                <a:avLst/>
                <a:gdLst>
                  <a:gd name="T0" fmla="*/ 0 w 16"/>
                  <a:gd name="T1" fmla="*/ 0 h 29"/>
                  <a:gd name="T2" fmla="*/ 0 w 16"/>
                  <a:gd name="T3" fmla="*/ 23 h 29"/>
                  <a:gd name="T4" fmla="*/ 3 w 16"/>
                  <a:gd name="T5" fmla="*/ 28 h 29"/>
                  <a:gd name="T6" fmla="*/ 6 w 16"/>
                  <a:gd name="T7" fmla="*/ 29 h 29"/>
                  <a:gd name="T8" fmla="*/ 8 w 16"/>
                  <a:gd name="T9" fmla="*/ 28 h 29"/>
                  <a:gd name="T10" fmla="*/ 14 w 16"/>
                  <a:gd name="T11" fmla="*/ 25 h 29"/>
                  <a:gd name="T12" fmla="*/ 14 w 16"/>
                  <a:gd name="T13" fmla="*/ 18 h 29"/>
                  <a:gd name="T14" fmla="*/ 16 w 16"/>
                  <a:gd name="T15" fmla="*/ 9 h 29"/>
                  <a:gd name="T16" fmla="*/ 0 w 16"/>
                  <a:gd name="T17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" h="29">
                    <a:moveTo>
                      <a:pt x="0" y="0"/>
                    </a:moveTo>
                    <a:cubicBezTo>
                      <a:pt x="0" y="23"/>
                      <a:pt x="0" y="23"/>
                      <a:pt x="0" y="23"/>
                    </a:cubicBezTo>
                    <a:cubicBezTo>
                      <a:pt x="0" y="26"/>
                      <a:pt x="1" y="27"/>
                      <a:pt x="3" y="28"/>
                    </a:cubicBezTo>
                    <a:cubicBezTo>
                      <a:pt x="4" y="29"/>
                      <a:pt x="5" y="29"/>
                      <a:pt x="6" y="29"/>
                    </a:cubicBezTo>
                    <a:cubicBezTo>
                      <a:pt x="6" y="29"/>
                      <a:pt x="7" y="29"/>
                      <a:pt x="8" y="28"/>
                    </a:cubicBezTo>
                    <a:cubicBezTo>
                      <a:pt x="14" y="25"/>
                      <a:pt x="14" y="25"/>
                      <a:pt x="14" y="25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4" y="15"/>
                      <a:pt x="14" y="12"/>
                      <a:pt x="16" y="9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8" name="任意多边形: 形状 347">
                <a:extLst>
                  <a:ext uri="{FF2B5EF4-FFF2-40B4-BE49-F238E27FC236}">
                    <a16:creationId xmlns:a16="http://schemas.microsoft.com/office/drawing/2014/main" id="{32BC1D59-5233-40E7-8C8A-5ED30212FE74}"/>
                  </a:ext>
                </a:extLst>
              </p:cNvPr>
              <p:cNvSpPr/>
              <p:nvPr/>
            </p:nvSpPr>
            <p:spPr bwMode="auto">
              <a:xfrm>
                <a:off x="4785229" y="3890612"/>
                <a:ext cx="164011" cy="182530"/>
              </a:xfrm>
              <a:custGeom>
                <a:avLst/>
                <a:gdLst>
                  <a:gd name="T0" fmla="*/ 30 w 30"/>
                  <a:gd name="T1" fmla="*/ 0 h 33"/>
                  <a:gd name="T2" fmla="*/ 1 w 30"/>
                  <a:gd name="T3" fmla="*/ 18 h 33"/>
                  <a:gd name="T4" fmla="*/ 0 w 30"/>
                  <a:gd name="T5" fmla="*/ 18 h 33"/>
                  <a:gd name="T6" fmla="*/ 9 w 30"/>
                  <a:gd name="T7" fmla="*/ 29 h 33"/>
                  <a:gd name="T8" fmla="*/ 15 w 30"/>
                  <a:gd name="T9" fmla="*/ 33 h 33"/>
                  <a:gd name="T10" fmla="*/ 19 w 30"/>
                  <a:gd name="T11" fmla="*/ 30 h 33"/>
                  <a:gd name="T12" fmla="*/ 22 w 30"/>
                  <a:gd name="T13" fmla="*/ 28 h 33"/>
                  <a:gd name="T14" fmla="*/ 26 w 30"/>
                  <a:gd name="T15" fmla="*/ 27 h 33"/>
                  <a:gd name="T16" fmla="*/ 30 w 30"/>
                  <a:gd name="T17" fmla="*/ 28 h 33"/>
                  <a:gd name="T18" fmla="*/ 30 w 30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" h="33">
                    <a:moveTo>
                      <a:pt x="30" y="0"/>
                    </a:moveTo>
                    <a:cubicBezTo>
                      <a:pt x="1" y="18"/>
                      <a:pt x="1" y="18"/>
                      <a:pt x="1" y="18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2" y="23"/>
                      <a:pt x="5" y="27"/>
                      <a:pt x="9" y="29"/>
                    </a:cubicBezTo>
                    <a:cubicBezTo>
                      <a:pt x="15" y="33"/>
                      <a:pt x="15" y="33"/>
                      <a:pt x="15" y="33"/>
                    </a:cubicBezTo>
                    <a:cubicBezTo>
                      <a:pt x="16" y="31"/>
                      <a:pt x="18" y="31"/>
                      <a:pt x="19" y="30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23" y="27"/>
                      <a:pt x="25" y="27"/>
                      <a:pt x="26" y="27"/>
                    </a:cubicBezTo>
                    <a:cubicBezTo>
                      <a:pt x="28" y="27"/>
                      <a:pt x="29" y="27"/>
                      <a:pt x="30" y="28"/>
                    </a:cubicBezTo>
                    <a:cubicBezTo>
                      <a:pt x="30" y="0"/>
                      <a:pt x="30" y="0"/>
                      <a:pt x="3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9" name="任意多边形: 形状 348">
                <a:extLst>
                  <a:ext uri="{FF2B5EF4-FFF2-40B4-BE49-F238E27FC236}">
                    <a16:creationId xmlns:a16="http://schemas.microsoft.com/office/drawing/2014/main" id="{40A7C4D1-8541-4C7F-A628-970B841D7F9C}"/>
                  </a:ext>
                </a:extLst>
              </p:cNvPr>
              <p:cNvSpPr/>
              <p:nvPr/>
            </p:nvSpPr>
            <p:spPr bwMode="auto">
              <a:xfrm>
                <a:off x="4949241" y="3880030"/>
                <a:ext cx="44972" cy="230146"/>
              </a:xfrm>
              <a:custGeom>
                <a:avLst/>
                <a:gdLst>
                  <a:gd name="T0" fmla="*/ 6 w 8"/>
                  <a:gd name="T1" fmla="*/ 0 h 42"/>
                  <a:gd name="T2" fmla="*/ 3 w 8"/>
                  <a:gd name="T3" fmla="*/ 1 h 42"/>
                  <a:gd name="T4" fmla="*/ 0 w 8"/>
                  <a:gd name="T5" fmla="*/ 2 h 42"/>
                  <a:gd name="T6" fmla="*/ 0 w 8"/>
                  <a:gd name="T7" fmla="*/ 30 h 42"/>
                  <a:gd name="T8" fmla="*/ 1 w 8"/>
                  <a:gd name="T9" fmla="*/ 30 h 42"/>
                  <a:gd name="T10" fmla="*/ 5 w 8"/>
                  <a:gd name="T11" fmla="*/ 38 h 42"/>
                  <a:gd name="T12" fmla="*/ 5 w 8"/>
                  <a:gd name="T13" fmla="*/ 42 h 42"/>
                  <a:gd name="T14" fmla="*/ 8 w 8"/>
                  <a:gd name="T15" fmla="*/ 40 h 42"/>
                  <a:gd name="T16" fmla="*/ 8 w 8"/>
                  <a:gd name="T17" fmla="*/ 0 h 42"/>
                  <a:gd name="T18" fmla="*/ 6 w 8"/>
                  <a:gd name="T19" fmla="*/ 0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42">
                    <a:moveTo>
                      <a:pt x="6" y="0"/>
                    </a:moveTo>
                    <a:cubicBezTo>
                      <a:pt x="5" y="0"/>
                      <a:pt x="4" y="0"/>
                      <a:pt x="3" y="1"/>
                    </a:cubicBezTo>
                    <a:cubicBezTo>
                      <a:pt x="0" y="2"/>
                      <a:pt x="0" y="2"/>
                      <a:pt x="0" y="2"/>
                    </a:cubicBezTo>
                    <a:cubicBezTo>
                      <a:pt x="0" y="30"/>
                      <a:pt x="0" y="30"/>
                      <a:pt x="0" y="30"/>
                    </a:cubicBezTo>
                    <a:cubicBezTo>
                      <a:pt x="0" y="30"/>
                      <a:pt x="1" y="30"/>
                      <a:pt x="1" y="30"/>
                    </a:cubicBezTo>
                    <a:cubicBezTo>
                      <a:pt x="3" y="32"/>
                      <a:pt x="5" y="35"/>
                      <a:pt x="5" y="38"/>
                    </a:cubicBezTo>
                    <a:cubicBezTo>
                      <a:pt x="5" y="42"/>
                      <a:pt x="5" y="42"/>
                      <a:pt x="5" y="42"/>
                    </a:cubicBezTo>
                    <a:cubicBezTo>
                      <a:pt x="6" y="41"/>
                      <a:pt x="7" y="41"/>
                      <a:pt x="8" y="4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6" y="0"/>
                      <a:pt x="6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0" name="任意多边形: 形状 349">
                <a:extLst>
                  <a:ext uri="{FF2B5EF4-FFF2-40B4-BE49-F238E27FC236}">
                    <a16:creationId xmlns:a16="http://schemas.microsoft.com/office/drawing/2014/main" id="{6FE6E13C-9BED-4AB7-8579-A1E21E60BD61}"/>
                  </a:ext>
                </a:extLst>
              </p:cNvPr>
              <p:cNvSpPr/>
              <p:nvPr/>
            </p:nvSpPr>
            <p:spPr bwMode="auto">
              <a:xfrm>
                <a:off x="4856655" y="4083723"/>
                <a:ext cx="92588" cy="66134"/>
              </a:xfrm>
              <a:custGeom>
                <a:avLst/>
                <a:gdLst>
                  <a:gd name="T0" fmla="*/ 6 w 17"/>
                  <a:gd name="T1" fmla="*/ 0 h 12"/>
                  <a:gd name="T2" fmla="*/ 0 w 17"/>
                  <a:gd name="T3" fmla="*/ 7 h 12"/>
                  <a:gd name="T4" fmla="*/ 10 w 17"/>
                  <a:gd name="T5" fmla="*/ 12 h 12"/>
                  <a:gd name="T6" fmla="*/ 17 w 17"/>
                  <a:gd name="T7" fmla="*/ 8 h 12"/>
                  <a:gd name="T8" fmla="*/ 17 w 17"/>
                  <a:gd name="T9" fmla="*/ 6 h 12"/>
                  <a:gd name="T10" fmla="*/ 6 w 17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2">
                    <a:moveTo>
                      <a:pt x="6" y="0"/>
                    </a:moveTo>
                    <a:cubicBezTo>
                      <a:pt x="3" y="2"/>
                      <a:pt x="1" y="4"/>
                      <a:pt x="0" y="7"/>
                    </a:cubicBezTo>
                    <a:cubicBezTo>
                      <a:pt x="10" y="12"/>
                      <a:pt x="10" y="12"/>
                      <a:pt x="10" y="12"/>
                    </a:cubicBezTo>
                    <a:cubicBezTo>
                      <a:pt x="17" y="8"/>
                      <a:pt x="17" y="8"/>
                      <a:pt x="17" y="8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6" y="0"/>
                      <a:pt x="6" y="0"/>
                      <a:pt x="6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1" name="任意多边形: 形状 350">
                <a:extLst>
                  <a:ext uri="{FF2B5EF4-FFF2-40B4-BE49-F238E27FC236}">
                    <a16:creationId xmlns:a16="http://schemas.microsoft.com/office/drawing/2014/main" id="{186F634A-0D25-4AFA-B523-F1D08DAC4292}"/>
                  </a:ext>
                </a:extLst>
              </p:cNvPr>
              <p:cNvSpPr/>
              <p:nvPr/>
            </p:nvSpPr>
            <p:spPr bwMode="auto">
              <a:xfrm>
                <a:off x="4851364" y="4120758"/>
                <a:ext cx="58198" cy="66134"/>
              </a:xfrm>
              <a:custGeom>
                <a:avLst/>
                <a:gdLst>
                  <a:gd name="T0" fmla="*/ 1 w 11"/>
                  <a:gd name="T1" fmla="*/ 0 h 12"/>
                  <a:gd name="T2" fmla="*/ 0 w 11"/>
                  <a:gd name="T3" fmla="*/ 7 h 12"/>
                  <a:gd name="T4" fmla="*/ 0 w 11"/>
                  <a:gd name="T5" fmla="*/ 12 h 12"/>
                  <a:gd name="T6" fmla="*/ 8 w 11"/>
                  <a:gd name="T7" fmla="*/ 7 h 12"/>
                  <a:gd name="T8" fmla="*/ 11 w 11"/>
                  <a:gd name="T9" fmla="*/ 5 h 12"/>
                  <a:gd name="T10" fmla="*/ 1 w 11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2">
                    <a:moveTo>
                      <a:pt x="1" y="0"/>
                    </a:moveTo>
                    <a:cubicBezTo>
                      <a:pt x="0" y="2"/>
                      <a:pt x="0" y="5"/>
                      <a:pt x="0" y="7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2" name="任意多边形: 形状 351">
                <a:extLst>
                  <a:ext uri="{FF2B5EF4-FFF2-40B4-BE49-F238E27FC236}">
                    <a16:creationId xmlns:a16="http://schemas.microsoft.com/office/drawing/2014/main" id="{4C503502-3D07-4E33-A701-343AAD78BA56}"/>
                  </a:ext>
                </a:extLst>
              </p:cNvPr>
              <p:cNvSpPr/>
              <p:nvPr/>
            </p:nvSpPr>
            <p:spPr bwMode="auto">
              <a:xfrm>
                <a:off x="4888399" y="4059914"/>
                <a:ext cx="60844" cy="55553"/>
              </a:xfrm>
              <a:custGeom>
                <a:avLst/>
                <a:gdLst>
                  <a:gd name="T0" fmla="*/ 7 w 11"/>
                  <a:gd name="T1" fmla="*/ 0 h 10"/>
                  <a:gd name="T2" fmla="*/ 5 w 11"/>
                  <a:gd name="T3" fmla="*/ 0 h 10"/>
                  <a:gd name="T4" fmla="*/ 2 w 11"/>
                  <a:gd name="T5" fmla="*/ 2 h 10"/>
                  <a:gd name="T6" fmla="*/ 0 w 11"/>
                  <a:gd name="T7" fmla="*/ 4 h 10"/>
                  <a:gd name="T8" fmla="*/ 11 w 11"/>
                  <a:gd name="T9" fmla="*/ 10 h 10"/>
                  <a:gd name="T10" fmla="*/ 11 w 11"/>
                  <a:gd name="T11" fmla="*/ 2 h 10"/>
                  <a:gd name="T12" fmla="*/ 10 w 11"/>
                  <a:gd name="T13" fmla="*/ 0 h 10"/>
                  <a:gd name="T14" fmla="*/ 7 w 11"/>
                  <a:gd name="T1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10">
                    <a:moveTo>
                      <a:pt x="7" y="0"/>
                    </a:moveTo>
                    <a:cubicBezTo>
                      <a:pt x="6" y="0"/>
                      <a:pt x="6" y="0"/>
                      <a:pt x="5" y="0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1" y="3"/>
                      <a:pt x="0" y="3"/>
                      <a:pt x="0" y="4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1" y="2"/>
                      <a:pt x="11" y="2"/>
                      <a:pt x="11" y="2"/>
                    </a:cubicBezTo>
                    <a:cubicBezTo>
                      <a:pt x="11" y="1"/>
                      <a:pt x="10" y="1"/>
                      <a:pt x="10" y="0"/>
                    </a:cubicBezTo>
                    <a:cubicBezTo>
                      <a:pt x="9" y="0"/>
                      <a:pt x="8" y="0"/>
                      <a:pt x="7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3" name="任意多边形: 形状 352">
                <a:extLst>
                  <a:ext uri="{FF2B5EF4-FFF2-40B4-BE49-F238E27FC236}">
                    <a16:creationId xmlns:a16="http://schemas.microsoft.com/office/drawing/2014/main" id="{536A5AC8-ED22-4ADB-8182-C54C1701C234}"/>
                  </a:ext>
                </a:extLst>
              </p:cNvPr>
              <p:cNvSpPr/>
              <p:nvPr/>
            </p:nvSpPr>
            <p:spPr bwMode="auto">
              <a:xfrm>
                <a:off x="4949241" y="4073141"/>
                <a:ext cx="5291" cy="52907"/>
              </a:xfrm>
              <a:custGeom>
                <a:avLst/>
                <a:gdLst>
                  <a:gd name="T0" fmla="*/ 0 w 1"/>
                  <a:gd name="T1" fmla="*/ 0 h 10"/>
                  <a:gd name="T2" fmla="*/ 0 w 1"/>
                  <a:gd name="T3" fmla="*/ 8 h 10"/>
                  <a:gd name="T4" fmla="*/ 0 w 1"/>
                  <a:gd name="T5" fmla="*/ 10 h 10"/>
                  <a:gd name="T6" fmla="*/ 1 w 1"/>
                  <a:gd name="T7" fmla="*/ 9 h 10"/>
                  <a:gd name="T8" fmla="*/ 1 w 1"/>
                  <a:gd name="T9" fmla="*/ 3 h 10"/>
                  <a:gd name="T10" fmla="*/ 0 w 1"/>
                  <a:gd name="T11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" h="10">
                    <a:moveTo>
                      <a:pt x="0" y="0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1" y="2"/>
                      <a:pt x="1" y="1"/>
                      <a:pt x="0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4" name="任意多边形: 形状 353">
                <a:extLst>
                  <a:ext uri="{FF2B5EF4-FFF2-40B4-BE49-F238E27FC236}">
                    <a16:creationId xmlns:a16="http://schemas.microsoft.com/office/drawing/2014/main" id="{689F916C-66B9-4D6C-81EE-9E4B9852AF6D}"/>
                  </a:ext>
                </a:extLst>
              </p:cNvPr>
              <p:cNvSpPr/>
              <p:nvPr/>
            </p:nvSpPr>
            <p:spPr bwMode="auto">
              <a:xfrm>
                <a:off x="4838136" y="4073141"/>
                <a:ext cx="50262" cy="47616"/>
              </a:xfrm>
              <a:custGeom>
                <a:avLst/>
                <a:gdLst>
                  <a:gd name="T0" fmla="*/ 5 w 9"/>
                  <a:gd name="T1" fmla="*/ 0 h 9"/>
                  <a:gd name="T2" fmla="*/ 0 w 9"/>
                  <a:gd name="T3" fmla="*/ 7 h 9"/>
                  <a:gd name="T4" fmla="*/ 3 w 9"/>
                  <a:gd name="T5" fmla="*/ 9 h 9"/>
                  <a:gd name="T6" fmla="*/ 9 w 9"/>
                  <a:gd name="T7" fmla="*/ 2 h 9"/>
                  <a:gd name="T8" fmla="*/ 5 w 9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9">
                    <a:moveTo>
                      <a:pt x="5" y="0"/>
                    </a:moveTo>
                    <a:cubicBezTo>
                      <a:pt x="3" y="2"/>
                      <a:pt x="1" y="4"/>
                      <a:pt x="0" y="7"/>
                    </a:cubicBezTo>
                    <a:cubicBezTo>
                      <a:pt x="3" y="9"/>
                      <a:pt x="3" y="9"/>
                      <a:pt x="3" y="9"/>
                    </a:cubicBezTo>
                    <a:cubicBezTo>
                      <a:pt x="4" y="6"/>
                      <a:pt x="6" y="4"/>
                      <a:pt x="9" y="2"/>
                    </a:cubicBezTo>
                    <a:cubicBezTo>
                      <a:pt x="5" y="0"/>
                      <a:pt x="5" y="0"/>
                      <a:pt x="5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5" name="任意多边形: 形状 354">
                <a:extLst>
                  <a:ext uri="{FF2B5EF4-FFF2-40B4-BE49-F238E27FC236}">
                    <a16:creationId xmlns:a16="http://schemas.microsoft.com/office/drawing/2014/main" id="{89C52CE4-BF57-47F4-9298-AA5C78532D40}"/>
                  </a:ext>
                </a:extLst>
              </p:cNvPr>
              <p:cNvSpPr/>
              <p:nvPr/>
            </p:nvSpPr>
            <p:spPr bwMode="auto">
              <a:xfrm>
                <a:off x="4750841" y="4110176"/>
                <a:ext cx="105814" cy="341251"/>
              </a:xfrm>
              <a:custGeom>
                <a:avLst/>
                <a:gdLst>
                  <a:gd name="T0" fmla="*/ 16 w 19"/>
                  <a:gd name="T1" fmla="*/ 0 h 62"/>
                  <a:gd name="T2" fmla="*/ 14 w 19"/>
                  <a:gd name="T3" fmla="*/ 9 h 62"/>
                  <a:gd name="T4" fmla="*/ 14 w 19"/>
                  <a:gd name="T5" fmla="*/ 16 h 62"/>
                  <a:gd name="T6" fmla="*/ 14 w 19"/>
                  <a:gd name="T7" fmla="*/ 24 h 62"/>
                  <a:gd name="T8" fmla="*/ 14 w 19"/>
                  <a:gd name="T9" fmla="*/ 41 h 62"/>
                  <a:gd name="T10" fmla="*/ 14 w 19"/>
                  <a:gd name="T11" fmla="*/ 49 h 62"/>
                  <a:gd name="T12" fmla="*/ 14 w 19"/>
                  <a:gd name="T13" fmla="*/ 52 h 62"/>
                  <a:gd name="T14" fmla="*/ 14 w 19"/>
                  <a:gd name="T15" fmla="*/ 53 h 62"/>
                  <a:gd name="T16" fmla="*/ 11 w 19"/>
                  <a:gd name="T17" fmla="*/ 57 h 62"/>
                  <a:gd name="T18" fmla="*/ 9 w 19"/>
                  <a:gd name="T19" fmla="*/ 58 h 62"/>
                  <a:gd name="T20" fmla="*/ 6 w 19"/>
                  <a:gd name="T21" fmla="*/ 57 h 62"/>
                  <a:gd name="T22" fmla="*/ 5 w 19"/>
                  <a:gd name="T23" fmla="*/ 57 h 62"/>
                  <a:gd name="T24" fmla="*/ 5 w 19"/>
                  <a:gd name="T25" fmla="*/ 57 h 62"/>
                  <a:gd name="T26" fmla="*/ 5 w 19"/>
                  <a:gd name="T27" fmla="*/ 57 h 62"/>
                  <a:gd name="T28" fmla="*/ 0 w 19"/>
                  <a:gd name="T29" fmla="*/ 58 h 62"/>
                  <a:gd name="T30" fmla="*/ 0 w 19"/>
                  <a:gd name="T31" fmla="*/ 58 h 62"/>
                  <a:gd name="T32" fmla="*/ 4 w 19"/>
                  <a:gd name="T33" fmla="*/ 61 h 62"/>
                  <a:gd name="T34" fmla="*/ 9 w 19"/>
                  <a:gd name="T35" fmla="*/ 62 h 62"/>
                  <a:gd name="T36" fmla="*/ 13 w 19"/>
                  <a:gd name="T37" fmla="*/ 61 h 62"/>
                  <a:gd name="T38" fmla="*/ 18 w 19"/>
                  <a:gd name="T39" fmla="*/ 53 h 62"/>
                  <a:gd name="T40" fmla="*/ 18 w 19"/>
                  <a:gd name="T41" fmla="*/ 50 h 62"/>
                  <a:gd name="T42" fmla="*/ 18 w 19"/>
                  <a:gd name="T43" fmla="*/ 47 h 62"/>
                  <a:gd name="T44" fmla="*/ 18 w 19"/>
                  <a:gd name="T45" fmla="*/ 39 h 62"/>
                  <a:gd name="T46" fmla="*/ 18 w 19"/>
                  <a:gd name="T47" fmla="*/ 23 h 62"/>
                  <a:gd name="T48" fmla="*/ 18 w 19"/>
                  <a:gd name="T49" fmla="*/ 14 h 62"/>
                  <a:gd name="T50" fmla="*/ 18 w 19"/>
                  <a:gd name="T51" fmla="*/ 9 h 62"/>
                  <a:gd name="T52" fmla="*/ 19 w 19"/>
                  <a:gd name="T53" fmla="*/ 2 h 62"/>
                  <a:gd name="T54" fmla="*/ 16 w 19"/>
                  <a:gd name="T55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9" h="62">
                    <a:moveTo>
                      <a:pt x="16" y="0"/>
                    </a:moveTo>
                    <a:cubicBezTo>
                      <a:pt x="14" y="3"/>
                      <a:pt x="14" y="6"/>
                      <a:pt x="14" y="9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24"/>
                      <a:pt x="14" y="24"/>
                      <a:pt x="14" y="24"/>
                    </a:cubicBezTo>
                    <a:cubicBezTo>
                      <a:pt x="14" y="41"/>
                      <a:pt x="14" y="41"/>
                      <a:pt x="14" y="41"/>
                    </a:cubicBezTo>
                    <a:cubicBezTo>
                      <a:pt x="14" y="49"/>
                      <a:pt x="14" y="49"/>
                      <a:pt x="14" y="49"/>
                    </a:cubicBezTo>
                    <a:cubicBezTo>
                      <a:pt x="14" y="52"/>
                      <a:pt x="14" y="52"/>
                      <a:pt x="14" y="52"/>
                    </a:cubicBezTo>
                    <a:cubicBezTo>
                      <a:pt x="14" y="53"/>
                      <a:pt x="14" y="53"/>
                      <a:pt x="14" y="53"/>
                    </a:cubicBezTo>
                    <a:cubicBezTo>
                      <a:pt x="14" y="55"/>
                      <a:pt x="13" y="56"/>
                      <a:pt x="11" y="57"/>
                    </a:cubicBezTo>
                    <a:cubicBezTo>
                      <a:pt x="10" y="58"/>
                      <a:pt x="9" y="58"/>
                      <a:pt x="9" y="58"/>
                    </a:cubicBezTo>
                    <a:cubicBezTo>
                      <a:pt x="8" y="58"/>
                      <a:pt x="7" y="58"/>
                      <a:pt x="6" y="57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5" y="57"/>
                      <a:pt x="5" y="57"/>
                      <a:pt x="5" y="57"/>
                    </a:cubicBezTo>
                    <a:cubicBezTo>
                      <a:pt x="4" y="58"/>
                      <a:pt x="2" y="58"/>
                      <a:pt x="0" y="58"/>
                    </a:cubicBezTo>
                    <a:cubicBezTo>
                      <a:pt x="0" y="58"/>
                      <a:pt x="0" y="58"/>
                      <a:pt x="0" y="58"/>
                    </a:cubicBezTo>
                    <a:cubicBezTo>
                      <a:pt x="4" y="61"/>
                      <a:pt x="4" y="61"/>
                      <a:pt x="4" y="61"/>
                    </a:cubicBezTo>
                    <a:cubicBezTo>
                      <a:pt x="5" y="61"/>
                      <a:pt x="7" y="62"/>
                      <a:pt x="9" y="62"/>
                    </a:cubicBezTo>
                    <a:cubicBezTo>
                      <a:pt x="10" y="62"/>
                      <a:pt x="12" y="61"/>
                      <a:pt x="13" y="61"/>
                    </a:cubicBezTo>
                    <a:cubicBezTo>
                      <a:pt x="16" y="59"/>
                      <a:pt x="18" y="56"/>
                      <a:pt x="18" y="53"/>
                    </a:cubicBezTo>
                    <a:cubicBezTo>
                      <a:pt x="18" y="50"/>
                      <a:pt x="18" y="50"/>
                      <a:pt x="18" y="50"/>
                    </a:cubicBezTo>
                    <a:cubicBezTo>
                      <a:pt x="18" y="47"/>
                      <a:pt x="18" y="47"/>
                      <a:pt x="18" y="47"/>
                    </a:cubicBezTo>
                    <a:cubicBezTo>
                      <a:pt x="18" y="39"/>
                      <a:pt x="18" y="39"/>
                      <a:pt x="18" y="39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18" y="14"/>
                      <a:pt x="18" y="14"/>
                      <a:pt x="18" y="14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7"/>
                      <a:pt x="18" y="4"/>
                      <a:pt x="19" y="2"/>
                    </a:cubicBezTo>
                    <a:cubicBezTo>
                      <a:pt x="16" y="0"/>
                      <a:pt x="16" y="0"/>
                      <a:pt x="16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6" name="任意多边形: 形状 355">
                <a:extLst>
                  <a:ext uri="{FF2B5EF4-FFF2-40B4-BE49-F238E27FC236}">
                    <a16:creationId xmlns:a16="http://schemas.microsoft.com/office/drawing/2014/main" id="{3488DE7B-146D-44F7-BB96-6864893258CF}"/>
                  </a:ext>
                </a:extLst>
              </p:cNvPr>
              <p:cNvSpPr/>
              <p:nvPr/>
            </p:nvSpPr>
            <p:spPr bwMode="auto">
              <a:xfrm>
                <a:off x="4867236" y="4038751"/>
                <a:ext cx="82007" cy="44972"/>
              </a:xfrm>
              <a:custGeom>
                <a:avLst/>
                <a:gdLst>
                  <a:gd name="T0" fmla="*/ 11 w 15"/>
                  <a:gd name="T1" fmla="*/ 0 h 8"/>
                  <a:gd name="T2" fmla="*/ 7 w 15"/>
                  <a:gd name="T3" fmla="*/ 1 h 8"/>
                  <a:gd name="T4" fmla="*/ 4 w 15"/>
                  <a:gd name="T5" fmla="*/ 3 h 8"/>
                  <a:gd name="T6" fmla="*/ 0 w 15"/>
                  <a:gd name="T7" fmla="*/ 6 h 8"/>
                  <a:gd name="T8" fmla="*/ 4 w 15"/>
                  <a:gd name="T9" fmla="*/ 8 h 8"/>
                  <a:gd name="T10" fmla="*/ 6 w 15"/>
                  <a:gd name="T11" fmla="*/ 6 h 8"/>
                  <a:gd name="T12" fmla="*/ 9 w 15"/>
                  <a:gd name="T13" fmla="*/ 4 h 8"/>
                  <a:gd name="T14" fmla="*/ 11 w 15"/>
                  <a:gd name="T15" fmla="*/ 4 h 8"/>
                  <a:gd name="T16" fmla="*/ 14 w 15"/>
                  <a:gd name="T17" fmla="*/ 4 h 8"/>
                  <a:gd name="T18" fmla="*/ 15 w 15"/>
                  <a:gd name="T19" fmla="*/ 6 h 8"/>
                  <a:gd name="T20" fmla="*/ 15 w 15"/>
                  <a:gd name="T21" fmla="*/ 1 h 8"/>
                  <a:gd name="T22" fmla="*/ 11 w 15"/>
                  <a:gd name="T2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5" h="8">
                    <a:moveTo>
                      <a:pt x="11" y="0"/>
                    </a:moveTo>
                    <a:cubicBezTo>
                      <a:pt x="10" y="0"/>
                      <a:pt x="8" y="0"/>
                      <a:pt x="7" y="1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4"/>
                      <a:pt x="1" y="4"/>
                      <a:pt x="0" y="6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7"/>
                      <a:pt x="6" y="6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0" y="4"/>
                      <a:pt x="11" y="4"/>
                    </a:cubicBezTo>
                    <a:cubicBezTo>
                      <a:pt x="12" y="4"/>
                      <a:pt x="13" y="4"/>
                      <a:pt x="14" y="4"/>
                    </a:cubicBezTo>
                    <a:cubicBezTo>
                      <a:pt x="14" y="5"/>
                      <a:pt x="15" y="5"/>
                      <a:pt x="15" y="6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0"/>
                      <a:pt x="13" y="0"/>
                      <a:pt x="11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7" name="任意多边形: 形状 356">
                <a:extLst>
                  <a:ext uri="{FF2B5EF4-FFF2-40B4-BE49-F238E27FC236}">
                    <a16:creationId xmlns:a16="http://schemas.microsoft.com/office/drawing/2014/main" id="{D4589CB2-7092-4EF1-8945-647C1349A0DB}"/>
                  </a:ext>
                </a:extLst>
              </p:cNvPr>
              <p:cNvSpPr/>
              <p:nvPr/>
            </p:nvSpPr>
            <p:spPr bwMode="auto">
              <a:xfrm>
                <a:off x="4888399" y="4247734"/>
                <a:ext cx="87297" cy="126977"/>
              </a:xfrm>
              <a:custGeom>
                <a:avLst/>
                <a:gdLst>
                  <a:gd name="T0" fmla="*/ 12 w 16"/>
                  <a:gd name="T1" fmla="*/ 0 h 23"/>
                  <a:gd name="T2" fmla="*/ 12 w 16"/>
                  <a:gd name="T3" fmla="*/ 14 h 23"/>
                  <a:gd name="T4" fmla="*/ 10 w 16"/>
                  <a:gd name="T5" fmla="*/ 19 h 23"/>
                  <a:gd name="T6" fmla="*/ 7 w 16"/>
                  <a:gd name="T7" fmla="*/ 19 h 23"/>
                  <a:gd name="T8" fmla="*/ 7 w 16"/>
                  <a:gd name="T9" fmla="*/ 19 h 23"/>
                  <a:gd name="T10" fmla="*/ 4 w 16"/>
                  <a:gd name="T11" fmla="*/ 19 h 23"/>
                  <a:gd name="T12" fmla="*/ 4 w 16"/>
                  <a:gd name="T13" fmla="*/ 18 h 23"/>
                  <a:gd name="T14" fmla="*/ 4 w 16"/>
                  <a:gd name="T15" fmla="*/ 18 h 23"/>
                  <a:gd name="T16" fmla="*/ 0 w 16"/>
                  <a:gd name="T17" fmla="*/ 21 h 23"/>
                  <a:gd name="T18" fmla="*/ 0 w 16"/>
                  <a:gd name="T19" fmla="*/ 21 h 23"/>
                  <a:gd name="T20" fmla="*/ 2 w 16"/>
                  <a:gd name="T21" fmla="*/ 22 h 23"/>
                  <a:gd name="T22" fmla="*/ 3 w 16"/>
                  <a:gd name="T23" fmla="*/ 22 h 23"/>
                  <a:gd name="T24" fmla="*/ 7 w 16"/>
                  <a:gd name="T25" fmla="*/ 23 h 23"/>
                  <a:gd name="T26" fmla="*/ 7 w 16"/>
                  <a:gd name="T27" fmla="*/ 23 h 23"/>
                  <a:gd name="T28" fmla="*/ 12 w 16"/>
                  <a:gd name="T29" fmla="*/ 22 h 23"/>
                  <a:gd name="T30" fmla="*/ 16 w 16"/>
                  <a:gd name="T31" fmla="*/ 14 h 23"/>
                  <a:gd name="T32" fmla="*/ 16 w 16"/>
                  <a:gd name="T33" fmla="*/ 1 h 23"/>
                  <a:gd name="T34" fmla="*/ 15 w 16"/>
                  <a:gd name="T35" fmla="*/ 1 h 23"/>
                  <a:gd name="T36" fmla="*/ 15 w 16"/>
                  <a:gd name="T37" fmla="*/ 1 h 23"/>
                  <a:gd name="T38" fmla="*/ 12 w 16"/>
                  <a:gd name="T3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23">
                    <a:moveTo>
                      <a:pt x="12" y="0"/>
                    </a:moveTo>
                    <a:cubicBezTo>
                      <a:pt x="12" y="14"/>
                      <a:pt x="12" y="14"/>
                      <a:pt x="12" y="14"/>
                    </a:cubicBezTo>
                    <a:cubicBezTo>
                      <a:pt x="12" y="16"/>
                      <a:pt x="11" y="18"/>
                      <a:pt x="10" y="19"/>
                    </a:cubicBezTo>
                    <a:cubicBezTo>
                      <a:pt x="9" y="19"/>
                      <a:pt x="8" y="19"/>
                      <a:pt x="7" y="19"/>
                    </a:cubicBezTo>
                    <a:cubicBezTo>
                      <a:pt x="7" y="19"/>
                      <a:pt x="7" y="19"/>
                      <a:pt x="7" y="19"/>
                    </a:cubicBezTo>
                    <a:cubicBezTo>
                      <a:pt x="6" y="19"/>
                      <a:pt x="5" y="19"/>
                      <a:pt x="4" y="19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0" y="21"/>
                      <a:pt x="0" y="21"/>
                      <a:pt x="0" y="21"/>
                    </a:cubicBezTo>
                    <a:cubicBezTo>
                      <a:pt x="2" y="22"/>
                      <a:pt x="2" y="22"/>
                      <a:pt x="2" y="2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4" y="23"/>
                      <a:pt x="5" y="23"/>
                      <a:pt x="7" y="23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9" y="23"/>
                      <a:pt x="10" y="23"/>
                      <a:pt x="12" y="22"/>
                    </a:cubicBezTo>
                    <a:cubicBezTo>
                      <a:pt x="14" y="21"/>
                      <a:pt x="16" y="18"/>
                      <a:pt x="16" y="14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3" y="0"/>
                      <a:pt x="12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8" name="任意多边形: 形状 357">
                <a:extLst>
                  <a:ext uri="{FF2B5EF4-FFF2-40B4-BE49-F238E27FC236}">
                    <a16:creationId xmlns:a16="http://schemas.microsoft.com/office/drawing/2014/main" id="{56168506-7D88-4F73-90BD-0D3F52DBB02D}"/>
                  </a:ext>
                </a:extLst>
              </p:cNvPr>
              <p:cNvSpPr/>
              <p:nvPr/>
            </p:nvSpPr>
            <p:spPr bwMode="auto">
              <a:xfrm>
                <a:off x="4954532" y="4237153"/>
                <a:ext cx="21163" cy="15872"/>
              </a:xfrm>
              <a:custGeom>
                <a:avLst/>
                <a:gdLst>
                  <a:gd name="T0" fmla="*/ 0 w 4"/>
                  <a:gd name="T1" fmla="*/ 0 h 3"/>
                  <a:gd name="T2" fmla="*/ 0 w 4"/>
                  <a:gd name="T3" fmla="*/ 2 h 3"/>
                  <a:gd name="T4" fmla="*/ 3 w 4"/>
                  <a:gd name="T5" fmla="*/ 3 h 3"/>
                  <a:gd name="T6" fmla="*/ 3 w 4"/>
                  <a:gd name="T7" fmla="*/ 3 h 3"/>
                  <a:gd name="T8" fmla="*/ 4 w 4"/>
                  <a:gd name="T9" fmla="*/ 3 h 3"/>
                  <a:gd name="T10" fmla="*/ 4 w 4"/>
                  <a:gd name="T11" fmla="*/ 0 h 3"/>
                  <a:gd name="T12" fmla="*/ 3 w 4"/>
                  <a:gd name="T13" fmla="*/ 0 h 3"/>
                  <a:gd name="T14" fmla="*/ 3 w 4"/>
                  <a:gd name="T15" fmla="*/ 0 h 3"/>
                  <a:gd name="T16" fmla="*/ 0 w 4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3">
                    <a:moveTo>
                      <a:pt x="0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2"/>
                      <a:pt x="2" y="3"/>
                      <a:pt x="3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3" y="3"/>
                      <a:pt x="4" y="3"/>
                      <a:pt x="4" y="3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9" name="任意多边形: 形状 358">
                <a:extLst>
                  <a:ext uri="{FF2B5EF4-FFF2-40B4-BE49-F238E27FC236}">
                    <a16:creationId xmlns:a16="http://schemas.microsoft.com/office/drawing/2014/main" id="{7BD7EF5C-3700-4264-98DA-B34FBDD5EEA0}"/>
                  </a:ext>
                </a:extLst>
              </p:cNvPr>
              <p:cNvSpPr/>
              <p:nvPr/>
            </p:nvSpPr>
            <p:spPr bwMode="auto">
              <a:xfrm>
                <a:off x="4954532" y="4231862"/>
                <a:ext cx="21163" cy="5291"/>
              </a:xfrm>
              <a:custGeom>
                <a:avLst/>
                <a:gdLst>
                  <a:gd name="T0" fmla="*/ 0 w 4"/>
                  <a:gd name="T1" fmla="*/ 0 h 1"/>
                  <a:gd name="T2" fmla="*/ 0 w 4"/>
                  <a:gd name="T3" fmla="*/ 1 h 1"/>
                  <a:gd name="T4" fmla="*/ 3 w 4"/>
                  <a:gd name="T5" fmla="*/ 1 h 1"/>
                  <a:gd name="T6" fmla="*/ 3 w 4"/>
                  <a:gd name="T7" fmla="*/ 1 h 1"/>
                  <a:gd name="T8" fmla="*/ 4 w 4"/>
                  <a:gd name="T9" fmla="*/ 1 h 1"/>
                  <a:gd name="T10" fmla="*/ 4 w 4"/>
                  <a:gd name="T11" fmla="*/ 0 h 1"/>
                  <a:gd name="T12" fmla="*/ 3 w 4"/>
                  <a:gd name="T13" fmla="*/ 0 h 1"/>
                  <a:gd name="T14" fmla="*/ 3 w 4"/>
                  <a:gd name="T15" fmla="*/ 0 h 1"/>
                  <a:gd name="T16" fmla="*/ 0 w 4"/>
                  <a:gd name="T1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2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4" y="1"/>
                      <a:pt x="4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4" y="0"/>
                      <a:pt x="3" y="0"/>
                      <a:pt x="3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2" y="0"/>
                      <a:pt x="1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0" name="任意多边形: 形状 359">
                <a:extLst>
                  <a:ext uri="{FF2B5EF4-FFF2-40B4-BE49-F238E27FC236}">
                    <a16:creationId xmlns:a16="http://schemas.microsoft.com/office/drawing/2014/main" id="{A4CD6412-094D-414D-BBA0-C830526D9FF4}"/>
                  </a:ext>
                </a:extLst>
              </p:cNvPr>
              <p:cNvSpPr/>
              <p:nvPr/>
            </p:nvSpPr>
            <p:spPr bwMode="auto">
              <a:xfrm>
                <a:off x="4949241" y="4044042"/>
                <a:ext cx="26453" cy="187820"/>
              </a:xfrm>
              <a:custGeom>
                <a:avLst/>
                <a:gdLst>
                  <a:gd name="T0" fmla="*/ 0 w 5"/>
                  <a:gd name="T1" fmla="*/ 0 h 34"/>
                  <a:gd name="T2" fmla="*/ 0 w 5"/>
                  <a:gd name="T3" fmla="*/ 5 h 34"/>
                  <a:gd name="T4" fmla="*/ 1 w 5"/>
                  <a:gd name="T5" fmla="*/ 8 h 34"/>
                  <a:gd name="T6" fmla="*/ 1 w 5"/>
                  <a:gd name="T7" fmla="*/ 14 h 34"/>
                  <a:gd name="T8" fmla="*/ 1 w 5"/>
                  <a:gd name="T9" fmla="*/ 34 h 34"/>
                  <a:gd name="T10" fmla="*/ 4 w 5"/>
                  <a:gd name="T11" fmla="*/ 34 h 34"/>
                  <a:gd name="T12" fmla="*/ 4 w 5"/>
                  <a:gd name="T13" fmla="*/ 34 h 34"/>
                  <a:gd name="T14" fmla="*/ 5 w 5"/>
                  <a:gd name="T15" fmla="*/ 34 h 34"/>
                  <a:gd name="T16" fmla="*/ 5 w 5"/>
                  <a:gd name="T17" fmla="*/ 12 h 34"/>
                  <a:gd name="T18" fmla="*/ 5 w 5"/>
                  <a:gd name="T19" fmla="*/ 8 h 34"/>
                  <a:gd name="T20" fmla="*/ 1 w 5"/>
                  <a:gd name="T21" fmla="*/ 0 h 34"/>
                  <a:gd name="T22" fmla="*/ 0 w 5"/>
                  <a:gd name="T23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" h="34">
                    <a:moveTo>
                      <a:pt x="0" y="0"/>
                    </a:moveTo>
                    <a:cubicBezTo>
                      <a:pt x="0" y="5"/>
                      <a:pt x="0" y="5"/>
                      <a:pt x="0" y="5"/>
                    </a:cubicBezTo>
                    <a:cubicBezTo>
                      <a:pt x="1" y="6"/>
                      <a:pt x="1" y="7"/>
                      <a:pt x="1" y="8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1" y="34"/>
                      <a:pt x="1" y="34"/>
                      <a:pt x="1" y="34"/>
                    </a:cubicBezTo>
                    <a:cubicBezTo>
                      <a:pt x="2" y="34"/>
                      <a:pt x="3" y="34"/>
                      <a:pt x="4" y="34"/>
                    </a:cubicBezTo>
                    <a:cubicBezTo>
                      <a:pt x="4" y="34"/>
                      <a:pt x="4" y="34"/>
                      <a:pt x="4" y="34"/>
                    </a:cubicBezTo>
                    <a:cubicBezTo>
                      <a:pt x="4" y="34"/>
                      <a:pt x="5" y="34"/>
                      <a:pt x="5" y="34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5"/>
                      <a:pt x="3" y="2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</a:path>
                </a:pathLst>
              </a:custGeom>
              <a:solidFill>
                <a:srgbClr val="ABCD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1" name="任意多边形: 形状 360">
                <a:extLst>
                  <a:ext uri="{FF2B5EF4-FFF2-40B4-BE49-F238E27FC236}">
                    <a16:creationId xmlns:a16="http://schemas.microsoft.com/office/drawing/2014/main" id="{2A2335C2-1592-49CF-B0B6-40216CE94051}"/>
                  </a:ext>
                </a:extLst>
              </p:cNvPr>
              <p:cNvSpPr/>
              <p:nvPr/>
            </p:nvSpPr>
            <p:spPr bwMode="auto">
              <a:xfrm>
                <a:off x="4515404" y="4054623"/>
                <a:ext cx="97879" cy="66134"/>
              </a:xfrm>
              <a:custGeom>
                <a:avLst/>
                <a:gdLst>
                  <a:gd name="T0" fmla="*/ 11 w 18"/>
                  <a:gd name="T1" fmla="*/ 0 h 12"/>
                  <a:gd name="T2" fmla="*/ 10 w 18"/>
                  <a:gd name="T3" fmla="*/ 0 h 12"/>
                  <a:gd name="T4" fmla="*/ 2 w 18"/>
                  <a:gd name="T5" fmla="*/ 5 h 12"/>
                  <a:gd name="T6" fmla="*/ 0 w 18"/>
                  <a:gd name="T7" fmla="*/ 12 h 12"/>
                  <a:gd name="T8" fmla="*/ 0 w 18"/>
                  <a:gd name="T9" fmla="*/ 12 h 12"/>
                  <a:gd name="T10" fmla="*/ 18 w 18"/>
                  <a:gd name="T11" fmla="*/ 2 h 12"/>
                  <a:gd name="T12" fmla="*/ 16 w 18"/>
                  <a:gd name="T13" fmla="*/ 1 h 12"/>
                  <a:gd name="T14" fmla="*/ 11 w 18"/>
                  <a:gd name="T1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" h="12">
                    <a:moveTo>
                      <a:pt x="11" y="0"/>
                    </a:moveTo>
                    <a:cubicBezTo>
                      <a:pt x="11" y="0"/>
                      <a:pt x="10" y="0"/>
                      <a:pt x="10" y="0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7"/>
                      <a:pt x="0" y="9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1"/>
                      <a:pt x="16" y="1"/>
                      <a:pt x="16" y="1"/>
                    </a:cubicBezTo>
                    <a:cubicBezTo>
                      <a:pt x="14" y="0"/>
                      <a:pt x="13" y="0"/>
                      <a:pt x="11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2" name="任意多边形: 形状 361">
                <a:extLst>
                  <a:ext uri="{FF2B5EF4-FFF2-40B4-BE49-F238E27FC236}">
                    <a16:creationId xmlns:a16="http://schemas.microsoft.com/office/drawing/2014/main" id="{5C011122-D3FE-4D8F-8949-6E453F15CCAE}"/>
                  </a:ext>
                </a:extLst>
              </p:cNvPr>
              <p:cNvSpPr/>
              <p:nvPr/>
            </p:nvSpPr>
            <p:spPr bwMode="auto">
              <a:xfrm>
                <a:off x="4525985" y="4054623"/>
                <a:ext cx="44972" cy="29100"/>
              </a:xfrm>
              <a:custGeom>
                <a:avLst/>
                <a:gdLst>
                  <a:gd name="T0" fmla="*/ 8 w 8"/>
                  <a:gd name="T1" fmla="*/ 0 h 5"/>
                  <a:gd name="T2" fmla="*/ 0 w 8"/>
                  <a:gd name="T3" fmla="*/ 5 h 5"/>
                  <a:gd name="T4" fmla="*/ 8 w 8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8" y="0"/>
                    </a:moveTo>
                    <a:cubicBezTo>
                      <a:pt x="4" y="1"/>
                      <a:pt x="2" y="2"/>
                      <a:pt x="0" y="5"/>
                    </a:cubicBezTo>
                    <a:cubicBezTo>
                      <a:pt x="8" y="0"/>
                      <a:pt x="8" y="0"/>
                      <a:pt x="8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3" name="任意多边形: 形状 362">
                <a:extLst>
                  <a:ext uri="{FF2B5EF4-FFF2-40B4-BE49-F238E27FC236}">
                    <a16:creationId xmlns:a16="http://schemas.microsoft.com/office/drawing/2014/main" id="{BB6E73A7-A133-41DD-BCC0-10A3E887AEE0}"/>
                  </a:ext>
                </a:extLst>
              </p:cNvPr>
              <p:cNvSpPr/>
              <p:nvPr/>
            </p:nvSpPr>
            <p:spPr bwMode="auto">
              <a:xfrm>
                <a:off x="4399009" y="4110176"/>
                <a:ext cx="116395" cy="76716"/>
              </a:xfrm>
              <a:custGeom>
                <a:avLst/>
                <a:gdLst>
                  <a:gd name="T0" fmla="*/ 15 w 21"/>
                  <a:gd name="T1" fmla="*/ 0 h 14"/>
                  <a:gd name="T2" fmla="*/ 13 w 21"/>
                  <a:gd name="T3" fmla="*/ 0 h 14"/>
                  <a:gd name="T4" fmla="*/ 1 w 21"/>
                  <a:gd name="T5" fmla="*/ 7 h 14"/>
                  <a:gd name="T6" fmla="*/ 0 w 21"/>
                  <a:gd name="T7" fmla="*/ 12 h 14"/>
                  <a:gd name="T8" fmla="*/ 0 w 21"/>
                  <a:gd name="T9" fmla="*/ 14 h 14"/>
                  <a:gd name="T10" fmla="*/ 21 w 21"/>
                  <a:gd name="T11" fmla="*/ 2 h 14"/>
                  <a:gd name="T12" fmla="*/ 21 w 21"/>
                  <a:gd name="T13" fmla="*/ 2 h 14"/>
                  <a:gd name="T14" fmla="*/ 19 w 21"/>
                  <a:gd name="T15" fmla="*/ 1 h 14"/>
                  <a:gd name="T16" fmla="*/ 15 w 21"/>
                  <a:gd name="T1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" h="14">
                    <a:moveTo>
                      <a:pt x="15" y="0"/>
                    </a:moveTo>
                    <a:cubicBezTo>
                      <a:pt x="14" y="0"/>
                      <a:pt x="14" y="0"/>
                      <a:pt x="13" y="0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9"/>
                      <a:pt x="0" y="10"/>
                      <a:pt x="0" y="12"/>
                    </a:cubicBezTo>
                    <a:cubicBezTo>
                      <a:pt x="0" y="13"/>
                      <a:pt x="0" y="13"/>
                      <a:pt x="0" y="14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1" y="2"/>
                      <a:pt x="21" y="2"/>
                      <a:pt x="21" y="2"/>
                    </a:cubicBezTo>
                    <a:cubicBezTo>
                      <a:pt x="20" y="1"/>
                      <a:pt x="20" y="1"/>
                      <a:pt x="19" y="1"/>
                    </a:cubicBezTo>
                    <a:cubicBezTo>
                      <a:pt x="18" y="1"/>
                      <a:pt x="16" y="0"/>
                      <a:pt x="15" y="0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4" name="任意多边形: 形状 363">
                <a:extLst>
                  <a:ext uri="{FF2B5EF4-FFF2-40B4-BE49-F238E27FC236}">
                    <a16:creationId xmlns:a16="http://schemas.microsoft.com/office/drawing/2014/main" id="{35B45AAD-FEC6-4253-B99A-CB32AD578251}"/>
                  </a:ext>
                </a:extLst>
              </p:cNvPr>
              <p:cNvSpPr/>
              <p:nvPr/>
            </p:nvSpPr>
            <p:spPr bwMode="auto">
              <a:xfrm>
                <a:off x="4404299" y="4110176"/>
                <a:ext cx="66135" cy="39681"/>
              </a:xfrm>
              <a:custGeom>
                <a:avLst/>
                <a:gdLst>
                  <a:gd name="T0" fmla="*/ 12 w 12"/>
                  <a:gd name="T1" fmla="*/ 0 h 7"/>
                  <a:gd name="T2" fmla="*/ 0 w 12"/>
                  <a:gd name="T3" fmla="*/ 7 h 7"/>
                  <a:gd name="T4" fmla="*/ 12 w 12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12" y="0"/>
                    </a:moveTo>
                    <a:cubicBezTo>
                      <a:pt x="8" y="1"/>
                      <a:pt x="3" y="3"/>
                      <a:pt x="0" y="7"/>
                    </a:cubicBezTo>
                    <a:cubicBezTo>
                      <a:pt x="12" y="0"/>
                      <a:pt x="12" y="0"/>
                      <a:pt x="12" y="0"/>
                    </a:cubicBezTo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5" name="任意多边形: 形状 364">
                <a:extLst>
                  <a:ext uri="{FF2B5EF4-FFF2-40B4-BE49-F238E27FC236}">
                    <a16:creationId xmlns:a16="http://schemas.microsoft.com/office/drawing/2014/main" id="{A22A3BDB-B777-49C4-AE1A-65E4F808A6A9}"/>
                  </a:ext>
                </a:extLst>
              </p:cNvPr>
              <p:cNvSpPr/>
              <p:nvPr/>
            </p:nvSpPr>
            <p:spPr bwMode="auto">
              <a:xfrm>
                <a:off x="8303541" y="4007007"/>
                <a:ext cx="113751" cy="124332"/>
              </a:xfrm>
              <a:custGeom>
                <a:avLst/>
                <a:gdLst>
                  <a:gd name="T0" fmla="*/ 21 w 21"/>
                  <a:gd name="T1" fmla="*/ 23 h 23"/>
                  <a:gd name="T2" fmla="*/ 15 w 21"/>
                  <a:gd name="T3" fmla="*/ 20 h 23"/>
                  <a:gd name="T4" fmla="*/ 13 w 21"/>
                  <a:gd name="T5" fmla="*/ 17 h 23"/>
                  <a:gd name="T6" fmla="*/ 0 w 21"/>
                  <a:gd name="T7" fmla="*/ 0 h 23"/>
                  <a:gd name="T8" fmla="*/ 7 w 21"/>
                  <a:gd name="T9" fmla="*/ 4 h 23"/>
                  <a:gd name="T10" fmla="*/ 19 w 21"/>
                  <a:gd name="T11" fmla="*/ 21 h 23"/>
                  <a:gd name="T12" fmla="*/ 21 w 21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3">
                    <a:moveTo>
                      <a:pt x="21" y="23"/>
                    </a:moveTo>
                    <a:cubicBezTo>
                      <a:pt x="15" y="20"/>
                      <a:pt x="15" y="20"/>
                      <a:pt x="15" y="20"/>
                    </a:cubicBezTo>
                    <a:cubicBezTo>
                      <a:pt x="14" y="19"/>
                      <a:pt x="13" y="18"/>
                      <a:pt x="13" y="17"/>
                    </a:cubicBezTo>
                    <a:cubicBezTo>
                      <a:pt x="10" y="9"/>
                      <a:pt x="5" y="3"/>
                      <a:pt x="0" y="0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12" y="7"/>
                      <a:pt x="17" y="13"/>
                      <a:pt x="19" y="21"/>
                    </a:cubicBezTo>
                    <a:cubicBezTo>
                      <a:pt x="20" y="22"/>
                      <a:pt x="20" y="23"/>
                      <a:pt x="21" y="23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6" name="任意多边形: 形状 365">
                <a:extLst>
                  <a:ext uri="{FF2B5EF4-FFF2-40B4-BE49-F238E27FC236}">
                    <a16:creationId xmlns:a16="http://schemas.microsoft.com/office/drawing/2014/main" id="{FE988CDB-85C7-4432-8AA6-122102B209BE}"/>
                  </a:ext>
                </a:extLst>
              </p:cNvPr>
              <p:cNvSpPr/>
              <p:nvPr/>
            </p:nvSpPr>
            <p:spPr bwMode="auto">
              <a:xfrm>
                <a:off x="7581362" y="4287414"/>
                <a:ext cx="34390" cy="87297"/>
              </a:xfrm>
              <a:custGeom>
                <a:avLst/>
                <a:gdLst>
                  <a:gd name="T0" fmla="*/ 13 w 13"/>
                  <a:gd name="T1" fmla="*/ 33 h 33"/>
                  <a:gd name="T2" fmla="*/ 0 w 13"/>
                  <a:gd name="T3" fmla="*/ 25 h 33"/>
                  <a:gd name="T4" fmla="*/ 0 w 13"/>
                  <a:gd name="T5" fmla="*/ 0 h 33"/>
                  <a:gd name="T6" fmla="*/ 13 w 13"/>
                  <a:gd name="T7" fmla="*/ 8 h 33"/>
                  <a:gd name="T8" fmla="*/ 13 w 13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33">
                    <a:moveTo>
                      <a:pt x="13" y="33"/>
                    </a:moveTo>
                    <a:lnTo>
                      <a:pt x="0" y="25"/>
                    </a:lnTo>
                    <a:lnTo>
                      <a:pt x="0" y="0"/>
                    </a:lnTo>
                    <a:lnTo>
                      <a:pt x="13" y="8"/>
                    </a:lnTo>
                    <a:lnTo>
                      <a:pt x="13" y="33"/>
                    </a:lnTo>
                    <a:close/>
                  </a:path>
                </a:pathLst>
              </a:custGeom>
              <a:solidFill>
                <a:srgbClr val="3F61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7" name="任意多边形: 形状 366">
                <a:extLst>
                  <a:ext uri="{FF2B5EF4-FFF2-40B4-BE49-F238E27FC236}">
                    <a16:creationId xmlns:a16="http://schemas.microsoft.com/office/drawing/2014/main" id="{19692C5F-87AD-474E-A48C-CAA2C06BE974}"/>
                  </a:ext>
                </a:extLst>
              </p:cNvPr>
              <p:cNvSpPr/>
              <p:nvPr/>
            </p:nvSpPr>
            <p:spPr bwMode="auto">
              <a:xfrm>
                <a:off x="7581362" y="3917065"/>
                <a:ext cx="798895" cy="391511"/>
              </a:xfrm>
              <a:custGeom>
                <a:avLst/>
                <a:gdLst>
                  <a:gd name="T0" fmla="*/ 117 w 145"/>
                  <a:gd name="T1" fmla="*/ 7 h 71"/>
                  <a:gd name="T2" fmla="*/ 118 w 145"/>
                  <a:gd name="T3" fmla="*/ 7 h 71"/>
                  <a:gd name="T4" fmla="*/ 119 w 145"/>
                  <a:gd name="T5" fmla="*/ 6 h 71"/>
                  <a:gd name="T6" fmla="*/ 120 w 145"/>
                  <a:gd name="T7" fmla="*/ 6 h 71"/>
                  <a:gd name="T8" fmla="*/ 121 w 145"/>
                  <a:gd name="T9" fmla="*/ 6 h 71"/>
                  <a:gd name="T10" fmla="*/ 122 w 145"/>
                  <a:gd name="T11" fmla="*/ 5 h 71"/>
                  <a:gd name="T12" fmla="*/ 123 w 145"/>
                  <a:gd name="T13" fmla="*/ 5 h 71"/>
                  <a:gd name="T14" fmla="*/ 126 w 145"/>
                  <a:gd name="T15" fmla="*/ 5 h 71"/>
                  <a:gd name="T16" fmla="*/ 126 w 145"/>
                  <a:gd name="T17" fmla="*/ 4 h 71"/>
                  <a:gd name="T18" fmla="*/ 129 w 145"/>
                  <a:gd name="T19" fmla="*/ 4 h 71"/>
                  <a:gd name="T20" fmla="*/ 130 w 145"/>
                  <a:gd name="T21" fmla="*/ 4 h 71"/>
                  <a:gd name="T22" fmla="*/ 132 w 145"/>
                  <a:gd name="T23" fmla="*/ 4 h 71"/>
                  <a:gd name="T24" fmla="*/ 133 w 145"/>
                  <a:gd name="T25" fmla="*/ 4 h 71"/>
                  <a:gd name="T26" fmla="*/ 136 w 145"/>
                  <a:gd name="T27" fmla="*/ 5 h 71"/>
                  <a:gd name="T28" fmla="*/ 136 w 145"/>
                  <a:gd name="T29" fmla="*/ 5 h 71"/>
                  <a:gd name="T30" fmla="*/ 138 w 145"/>
                  <a:gd name="T31" fmla="*/ 5 h 71"/>
                  <a:gd name="T32" fmla="*/ 139 w 145"/>
                  <a:gd name="T33" fmla="*/ 5 h 71"/>
                  <a:gd name="T34" fmla="*/ 141 w 145"/>
                  <a:gd name="T35" fmla="*/ 6 h 71"/>
                  <a:gd name="T36" fmla="*/ 142 w 145"/>
                  <a:gd name="T37" fmla="*/ 6 h 71"/>
                  <a:gd name="T38" fmla="*/ 144 w 145"/>
                  <a:gd name="T39" fmla="*/ 8 h 71"/>
                  <a:gd name="T40" fmla="*/ 145 w 145"/>
                  <a:gd name="T41" fmla="*/ 8 h 71"/>
                  <a:gd name="T42" fmla="*/ 138 w 145"/>
                  <a:gd name="T43" fmla="*/ 4 h 71"/>
                  <a:gd name="T44" fmla="*/ 138 w 145"/>
                  <a:gd name="T45" fmla="*/ 4 h 71"/>
                  <a:gd name="T46" fmla="*/ 138 w 145"/>
                  <a:gd name="T47" fmla="*/ 4 h 71"/>
                  <a:gd name="T48" fmla="*/ 135 w 145"/>
                  <a:gd name="T49" fmla="*/ 3 h 71"/>
                  <a:gd name="T50" fmla="*/ 135 w 145"/>
                  <a:gd name="T51" fmla="*/ 2 h 71"/>
                  <a:gd name="T52" fmla="*/ 135 w 145"/>
                  <a:gd name="T53" fmla="*/ 2 h 71"/>
                  <a:gd name="T54" fmla="*/ 132 w 145"/>
                  <a:gd name="T55" fmla="*/ 2 h 71"/>
                  <a:gd name="T56" fmla="*/ 132 w 145"/>
                  <a:gd name="T57" fmla="*/ 1 h 71"/>
                  <a:gd name="T58" fmla="*/ 132 w 145"/>
                  <a:gd name="T59" fmla="*/ 1 h 71"/>
                  <a:gd name="T60" fmla="*/ 129 w 145"/>
                  <a:gd name="T61" fmla="*/ 1 h 71"/>
                  <a:gd name="T62" fmla="*/ 129 w 145"/>
                  <a:gd name="T63" fmla="*/ 1 h 71"/>
                  <a:gd name="T64" fmla="*/ 129 w 145"/>
                  <a:gd name="T65" fmla="*/ 1 h 71"/>
                  <a:gd name="T66" fmla="*/ 126 w 145"/>
                  <a:gd name="T67" fmla="*/ 0 h 71"/>
                  <a:gd name="T68" fmla="*/ 126 w 145"/>
                  <a:gd name="T69" fmla="*/ 0 h 71"/>
                  <a:gd name="T70" fmla="*/ 126 w 145"/>
                  <a:gd name="T71" fmla="*/ 0 h 71"/>
                  <a:gd name="T72" fmla="*/ 123 w 145"/>
                  <a:gd name="T73" fmla="*/ 0 h 71"/>
                  <a:gd name="T74" fmla="*/ 123 w 145"/>
                  <a:gd name="T75" fmla="*/ 0 h 71"/>
                  <a:gd name="T76" fmla="*/ 122 w 145"/>
                  <a:gd name="T77" fmla="*/ 0 h 71"/>
                  <a:gd name="T78" fmla="*/ 120 w 145"/>
                  <a:gd name="T79" fmla="*/ 1 h 71"/>
                  <a:gd name="T80" fmla="*/ 120 w 145"/>
                  <a:gd name="T81" fmla="*/ 1 h 71"/>
                  <a:gd name="T82" fmla="*/ 119 w 145"/>
                  <a:gd name="T83" fmla="*/ 1 h 71"/>
                  <a:gd name="T84" fmla="*/ 116 w 145"/>
                  <a:gd name="T85" fmla="*/ 1 h 71"/>
                  <a:gd name="T86" fmla="*/ 116 w 145"/>
                  <a:gd name="T87" fmla="*/ 1 h 71"/>
                  <a:gd name="T88" fmla="*/ 116 w 145"/>
                  <a:gd name="T89" fmla="*/ 1 h 71"/>
                  <a:gd name="T90" fmla="*/ 115 w 145"/>
                  <a:gd name="T91" fmla="*/ 2 h 71"/>
                  <a:gd name="T92" fmla="*/ 114 w 145"/>
                  <a:gd name="T93" fmla="*/ 2 h 71"/>
                  <a:gd name="T94" fmla="*/ 113 w 145"/>
                  <a:gd name="T95" fmla="*/ 3 h 71"/>
                  <a:gd name="T96" fmla="*/ 112 w 145"/>
                  <a:gd name="T97" fmla="*/ 3 h 71"/>
                  <a:gd name="T98" fmla="*/ 112 w 145"/>
                  <a:gd name="T99" fmla="*/ 3 h 71"/>
                  <a:gd name="T100" fmla="*/ 110 w 145"/>
                  <a:gd name="T101" fmla="*/ 4 h 71"/>
                  <a:gd name="T102" fmla="*/ 110 w 145"/>
                  <a:gd name="T103" fmla="*/ 4 h 71"/>
                  <a:gd name="T104" fmla="*/ 108 w 145"/>
                  <a:gd name="T105" fmla="*/ 5 h 71"/>
                  <a:gd name="T106" fmla="*/ 0 w 145"/>
                  <a:gd name="T107" fmla="*/ 67 h 71"/>
                  <a:gd name="T108" fmla="*/ 6 w 145"/>
                  <a:gd name="T109" fmla="*/ 71 h 71"/>
                  <a:gd name="T110" fmla="*/ 114 w 145"/>
                  <a:gd name="T111" fmla="*/ 9 h 71"/>
                  <a:gd name="T112" fmla="*/ 116 w 145"/>
                  <a:gd name="T113" fmla="*/ 8 h 71"/>
                  <a:gd name="T114" fmla="*/ 117 w 145"/>
                  <a:gd name="T115" fmla="*/ 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5" h="71">
                    <a:moveTo>
                      <a:pt x="117" y="7"/>
                    </a:moveTo>
                    <a:cubicBezTo>
                      <a:pt x="117" y="7"/>
                      <a:pt x="118" y="7"/>
                      <a:pt x="118" y="7"/>
                    </a:cubicBezTo>
                    <a:cubicBezTo>
                      <a:pt x="119" y="6"/>
                      <a:pt x="119" y="6"/>
                      <a:pt x="119" y="6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121" y="6"/>
                      <a:pt x="121" y="6"/>
                      <a:pt x="121" y="6"/>
                    </a:cubicBezTo>
                    <a:cubicBezTo>
                      <a:pt x="122" y="6"/>
                      <a:pt x="122" y="5"/>
                      <a:pt x="122" y="5"/>
                    </a:cubicBezTo>
                    <a:cubicBezTo>
                      <a:pt x="123" y="5"/>
                      <a:pt x="123" y="5"/>
                      <a:pt x="123" y="5"/>
                    </a:cubicBezTo>
                    <a:cubicBezTo>
                      <a:pt x="124" y="5"/>
                      <a:pt x="125" y="5"/>
                      <a:pt x="126" y="5"/>
                    </a:cubicBezTo>
                    <a:cubicBezTo>
                      <a:pt x="126" y="4"/>
                      <a:pt x="126" y="4"/>
                      <a:pt x="126" y="4"/>
                    </a:cubicBezTo>
                    <a:cubicBezTo>
                      <a:pt x="127" y="4"/>
                      <a:pt x="128" y="4"/>
                      <a:pt x="129" y="4"/>
                    </a:cubicBezTo>
                    <a:cubicBezTo>
                      <a:pt x="130" y="4"/>
                      <a:pt x="130" y="4"/>
                      <a:pt x="130" y="4"/>
                    </a:cubicBezTo>
                    <a:cubicBezTo>
                      <a:pt x="130" y="4"/>
                      <a:pt x="131" y="4"/>
                      <a:pt x="132" y="4"/>
                    </a:cubicBezTo>
                    <a:cubicBezTo>
                      <a:pt x="133" y="4"/>
                      <a:pt x="133" y="4"/>
                      <a:pt x="133" y="4"/>
                    </a:cubicBezTo>
                    <a:cubicBezTo>
                      <a:pt x="134" y="4"/>
                      <a:pt x="135" y="4"/>
                      <a:pt x="136" y="5"/>
                    </a:cubicBezTo>
                    <a:cubicBezTo>
                      <a:pt x="136" y="5"/>
                      <a:pt x="136" y="5"/>
                      <a:pt x="136" y="5"/>
                    </a:cubicBezTo>
                    <a:cubicBezTo>
                      <a:pt x="136" y="5"/>
                      <a:pt x="137" y="5"/>
                      <a:pt x="138" y="5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40" y="6"/>
                      <a:pt x="141" y="6"/>
                      <a:pt x="141" y="6"/>
                    </a:cubicBezTo>
                    <a:cubicBezTo>
                      <a:pt x="142" y="6"/>
                      <a:pt x="142" y="6"/>
                      <a:pt x="142" y="6"/>
                    </a:cubicBezTo>
                    <a:cubicBezTo>
                      <a:pt x="143" y="7"/>
                      <a:pt x="143" y="7"/>
                      <a:pt x="144" y="8"/>
                    </a:cubicBezTo>
                    <a:cubicBezTo>
                      <a:pt x="145" y="8"/>
                      <a:pt x="145" y="8"/>
                      <a:pt x="145" y="8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8" y="4"/>
                      <a:pt x="138" y="4"/>
                      <a:pt x="138" y="4"/>
                    </a:cubicBezTo>
                    <a:cubicBezTo>
                      <a:pt x="137" y="3"/>
                      <a:pt x="136" y="3"/>
                      <a:pt x="135" y="3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4" y="2"/>
                      <a:pt x="133" y="2"/>
                      <a:pt x="132" y="2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1" y="1"/>
                      <a:pt x="130" y="1"/>
                      <a:pt x="129" y="1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9" y="1"/>
                      <a:pt x="129" y="1"/>
                      <a:pt x="129" y="1"/>
                    </a:cubicBezTo>
                    <a:cubicBezTo>
                      <a:pt x="128" y="1"/>
                      <a:pt x="127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2" y="0"/>
                      <a:pt x="122" y="0"/>
                      <a:pt x="122" y="0"/>
                    </a:cubicBezTo>
                    <a:cubicBezTo>
                      <a:pt x="122" y="0"/>
                      <a:pt x="121" y="1"/>
                      <a:pt x="120" y="1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19" y="1"/>
                      <a:pt x="119" y="1"/>
                      <a:pt x="119" y="1"/>
                    </a:cubicBezTo>
                    <a:cubicBezTo>
                      <a:pt x="118" y="1"/>
                      <a:pt x="117" y="1"/>
                      <a:pt x="116" y="1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5" y="2"/>
                      <a:pt x="115" y="2"/>
                      <a:pt x="115" y="2"/>
                    </a:cubicBezTo>
                    <a:cubicBezTo>
                      <a:pt x="114" y="2"/>
                      <a:pt x="114" y="2"/>
                      <a:pt x="114" y="2"/>
                    </a:cubicBezTo>
                    <a:cubicBezTo>
                      <a:pt x="113" y="2"/>
                      <a:pt x="113" y="2"/>
                      <a:pt x="113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2" y="3"/>
                      <a:pt x="112" y="3"/>
                      <a:pt x="112" y="3"/>
                    </a:cubicBezTo>
                    <a:cubicBezTo>
                      <a:pt x="111" y="3"/>
                      <a:pt x="111" y="3"/>
                      <a:pt x="110" y="4"/>
                    </a:cubicBezTo>
                    <a:cubicBezTo>
                      <a:pt x="110" y="4"/>
                      <a:pt x="110" y="4"/>
                      <a:pt x="110" y="4"/>
                    </a:cubicBezTo>
                    <a:cubicBezTo>
                      <a:pt x="109" y="4"/>
                      <a:pt x="108" y="4"/>
                      <a:pt x="108" y="5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6" y="71"/>
                      <a:pt x="6" y="71"/>
                      <a:pt x="6" y="71"/>
                    </a:cubicBezTo>
                    <a:cubicBezTo>
                      <a:pt x="114" y="9"/>
                      <a:pt x="114" y="9"/>
                      <a:pt x="114" y="9"/>
                    </a:cubicBezTo>
                    <a:cubicBezTo>
                      <a:pt x="115" y="8"/>
                      <a:pt x="116" y="8"/>
                      <a:pt x="116" y="8"/>
                    </a:cubicBezTo>
                    <a:lnTo>
                      <a:pt x="117" y="7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8" name="任意多边形: 形状 367">
                <a:extLst>
                  <a:ext uri="{FF2B5EF4-FFF2-40B4-BE49-F238E27FC236}">
                    <a16:creationId xmlns:a16="http://schemas.microsoft.com/office/drawing/2014/main" id="{0B79D7E0-1859-477C-A336-18B299AED505}"/>
                  </a:ext>
                </a:extLst>
              </p:cNvPr>
              <p:cNvSpPr/>
              <p:nvPr/>
            </p:nvSpPr>
            <p:spPr bwMode="auto">
              <a:xfrm>
                <a:off x="7615750" y="3911774"/>
                <a:ext cx="857092" cy="462936"/>
              </a:xfrm>
              <a:custGeom>
                <a:avLst/>
                <a:gdLst>
                  <a:gd name="T0" fmla="*/ 108 w 156"/>
                  <a:gd name="T1" fmla="*/ 10 h 84"/>
                  <a:gd name="T2" fmla="*/ 155 w 156"/>
                  <a:gd name="T3" fmla="*/ 33 h 84"/>
                  <a:gd name="T4" fmla="*/ 153 w 156"/>
                  <a:gd name="T5" fmla="*/ 39 h 84"/>
                  <a:gd name="T6" fmla="*/ 151 w 156"/>
                  <a:gd name="T7" fmla="*/ 40 h 84"/>
                  <a:gd name="T8" fmla="*/ 144 w 156"/>
                  <a:gd name="T9" fmla="*/ 38 h 84"/>
                  <a:gd name="T10" fmla="*/ 108 w 156"/>
                  <a:gd name="T11" fmla="*/ 21 h 84"/>
                  <a:gd name="T12" fmla="*/ 0 w 156"/>
                  <a:gd name="T13" fmla="*/ 84 h 84"/>
                  <a:gd name="T14" fmla="*/ 0 w 156"/>
                  <a:gd name="T15" fmla="*/ 72 h 84"/>
                  <a:gd name="T16" fmla="*/ 108 w 156"/>
                  <a:gd name="T17" fmla="*/ 1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6" h="84">
                    <a:moveTo>
                      <a:pt x="108" y="10"/>
                    </a:moveTo>
                    <a:cubicBezTo>
                      <a:pt x="126" y="0"/>
                      <a:pt x="148" y="6"/>
                      <a:pt x="155" y="33"/>
                    </a:cubicBezTo>
                    <a:cubicBezTo>
                      <a:pt x="156" y="35"/>
                      <a:pt x="154" y="37"/>
                      <a:pt x="153" y="39"/>
                    </a:cubicBezTo>
                    <a:cubicBezTo>
                      <a:pt x="152" y="39"/>
                      <a:pt x="152" y="40"/>
                      <a:pt x="151" y="40"/>
                    </a:cubicBezTo>
                    <a:cubicBezTo>
                      <a:pt x="148" y="42"/>
                      <a:pt x="145" y="41"/>
                      <a:pt x="144" y="38"/>
                    </a:cubicBezTo>
                    <a:cubicBezTo>
                      <a:pt x="138" y="17"/>
                      <a:pt x="120" y="15"/>
                      <a:pt x="108" y="21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72"/>
                      <a:pt x="0" y="72"/>
                      <a:pt x="0" y="72"/>
                    </a:cubicBezTo>
                    <a:lnTo>
                      <a:pt x="108" y="10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9" name="任意多边形: 形状 368">
                <a:extLst>
                  <a:ext uri="{FF2B5EF4-FFF2-40B4-BE49-F238E27FC236}">
                    <a16:creationId xmlns:a16="http://schemas.microsoft.com/office/drawing/2014/main" id="{078185A3-C1A4-4480-8BBA-37AE523428DF}"/>
                  </a:ext>
                </a:extLst>
              </p:cNvPr>
              <p:cNvSpPr/>
              <p:nvPr/>
            </p:nvSpPr>
            <p:spPr bwMode="auto">
              <a:xfrm>
                <a:off x="6988804" y="3247793"/>
                <a:ext cx="116395" cy="126977"/>
              </a:xfrm>
              <a:custGeom>
                <a:avLst/>
                <a:gdLst>
                  <a:gd name="T0" fmla="*/ 21 w 21"/>
                  <a:gd name="T1" fmla="*/ 23 h 23"/>
                  <a:gd name="T2" fmla="*/ 14 w 21"/>
                  <a:gd name="T3" fmla="*/ 19 h 23"/>
                  <a:gd name="T4" fmla="*/ 12 w 21"/>
                  <a:gd name="T5" fmla="*/ 17 h 23"/>
                  <a:gd name="T6" fmla="*/ 0 w 21"/>
                  <a:gd name="T7" fmla="*/ 0 h 23"/>
                  <a:gd name="T8" fmla="*/ 6 w 21"/>
                  <a:gd name="T9" fmla="*/ 4 h 23"/>
                  <a:gd name="T10" fmla="*/ 19 w 21"/>
                  <a:gd name="T11" fmla="*/ 21 h 23"/>
                  <a:gd name="T12" fmla="*/ 21 w 21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" h="23">
                    <a:moveTo>
                      <a:pt x="21" y="23"/>
                    </a:moveTo>
                    <a:cubicBezTo>
                      <a:pt x="14" y="19"/>
                      <a:pt x="14" y="19"/>
                      <a:pt x="14" y="19"/>
                    </a:cubicBezTo>
                    <a:cubicBezTo>
                      <a:pt x="13" y="18"/>
                      <a:pt x="13" y="18"/>
                      <a:pt x="12" y="17"/>
                    </a:cubicBezTo>
                    <a:cubicBezTo>
                      <a:pt x="10" y="8"/>
                      <a:pt x="5" y="3"/>
                      <a:pt x="0" y="0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12" y="7"/>
                      <a:pt x="16" y="12"/>
                      <a:pt x="19" y="21"/>
                    </a:cubicBezTo>
                    <a:cubicBezTo>
                      <a:pt x="19" y="22"/>
                      <a:pt x="20" y="22"/>
                      <a:pt x="21" y="23"/>
                    </a:cubicBezTo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0" name="任意多边形: 形状 369">
                <a:extLst>
                  <a:ext uri="{FF2B5EF4-FFF2-40B4-BE49-F238E27FC236}">
                    <a16:creationId xmlns:a16="http://schemas.microsoft.com/office/drawing/2014/main" id="{0735B928-EF3B-4193-985A-B5D4D9E07BAE}"/>
                  </a:ext>
                </a:extLst>
              </p:cNvPr>
              <p:cNvSpPr/>
              <p:nvPr/>
            </p:nvSpPr>
            <p:spPr bwMode="auto">
              <a:xfrm>
                <a:off x="6263979" y="3528200"/>
                <a:ext cx="37035" cy="82007"/>
              </a:xfrm>
              <a:custGeom>
                <a:avLst/>
                <a:gdLst>
                  <a:gd name="T0" fmla="*/ 14 w 14"/>
                  <a:gd name="T1" fmla="*/ 31 h 31"/>
                  <a:gd name="T2" fmla="*/ 0 w 14"/>
                  <a:gd name="T3" fmla="*/ 23 h 31"/>
                  <a:gd name="T4" fmla="*/ 0 w 14"/>
                  <a:gd name="T5" fmla="*/ 0 h 31"/>
                  <a:gd name="T6" fmla="*/ 14 w 14"/>
                  <a:gd name="T7" fmla="*/ 6 h 31"/>
                  <a:gd name="T8" fmla="*/ 14 w 14"/>
                  <a:gd name="T9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31">
                    <a:moveTo>
                      <a:pt x="14" y="31"/>
                    </a:moveTo>
                    <a:lnTo>
                      <a:pt x="0" y="23"/>
                    </a:lnTo>
                    <a:lnTo>
                      <a:pt x="0" y="0"/>
                    </a:lnTo>
                    <a:lnTo>
                      <a:pt x="14" y="6"/>
                    </a:lnTo>
                    <a:lnTo>
                      <a:pt x="14" y="31"/>
                    </a:lnTo>
                    <a:close/>
                  </a:path>
                </a:pathLst>
              </a:custGeom>
              <a:solidFill>
                <a:srgbClr val="3F618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1" name="任意多边形: 形状 370">
                <a:extLst>
                  <a:ext uri="{FF2B5EF4-FFF2-40B4-BE49-F238E27FC236}">
                    <a16:creationId xmlns:a16="http://schemas.microsoft.com/office/drawing/2014/main" id="{92A86574-94F5-4C4C-AB7E-1A6A1A9D1A45}"/>
                  </a:ext>
                </a:extLst>
              </p:cNvPr>
              <p:cNvSpPr/>
              <p:nvPr/>
            </p:nvSpPr>
            <p:spPr bwMode="auto">
              <a:xfrm>
                <a:off x="6263979" y="3160496"/>
                <a:ext cx="796250" cy="383576"/>
              </a:xfrm>
              <a:custGeom>
                <a:avLst/>
                <a:gdLst>
                  <a:gd name="T0" fmla="*/ 118 w 145"/>
                  <a:gd name="T1" fmla="*/ 7 h 70"/>
                  <a:gd name="T2" fmla="*/ 119 w 145"/>
                  <a:gd name="T3" fmla="*/ 6 h 70"/>
                  <a:gd name="T4" fmla="*/ 120 w 145"/>
                  <a:gd name="T5" fmla="*/ 6 h 70"/>
                  <a:gd name="T6" fmla="*/ 121 w 145"/>
                  <a:gd name="T7" fmla="*/ 5 h 70"/>
                  <a:gd name="T8" fmla="*/ 122 w 145"/>
                  <a:gd name="T9" fmla="*/ 5 h 70"/>
                  <a:gd name="T10" fmla="*/ 123 w 145"/>
                  <a:gd name="T11" fmla="*/ 5 h 70"/>
                  <a:gd name="T12" fmla="*/ 124 w 145"/>
                  <a:gd name="T13" fmla="*/ 5 h 70"/>
                  <a:gd name="T14" fmla="*/ 127 w 145"/>
                  <a:gd name="T15" fmla="*/ 4 h 70"/>
                  <a:gd name="T16" fmla="*/ 127 w 145"/>
                  <a:gd name="T17" fmla="*/ 4 h 70"/>
                  <a:gd name="T18" fmla="*/ 130 w 145"/>
                  <a:gd name="T19" fmla="*/ 4 h 70"/>
                  <a:gd name="T20" fmla="*/ 130 w 145"/>
                  <a:gd name="T21" fmla="*/ 4 h 70"/>
                  <a:gd name="T22" fmla="*/ 133 w 145"/>
                  <a:gd name="T23" fmla="*/ 4 h 70"/>
                  <a:gd name="T24" fmla="*/ 133 w 145"/>
                  <a:gd name="T25" fmla="*/ 4 h 70"/>
                  <a:gd name="T26" fmla="*/ 136 w 145"/>
                  <a:gd name="T27" fmla="*/ 4 h 70"/>
                  <a:gd name="T28" fmla="*/ 136 w 145"/>
                  <a:gd name="T29" fmla="*/ 4 h 70"/>
                  <a:gd name="T30" fmla="*/ 139 w 145"/>
                  <a:gd name="T31" fmla="*/ 5 h 70"/>
                  <a:gd name="T32" fmla="*/ 139 w 145"/>
                  <a:gd name="T33" fmla="*/ 5 h 70"/>
                  <a:gd name="T34" fmla="*/ 142 w 145"/>
                  <a:gd name="T35" fmla="*/ 6 h 70"/>
                  <a:gd name="T36" fmla="*/ 142 w 145"/>
                  <a:gd name="T37" fmla="*/ 6 h 70"/>
                  <a:gd name="T38" fmla="*/ 145 w 145"/>
                  <a:gd name="T39" fmla="*/ 7 h 70"/>
                  <a:gd name="T40" fmla="*/ 145 w 145"/>
                  <a:gd name="T41" fmla="*/ 7 h 70"/>
                  <a:gd name="T42" fmla="*/ 139 w 145"/>
                  <a:gd name="T43" fmla="*/ 3 h 70"/>
                  <a:gd name="T44" fmla="*/ 138 w 145"/>
                  <a:gd name="T45" fmla="*/ 3 h 70"/>
                  <a:gd name="T46" fmla="*/ 138 w 145"/>
                  <a:gd name="T47" fmla="*/ 3 h 70"/>
                  <a:gd name="T48" fmla="*/ 136 w 145"/>
                  <a:gd name="T49" fmla="*/ 2 h 70"/>
                  <a:gd name="T50" fmla="*/ 135 w 145"/>
                  <a:gd name="T51" fmla="*/ 2 h 70"/>
                  <a:gd name="T52" fmla="*/ 135 w 145"/>
                  <a:gd name="T53" fmla="*/ 2 h 70"/>
                  <a:gd name="T54" fmla="*/ 133 w 145"/>
                  <a:gd name="T55" fmla="*/ 1 h 70"/>
                  <a:gd name="T56" fmla="*/ 133 w 145"/>
                  <a:gd name="T57" fmla="*/ 1 h 70"/>
                  <a:gd name="T58" fmla="*/ 132 w 145"/>
                  <a:gd name="T59" fmla="*/ 1 h 70"/>
                  <a:gd name="T60" fmla="*/ 130 w 145"/>
                  <a:gd name="T61" fmla="*/ 0 h 70"/>
                  <a:gd name="T62" fmla="*/ 130 w 145"/>
                  <a:gd name="T63" fmla="*/ 0 h 70"/>
                  <a:gd name="T64" fmla="*/ 130 w 145"/>
                  <a:gd name="T65" fmla="*/ 0 h 70"/>
                  <a:gd name="T66" fmla="*/ 127 w 145"/>
                  <a:gd name="T67" fmla="*/ 0 h 70"/>
                  <a:gd name="T68" fmla="*/ 126 w 145"/>
                  <a:gd name="T69" fmla="*/ 0 h 70"/>
                  <a:gd name="T70" fmla="*/ 126 w 145"/>
                  <a:gd name="T71" fmla="*/ 0 h 70"/>
                  <a:gd name="T72" fmla="*/ 123 w 145"/>
                  <a:gd name="T73" fmla="*/ 0 h 70"/>
                  <a:gd name="T74" fmla="*/ 123 w 145"/>
                  <a:gd name="T75" fmla="*/ 0 h 70"/>
                  <a:gd name="T76" fmla="*/ 123 w 145"/>
                  <a:gd name="T77" fmla="*/ 0 h 70"/>
                  <a:gd name="T78" fmla="*/ 120 w 145"/>
                  <a:gd name="T79" fmla="*/ 0 h 70"/>
                  <a:gd name="T80" fmla="*/ 120 w 145"/>
                  <a:gd name="T81" fmla="*/ 0 h 70"/>
                  <a:gd name="T82" fmla="*/ 120 w 145"/>
                  <a:gd name="T83" fmla="*/ 0 h 70"/>
                  <a:gd name="T84" fmla="*/ 117 w 145"/>
                  <a:gd name="T85" fmla="*/ 1 h 70"/>
                  <a:gd name="T86" fmla="*/ 117 w 145"/>
                  <a:gd name="T87" fmla="*/ 1 h 70"/>
                  <a:gd name="T88" fmla="*/ 116 w 145"/>
                  <a:gd name="T89" fmla="*/ 1 h 70"/>
                  <a:gd name="T90" fmla="*/ 115 w 145"/>
                  <a:gd name="T91" fmla="*/ 1 h 70"/>
                  <a:gd name="T92" fmla="*/ 114 w 145"/>
                  <a:gd name="T93" fmla="*/ 2 h 70"/>
                  <a:gd name="T94" fmla="*/ 113 w 145"/>
                  <a:gd name="T95" fmla="*/ 2 h 70"/>
                  <a:gd name="T96" fmla="*/ 112 w 145"/>
                  <a:gd name="T97" fmla="*/ 2 h 70"/>
                  <a:gd name="T98" fmla="*/ 112 w 145"/>
                  <a:gd name="T99" fmla="*/ 2 h 70"/>
                  <a:gd name="T100" fmla="*/ 111 w 145"/>
                  <a:gd name="T101" fmla="*/ 3 h 70"/>
                  <a:gd name="T102" fmla="*/ 110 w 145"/>
                  <a:gd name="T103" fmla="*/ 3 h 70"/>
                  <a:gd name="T104" fmla="*/ 108 w 145"/>
                  <a:gd name="T105" fmla="*/ 4 h 70"/>
                  <a:gd name="T106" fmla="*/ 0 w 145"/>
                  <a:gd name="T107" fmla="*/ 67 h 70"/>
                  <a:gd name="T108" fmla="*/ 7 w 145"/>
                  <a:gd name="T109" fmla="*/ 70 h 70"/>
                  <a:gd name="T110" fmla="*/ 115 w 145"/>
                  <a:gd name="T111" fmla="*/ 8 h 70"/>
                  <a:gd name="T112" fmla="*/ 117 w 145"/>
                  <a:gd name="T113" fmla="*/ 7 h 70"/>
                  <a:gd name="T114" fmla="*/ 118 w 145"/>
                  <a:gd name="T115" fmla="*/ 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45" h="70">
                    <a:moveTo>
                      <a:pt x="118" y="7"/>
                    </a:moveTo>
                    <a:cubicBezTo>
                      <a:pt x="118" y="7"/>
                      <a:pt x="118" y="6"/>
                      <a:pt x="119" y="6"/>
                    </a:cubicBezTo>
                    <a:cubicBezTo>
                      <a:pt x="120" y="6"/>
                      <a:pt x="120" y="6"/>
                      <a:pt x="120" y="6"/>
                    </a:cubicBezTo>
                    <a:cubicBezTo>
                      <a:pt x="120" y="6"/>
                      <a:pt x="121" y="6"/>
                      <a:pt x="121" y="5"/>
                    </a:cubicBezTo>
                    <a:cubicBezTo>
                      <a:pt x="122" y="5"/>
                      <a:pt x="122" y="5"/>
                      <a:pt x="122" y="5"/>
                    </a:cubicBezTo>
                    <a:cubicBezTo>
                      <a:pt x="122" y="5"/>
                      <a:pt x="123" y="5"/>
                      <a:pt x="123" y="5"/>
                    </a:cubicBezTo>
                    <a:cubicBezTo>
                      <a:pt x="124" y="5"/>
                      <a:pt x="124" y="5"/>
                      <a:pt x="124" y="5"/>
                    </a:cubicBezTo>
                    <a:cubicBezTo>
                      <a:pt x="125" y="4"/>
                      <a:pt x="126" y="4"/>
                      <a:pt x="127" y="4"/>
                    </a:cubicBezTo>
                    <a:cubicBezTo>
                      <a:pt x="127" y="4"/>
                      <a:pt x="127" y="4"/>
                      <a:pt x="127" y="4"/>
                    </a:cubicBezTo>
                    <a:cubicBezTo>
                      <a:pt x="128" y="4"/>
                      <a:pt x="129" y="4"/>
                      <a:pt x="130" y="4"/>
                    </a:cubicBezTo>
                    <a:cubicBezTo>
                      <a:pt x="130" y="4"/>
                      <a:pt x="130" y="4"/>
                      <a:pt x="130" y="4"/>
                    </a:cubicBezTo>
                    <a:cubicBezTo>
                      <a:pt x="131" y="4"/>
                      <a:pt x="132" y="4"/>
                      <a:pt x="133" y="4"/>
                    </a:cubicBezTo>
                    <a:cubicBezTo>
                      <a:pt x="133" y="4"/>
                      <a:pt x="133" y="4"/>
                      <a:pt x="133" y="4"/>
                    </a:cubicBezTo>
                    <a:cubicBezTo>
                      <a:pt x="134" y="4"/>
                      <a:pt x="135" y="4"/>
                      <a:pt x="136" y="4"/>
                    </a:cubicBezTo>
                    <a:cubicBezTo>
                      <a:pt x="136" y="4"/>
                      <a:pt x="136" y="4"/>
                      <a:pt x="136" y="4"/>
                    </a:cubicBezTo>
                    <a:cubicBezTo>
                      <a:pt x="137" y="4"/>
                      <a:pt x="138" y="4"/>
                      <a:pt x="139" y="5"/>
                    </a:cubicBezTo>
                    <a:cubicBezTo>
                      <a:pt x="139" y="5"/>
                      <a:pt x="139" y="5"/>
                      <a:pt x="139" y="5"/>
                    </a:cubicBezTo>
                    <a:cubicBezTo>
                      <a:pt x="140" y="5"/>
                      <a:pt x="141" y="5"/>
                      <a:pt x="142" y="6"/>
                    </a:cubicBezTo>
                    <a:cubicBezTo>
                      <a:pt x="142" y="6"/>
                      <a:pt x="142" y="6"/>
                      <a:pt x="142" y="6"/>
                    </a:cubicBezTo>
                    <a:cubicBezTo>
                      <a:pt x="143" y="6"/>
                      <a:pt x="144" y="7"/>
                      <a:pt x="145" y="7"/>
                    </a:cubicBezTo>
                    <a:cubicBezTo>
                      <a:pt x="145" y="7"/>
                      <a:pt x="145" y="7"/>
                      <a:pt x="145" y="7"/>
                    </a:cubicBezTo>
                    <a:cubicBezTo>
                      <a:pt x="139" y="3"/>
                      <a:pt x="139" y="3"/>
                      <a:pt x="139" y="3"/>
                    </a:cubicBezTo>
                    <a:cubicBezTo>
                      <a:pt x="138" y="3"/>
                      <a:pt x="138" y="3"/>
                      <a:pt x="138" y="3"/>
                    </a:cubicBezTo>
                    <a:cubicBezTo>
                      <a:pt x="138" y="3"/>
                      <a:pt x="138" y="3"/>
                      <a:pt x="138" y="3"/>
                    </a:cubicBezTo>
                    <a:cubicBezTo>
                      <a:pt x="137" y="3"/>
                      <a:pt x="137" y="2"/>
                      <a:pt x="136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5" y="2"/>
                      <a:pt x="135" y="2"/>
                      <a:pt x="135" y="2"/>
                    </a:cubicBezTo>
                    <a:cubicBezTo>
                      <a:pt x="134" y="1"/>
                      <a:pt x="134" y="1"/>
                      <a:pt x="133" y="1"/>
                    </a:cubicBezTo>
                    <a:cubicBezTo>
                      <a:pt x="133" y="1"/>
                      <a:pt x="133" y="1"/>
                      <a:pt x="133" y="1"/>
                    </a:cubicBezTo>
                    <a:cubicBezTo>
                      <a:pt x="132" y="1"/>
                      <a:pt x="132" y="1"/>
                      <a:pt x="132" y="1"/>
                    </a:cubicBezTo>
                    <a:cubicBezTo>
                      <a:pt x="131" y="0"/>
                      <a:pt x="130" y="0"/>
                      <a:pt x="13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30" y="0"/>
                      <a:pt x="130" y="0"/>
                      <a:pt x="130" y="0"/>
                    </a:cubicBezTo>
                    <a:cubicBezTo>
                      <a:pt x="129" y="0"/>
                      <a:pt x="128" y="0"/>
                      <a:pt x="127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6" y="0"/>
                      <a:pt x="126" y="0"/>
                      <a:pt x="126" y="0"/>
                    </a:cubicBezTo>
                    <a:cubicBezTo>
                      <a:pt x="125" y="0"/>
                      <a:pt x="124" y="0"/>
                      <a:pt x="123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22" y="0"/>
                      <a:pt x="121" y="0"/>
                      <a:pt x="12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20" y="0"/>
                      <a:pt x="120" y="0"/>
                      <a:pt x="120" y="0"/>
                    </a:cubicBezTo>
                    <a:cubicBezTo>
                      <a:pt x="119" y="0"/>
                      <a:pt x="118" y="0"/>
                      <a:pt x="117" y="1"/>
                    </a:cubicBezTo>
                    <a:cubicBezTo>
                      <a:pt x="117" y="1"/>
                      <a:pt x="117" y="1"/>
                      <a:pt x="117" y="1"/>
                    </a:cubicBezTo>
                    <a:cubicBezTo>
                      <a:pt x="116" y="1"/>
                      <a:pt x="116" y="1"/>
                      <a:pt x="116" y="1"/>
                    </a:cubicBezTo>
                    <a:cubicBezTo>
                      <a:pt x="116" y="1"/>
                      <a:pt x="116" y="1"/>
                      <a:pt x="115" y="1"/>
                    </a:cubicBezTo>
                    <a:cubicBezTo>
                      <a:pt x="114" y="2"/>
                      <a:pt x="114" y="2"/>
                      <a:pt x="114" y="2"/>
                    </a:cubicBezTo>
                    <a:cubicBezTo>
                      <a:pt x="114" y="2"/>
                      <a:pt x="114" y="2"/>
                      <a:pt x="113" y="2"/>
                    </a:cubicBezTo>
                    <a:cubicBezTo>
                      <a:pt x="112" y="2"/>
                      <a:pt x="112" y="2"/>
                      <a:pt x="112" y="2"/>
                    </a:cubicBezTo>
                    <a:cubicBezTo>
                      <a:pt x="112" y="2"/>
                      <a:pt x="112" y="2"/>
                      <a:pt x="112" y="2"/>
                    </a:cubicBezTo>
                    <a:cubicBezTo>
                      <a:pt x="112" y="2"/>
                      <a:pt x="111" y="3"/>
                      <a:pt x="111" y="3"/>
                    </a:cubicBezTo>
                    <a:cubicBezTo>
                      <a:pt x="110" y="3"/>
                      <a:pt x="110" y="3"/>
                      <a:pt x="110" y="3"/>
                    </a:cubicBezTo>
                    <a:cubicBezTo>
                      <a:pt x="110" y="4"/>
                      <a:pt x="109" y="4"/>
                      <a:pt x="108" y="4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7" y="70"/>
                      <a:pt x="7" y="70"/>
                      <a:pt x="7" y="70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16" y="8"/>
                      <a:pt x="116" y="7"/>
                      <a:pt x="117" y="7"/>
                    </a:cubicBezTo>
                    <a:lnTo>
                      <a:pt x="118" y="7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2" name="任意多边形: 形状 371">
                <a:extLst>
                  <a:ext uri="{FF2B5EF4-FFF2-40B4-BE49-F238E27FC236}">
                    <a16:creationId xmlns:a16="http://schemas.microsoft.com/office/drawing/2014/main" id="{83D284E5-6E2D-4CC9-8DA4-416988E3B594}"/>
                  </a:ext>
                </a:extLst>
              </p:cNvPr>
              <p:cNvSpPr/>
              <p:nvPr/>
            </p:nvSpPr>
            <p:spPr bwMode="auto">
              <a:xfrm>
                <a:off x="6301014" y="3147270"/>
                <a:ext cx="851802" cy="462936"/>
              </a:xfrm>
              <a:custGeom>
                <a:avLst/>
                <a:gdLst>
                  <a:gd name="T0" fmla="*/ 108 w 155"/>
                  <a:gd name="T1" fmla="*/ 10 h 84"/>
                  <a:gd name="T2" fmla="*/ 155 w 155"/>
                  <a:gd name="T3" fmla="*/ 33 h 84"/>
                  <a:gd name="T4" fmla="*/ 152 w 155"/>
                  <a:gd name="T5" fmla="*/ 39 h 84"/>
                  <a:gd name="T6" fmla="*/ 151 w 155"/>
                  <a:gd name="T7" fmla="*/ 40 h 84"/>
                  <a:gd name="T8" fmla="*/ 144 w 155"/>
                  <a:gd name="T9" fmla="*/ 39 h 84"/>
                  <a:gd name="T10" fmla="*/ 108 w 155"/>
                  <a:gd name="T11" fmla="*/ 22 h 84"/>
                  <a:gd name="T12" fmla="*/ 0 w 155"/>
                  <a:gd name="T13" fmla="*/ 84 h 84"/>
                  <a:gd name="T14" fmla="*/ 0 w 155"/>
                  <a:gd name="T15" fmla="*/ 72 h 84"/>
                  <a:gd name="T16" fmla="*/ 108 w 155"/>
                  <a:gd name="T17" fmla="*/ 1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5" h="84">
                    <a:moveTo>
                      <a:pt x="108" y="10"/>
                    </a:moveTo>
                    <a:cubicBezTo>
                      <a:pt x="125" y="0"/>
                      <a:pt x="148" y="6"/>
                      <a:pt x="155" y="33"/>
                    </a:cubicBezTo>
                    <a:cubicBezTo>
                      <a:pt x="155" y="35"/>
                      <a:pt x="154" y="38"/>
                      <a:pt x="152" y="39"/>
                    </a:cubicBezTo>
                    <a:cubicBezTo>
                      <a:pt x="152" y="40"/>
                      <a:pt x="151" y="40"/>
                      <a:pt x="151" y="40"/>
                    </a:cubicBezTo>
                    <a:cubicBezTo>
                      <a:pt x="148" y="42"/>
                      <a:pt x="145" y="41"/>
                      <a:pt x="144" y="39"/>
                    </a:cubicBezTo>
                    <a:cubicBezTo>
                      <a:pt x="137" y="18"/>
                      <a:pt x="119" y="15"/>
                      <a:pt x="108" y="22"/>
                    </a:cubicBezTo>
                    <a:cubicBezTo>
                      <a:pt x="0" y="84"/>
                      <a:pt x="0" y="84"/>
                      <a:pt x="0" y="84"/>
                    </a:cubicBezTo>
                    <a:cubicBezTo>
                      <a:pt x="0" y="72"/>
                      <a:pt x="0" y="72"/>
                      <a:pt x="0" y="72"/>
                    </a:cubicBezTo>
                    <a:lnTo>
                      <a:pt x="108" y="10"/>
                    </a:lnTo>
                    <a:close/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3" name="任意多边形: 形状 372">
                <a:extLst>
                  <a:ext uri="{FF2B5EF4-FFF2-40B4-BE49-F238E27FC236}">
                    <a16:creationId xmlns:a16="http://schemas.microsoft.com/office/drawing/2014/main" id="{233A070C-CF87-4EAB-8308-4219C63DFE10}"/>
                  </a:ext>
                </a:extLst>
              </p:cNvPr>
              <p:cNvSpPr/>
              <p:nvPr/>
            </p:nvSpPr>
            <p:spPr bwMode="auto">
              <a:xfrm>
                <a:off x="6295723" y="3570526"/>
                <a:ext cx="468227" cy="589913"/>
              </a:xfrm>
              <a:custGeom>
                <a:avLst/>
                <a:gdLst>
                  <a:gd name="T0" fmla="*/ 81 w 85"/>
                  <a:gd name="T1" fmla="*/ 102 h 107"/>
                  <a:gd name="T2" fmla="*/ 78 w 85"/>
                  <a:gd name="T3" fmla="*/ 103 h 107"/>
                  <a:gd name="T4" fmla="*/ 73 w 85"/>
                  <a:gd name="T5" fmla="*/ 102 h 107"/>
                  <a:gd name="T6" fmla="*/ 69 w 85"/>
                  <a:gd name="T7" fmla="*/ 101 h 107"/>
                  <a:gd name="T8" fmla="*/ 63 w 85"/>
                  <a:gd name="T9" fmla="*/ 98 h 107"/>
                  <a:gd name="T10" fmla="*/ 35 w 85"/>
                  <a:gd name="T11" fmla="*/ 82 h 107"/>
                  <a:gd name="T12" fmla="*/ 29 w 85"/>
                  <a:gd name="T13" fmla="*/ 77 h 107"/>
                  <a:gd name="T14" fmla="*/ 26 w 85"/>
                  <a:gd name="T15" fmla="*/ 74 h 107"/>
                  <a:gd name="T16" fmla="*/ 21 w 85"/>
                  <a:gd name="T17" fmla="*/ 69 h 107"/>
                  <a:gd name="T18" fmla="*/ 19 w 85"/>
                  <a:gd name="T19" fmla="*/ 65 h 107"/>
                  <a:gd name="T20" fmla="*/ 15 w 85"/>
                  <a:gd name="T21" fmla="*/ 58 h 107"/>
                  <a:gd name="T22" fmla="*/ 13 w 85"/>
                  <a:gd name="T23" fmla="*/ 55 h 107"/>
                  <a:gd name="T24" fmla="*/ 10 w 85"/>
                  <a:gd name="T25" fmla="*/ 47 h 107"/>
                  <a:gd name="T26" fmla="*/ 9 w 85"/>
                  <a:gd name="T27" fmla="*/ 43 h 107"/>
                  <a:gd name="T28" fmla="*/ 8 w 85"/>
                  <a:gd name="T29" fmla="*/ 36 h 107"/>
                  <a:gd name="T30" fmla="*/ 6 w 85"/>
                  <a:gd name="T31" fmla="*/ 9 h 107"/>
                  <a:gd name="T32" fmla="*/ 6 w 85"/>
                  <a:gd name="T33" fmla="*/ 6 h 107"/>
                  <a:gd name="T34" fmla="*/ 7 w 85"/>
                  <a:gd name="T35" fmla="*/ 5 h 107"/>
                  <a:gd name="T36" fmla="*/ 8 w 85"/>
                  <a:gd name="T37" fmla="*/ 3 h 107"/>
                  <a:gd name="T38" fmla="*/ 9 w 85"/>
                  <a:gd name="T39" fmla="*/ 1 h 107"/>
                  <a:gd name="T40" fmla="*/ 10 w 85"/>
                  <a:gd name="T41" fmla="*/ 0 h 107"/>
                  <a:gd name="T42" fmla="*/ 2 w 85"/>
                  <a:gd name="T43" fmla="*/ 5 h 107"/>
                  <a:gd name="T44" fmla="*/ 1 w 85"/>
                  <a:gd name="T45" fmla="*/ 6 h 107"/>
                  <a:gd name="T46" fmla="*/ 1 w 85"/>
                  <a:gd name="T47" fmla="*/ 7 h 107"/>
                  <a:gd name="T48" fmla="*/ 0 w 85"/>
                  <a:gd name="T49" fmla="*/ 8 h 107"/>
                  <a:gd name="T50" fmla="*/ 0 w 85"/>
                  <a:gd name="T51" fmla="*/ 9 h 107"/>
                  <a:gd name="T52" fmla="*/ 0 w 85"/>
                  <a:gd name="T53" fmla="*/ 10 h 107"/>
                  <a:gd name="T54" fmla="*/ 0 w 85"/>
                  <a:gd name="T55" fmla="*/ 11 h 107"/>
                  <a:gd name="T56" fmla="*/ 0 w 85"/>
                  <a:gd name="T57" fmla="*/ 12 h 107"/>
                  <a:gd name="T58" fmla="*/ 0 w 85"/>
                  <a:gd name="T59" fmla="*/ 13 h 107"/>
                  <a:gd name="T60" fmla="*/ 1 w 85"/>
                  <a:gd name="T61" fmla="*/ 39 h 107"/>
                  <a:gd name="T62" fmla="*/ 1 w 85"/>
                  <a:gd name="T63" fmla="*/ 40 h 107"/>
                  <a:gd name="T64" fmla="*/ 2 w 85"/>
                  <a:gd name="T65" fmla="*/ 44 h 107"/>
                  <a:gd name="T66" fmla="*/ 2 w 85"/>
                  <a:gd name="T67" fmla="*/ 47 h 107"/>
                  <a:gd name="T68" fmla="*/ 3 w 85"/>
                  <a:gd name="T69" fmla="*/ 48 h 107"/>
                  <a:gd name="T70" fmla="*/ 4 w 85"/>
                  <a:gd name="T71" fmla="*/ 51 h 107"/>
                  <a:gd name="T72" fmla="*/ 5 w 85"/>
                  <a:gd name="T73" fmla="*/ 55 h 107"/>
                  <a:gd name="T74" fmla="*/ 5 w 85"/>
                  <a:gd name="T75" fmla="*/ 56 h 107"/>
                  <a:gd name="T76" fmla="*/ 6 w 85"/>
                  <a:gd name="T77" fmla="*/ 59 h 107"/>
                  <a:gd name="T78" fmla="*/ 8 w 85"/>
                  <a:gd name="T79" fmla="*/ 62 h 107"/>
                  <a:gd name="T80" fmla="*/ 10 w 85"/>
                  <a:gd name="T81" fmla="*/ 65 h 107"/>
                  <a:gd name="T82" fmla="*/ 12 w 85"/>
                  <a:gd name="T83" fmla="*/ 69 h 107"/>
                  <a:gd name="T84" fmla="*/ 14 w 85"/>
                  <a:gd name="T85" fmla="*/ 72 h 107"/>
                  <a:gd name="T86" fmla="*/ 16 w 85"/>
                  <a:gd name="T87" fmla="*/ 74 h 107"/>
                  <a:gd name="T88" fmla="*/ 17 w 85"/>
                  <a:gd name="T89" fmla="*/ 76 h 107"/>
                  <a:gd name="T90" fmla="*/ 20 w 85"/>
                  <a:gd name="T91" fmla="*/ 78 h 107"/>
                  <a:gd name="T92" fmla="*/ 22 w 85"/>
                  <a:gd name="T93" fmla="*/ 80 h 107"/>
                  <a:gd name="T94" fmla="*/ 23 w 85"/>
                  <a:gd name="T95" fmla="*/ 82 h 107"/>
                  <a:gd name="T96" fmla="*/ 26 w 85"/>
                  <a:gd name="T97" fmla="*/ 84 h 107"/>
                  <a:gd name="T98" fmla="*/ 28 w 85"/>
                  <a:gd name="T99" fmla="*/ 86 h 107"/>
                  <a:gd name="T100" fmla="*/ 30 w 85"/>
                  <a:gd name="T101" fmla="*/ 87 h 107"/>
                  <a:gd name="T102" fmla="*/ 57 w 85"/>
                  <a:gd name="T103" fmla="*/ 102 h 107"/>
                  <a:gd name="T104" fmla="*/ 60 w 85"/>
                  <a:gd name="T105" fmla="*/ 104 h 107"/>
                  <a:gd name="T106" fmla="*/ 61 w 85"/>
                  <a:gd name="T107" fmla="*/ 105 h 107"/>
                  <a:gd name="T108" fmla="*/ 63 w 85"/>
                  <a:gd name="T109" fmla="*/ 105 h 107"/>
                  <a:gd name="T110" fmla="*/ 66 w 85"/>
                  <a:gd name="T111" fmla="*/ 106 h 107"/>
                  <a:gd name="T112" fmla="*/ 68 w 85"/>
                  <a:gd name="T113" fmla="*/ 106 h 107"/>
                  <a:gd name="T114" fmla="*/ 69 w 85"/>
                  <a:gd name="T115" fmla="*/ 107 h 107"/>
                  <a:gd name="T116" fmla="*/ 72 w 85"/>
                  <a:gd name="T117" fmla="*/ 107 h 107"/>
                  <a:gd name="T118" fmla="*/ 74 w 85"/>
                  <a:gd name="T119" fmla="*/ 106 h 107"/>
                  <a:gd name="T120" fmla="*/ 76 w 85"/>
                  <a:gd name="T121" fmla="*/ 10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5" h="107">
                    <a:moveTo>
                      <a:pt x="85" y="101"/>
                    </a:moveTo>
                    <a:cubicBezTo>
                      <a:pt x="84" y="101"/>
                      <a:pt x="84" y="101"/>
                      <a:pt x="83" y="102"/>
                    </a:cubicBezTo>
                    <a:cubicBezTo>
                      <a:pt x="82" y="102"/>
                      <a:pt x="81" y="102"/>
                      <a:pt x="81" y="102"/>
                    </a:cubicBezTo>
                    <a:cubicBezTo>
                      <a:pt x="81" y="102"/>
                      <a:pt x="81" y="102"/>
                      <a:pt x="81" y="102"/>
                    </a:cubicBezTo>
                    <a:cubicBezTo>
                      <a:pt x="80" y="103"/>
                      <a:pt x="79" y="103"/>
                      <a:pt x="78" y="103"/>
                    </a:cubicBezTo>
                    <a:cubicBezTo>
                      <a:pt x="78" y="103"/>
                      <a:pt x="78" y="103"/>
                      <a:pt x="78" y="103"/>
                    </a:cubicBezTo>
                    <a:cubicBezTo>
                      <a:pt x="77" y="103"/>
                      <a:pt x="76" y="103"/>
                      <a:pt x="75" y="103"/>
                    </a:cubicBezTo>
                    <a:cubicBezTo>
                      <a:pt x="75" y="103"/>
                      <a:pt x="75" y="103"/>
                      <a:pt x="75" y="103"/>
                    </a:cubicBezTo>
                    <a:cubicBezTo>
                      <a:pt x="74" y="103"/>
                      <a:pt x="73" y="102"/>
                      <a:pt x="73" y="102"/>
                    </a:cubicBezTo>
                    <a:cubicBezTo>
                      <a:pt x="72" y="102"/>
                      <a:pt x="72" y="102"/>
                      <a:pt x="72" y="102"/>
                    </a:cubicBezTo>
                    <a:cubicBezTo>
                      <a:pt x="71" y="102"/>
                      <a:pt x="70" y="102"/>
                      <a:pt x="70" y="101"/>
                    </a:cubicBezTo>
                    <a:cubicBezTo>
                      <a:pt x="69" y="101"/>
                      <a:pt x="69" y="101"/>
                      <a:pt x="69" y="101"/>
                    </a:cubicBezTo>
                    <a:cubicBezTo>
                      <a:pt x="68" y="101"/>
                      <a:pt x="67" y="101"/>
                      <a:pt x="66" y="100"/>
                    </a:cubicBezTo>
                    <a:cubicBezTo>
                      <a:pt x="66" y="100"/>
                      <a:pt x="66" y="100"/>
                      <a:pt x="66" y="100"/>
                    </a:cubicBezTo>
                    <a:cubicBezTo>
                      <a:pt x="65" y="100"/>
                      <a:pt x="64" y="99"/>
                      <a:pt x="63" y="98"/>
                    </a:cubicBezTo>
                    <a:cubicBezTo>
                      <a:pt x="38" y="84"/>
                      <a:pt x="38" y="84"/>
                      <a:pt x="38" y="84"/>
                    </a:cubicBezTo>
                    <a:cubicBezTo>
                      <a:pt x="37" y="83"/>
                      <a:pt x="36" y="83"/>
                      <a:pt x="35" y="82"/>
                    </a:cubicBezTo>
                    <a:cubicBezTo>
                      <a:pt x="35" y="82"/>
                      <a:pt x="35" y="82"/>
                      <a:pt x="35" y="82"/>
                    </a:cubicBezTo>
                    <a:cubicBezTo>
                      <a:pt x="34" y="81"/>
                      <a:pt x="33" y="81"/>
                      <a:pt x="32" y="80"/>
                    </a:cubicBezTo>
                    <a:cubicBezTo>
                      <a:pt x="32" y="80"/>
                      <a:pt x="32" y="80"/>
                      <a:pt x="32" y="80"/>
                    </a:cubicBezTo>
                    <a:cubicBezTo>
                      <a:pt x="31" y="79"/>
                      <a:pt x="30" y="78"/>
                      <a:pt x="29" y="77"/>
                    </a:cubicBezTo>
                    <a:cubicBezTo>
                      <a:pt x="29" y="77"/>
                      <a:pt x="29" y="77"/>
                      <a:pt x="29" y="77"/>
                    </a:cubicBezTo>
                    <a:cubicBezTo>
                      <a:pt x="28" y="76"/>
                      <a:pt x="27" y="76"/>
                      <a:pt x="27" y="75"/>
                    </a:cubicBezTo>
                    <a:cubicBezTo>
                      <a:pt x="26" y="74"/>
                      <a:pt x="26" y="74"/>
                      <a:pt x="26" y="74"/>
                    </a:cubicBezTo>
                    <a:cubicBezTo>
                      <a:pt x="25" y="74"/>
                      <a:pt x="25" y="73"/>
                      <a:pt x="24" y="72"/>
                    </a:cubicBezTo>
                    <a:cubicBezTo>
                      <a:pt x="24" y="72"/>
                      <a:pt x="24" y="72"/>
                      <a:pt x="24" y="72"/>
                    </a:cubicBezTo>
                    <a:cubicBezTo>
                      <a:pt x="23" y="71"/>
                      <a:pt x="22" y="70"/>
                      <a:pt x="21" y="69"/>
                    </a:cubicBezTo>
                    <a:cubicBezTo>
                      <a:pt x="21" y="68"/>
                      <a:pt x="21" y="68"/>
                      <a:pt x="21" y="68"/>
                    </a:cubicBezTo>
                    <a:cubicBezTo>
                      <a:pt x="20" y="67"/>
                      <a:pt x="20" y="66"/>
                      <a:pt x="19" y="65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9" y="65"/>
                      <a:pt x="19" y="65"/>
                      <a:pt x="19" y="65"/>
                    </a:cubicBezTo>
                    <a:cubicBezTo>
                      <a:pt x="18" y="64"/>
                      <a:pt x="17" y="63"/>
                      <a:pt x="17" y="62"/>
                    </a:cubicBezTo>
                    <a:cubicBezTo>
                      <a:pt x="16" y="61"/>
                      <a:pt x="15" y="60"/>
                      <a:pt x="15" y="58"/>
                    </a:cubicBezTo>
                    <a:cubicBezTo>
                      <a:pt x="15" y="58"/>
                      <a:pt x="15" y="58"/>
                      <a:pt x="15" y="58"/>
                    </a:cubicBezTo>
                    <a:cubicBezTo>
                      <a:pt x="14" y="57"/>
                      <a:pt x="14" y="56"/>
                      <a:pt x="13" y="55"/>
                    </a:cubicBezTo>
                    <a:cubicBezTo>
                      <a:pt x="13" y="55"/>
                      <a:pt x="13" y="55"/>
                      <a:pt x="13" y="55"/>
                    </a:cubicBezTo>
                    <a:cubicBezTo>
                      <a:pt x="12" y="53"/>
                      <a:pt x="12" y="52"/>
                      <a:pt x="11" y="51"/>
                    </a:cubicBezTo>
                    <a:cubicBezTo>
                      <a:pt x="11" y="51"/>
                      <a:pt x="11" y="51"/>
                      <a:pt x="11" y="51"/>
                    </a:cubicBezTo>
                    <a:cubicBezTo>
                      <a:pt x="11" y="50"/>
                      <a:pt x="11" y="49"/>
                      <a:pt x="10" y="47"/>
                    </a:cubicBezTo>
                    <a:cubicBezTo>
                      <a:pt x="10" y="47"/>
                      <a:pt x="10" y="47"/>
                      <a:pt x="10" y="47"/>
                    </a:cubicBezTo>
                    <a:cubicBezTo>
                      <a:pt x="10" y="46"/>
                      <a:pt x="9" y="45"/>
                      <a:pt x="9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2"/>
                      <a:pt x="8" y="41"/>
                      <a:pt x="8" y="40"/>
                    </a:cubicBezTo>
                    <a:cubicBezTo>
                      <a:pt x="8" y="40"/>
                      <a:pt x="8" y="40"/>
                      <a:pt x="8" y="40"/>
                    </a:cubicBezTo>
                    <a:cubicBezTo>
                      <a:pt x="8" y="39"/>
                      <a:pt x="8" y="37"/>
                      <a:pt x="8" y="36"/>
                    </a:cubicBezTo>
                    <a:cubicBezTo>
                      <a:pt x="8" y="36"/>
                      <a:pt x="8" y="36"/>
                      <a:pt x="8" y="36"/>
                    </a:cubicBezTo>
                    <a:cubicBezTo>
                      <a:pt x="7" y="35"/>
                      <a:pt x="7" y="34"/>
                      <a:pt x="7" y="32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6" y="7"/>
                      <a:pt x="6" y="6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7" y="6"/>
                      <a:pt x="7" y="5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3"/>
                      <a:pt x="7" y="3"/>
                      <a:pt x="7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8" y="2"/>
                      <a:pt x="8" y="2"/>
                      <a:pt x="8" y="2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2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0"/>
                      <a:pt x="0" y="10"/>
                      <a:pt x="0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1" y="36"/>
                      <a:pt x="1" y="36"/>
                      <a:pt x="1" y="36"/>
                    </a:cubicBezTo>
                    <a:cubicBezTo>
                      <a:pt x="1" y="37"/>
                      <a:pt x="1" y="37"/>
                      <a:pt x="1" y="37"/>
                    </a:cubicBezTo>
                    <a:cubicBezTo>
                      <a:pt x="1" y="38"/>
                      <a:pt x="1" y="38"/>
                      <a:pt x="1" y="39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0"/>
                      <a:pt x="1" y="40"/>
                      <a:pt x="1" y="40"/>
                    </a:cubicBezTo>
                    <a:cubicBezTo>
                      <a:pt x="1" y="41"/>
                      <a:pt x="1" y="41"/>
                      <a:pt x="1" y="42"/>
                    </a:cubicBezTo>
                    <a:cubicBezTo>
                      <a:pt x="1" y="42"/>
                      <a:pt x="1" y="43"/>
                      <a:pt x="1" y="43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2" y="44"/>
                      <a:pt x="2" y="44"/>
                    </a:cubicBezTo>
                    <a:cubicBezTo>
                      <a:pt x="2" y="44"/>
                      <a:pt x="2" y="45"/>
                      <a:pt x="2" y="45"/>
                    </a:cubicBezTo>
                    <a:cubicBezTo>
                      <a:pt x="2" y="46"/>
                      <a:pt x="2" y="46"/>
                      <a:pt x="2" y="47"/>
                    </a:cubicBezTo>
                    <a:cubicBezTo>
                      <a:pt x="2" y="47"/>
                      <a:pt x="2" y="47"/>
                      <a:pt x="2" y="47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3" y="48"/>
                      <a:pt x="3" y="48"/>
                      <a:pt x="3" y="48"/>
                    </a:cubicBezTo>
                    <a:cubicBezTo>
                      <a:pt x="3" y="49"/>
                      <a:pt x="3" y="49"/>
                      <a:pt x="3" y="50"/>
                    </a:cubicBezTo>
                    <a:cubicBezTo>
                      <a:pt x="3" y="51"/>
                      <a:pt x="3" y="51"/>
                      <a:pt x="3" y="51"/>
                    </a:cubicBezTo>
                    <a:cubicBezTo>
                      <a:pt x="4" y="51"/>
                      <a:pt x="4" y="51"/>
                      <a:pt x="4" y="51"/>
                    </a:cubicBezTo>
                    <a:cubicBezTo>
                      <a:pt x="4" y="52"/>
                      <a:pt x="4" y="52"/>
                      <a:pt x="4" y="52"/>
                    </a:cubicBezTo>
                    <a:cubicBezTo>
                      <a:pt x="4" y="52"/>
                      <a:pt x="4" y="53"/>
                      <a:pt x="4" y="53"/>
                    </a:cubicBezTo>
                    <a:cubicBezTo>
                      <a:pt x="4" y="54"/>
                      <a:pt x="5" y="54"/>
                      <a:pt x="5" y="55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5" y="55"/>
                      <a:pt x="5" y="55"/>
                      <a:pt x="5" y="55"/>
                    </a:cubicBezTo>
                    <a:cubicBezTo>
                      <a:pt x="5" y="55"/>
                      <a:pt x="5" y="56"/>
                      <a:pt x="5" y="56"/>
                    </a:cubicBezTo>
                    <a:cubicBezTo>
                      <a:pt x="6" y="57"/>
                      <a:pt x="6" y="57"/>
                      <a:pt x="6" y="58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6" y="59"/>
                      <a:pt x="6" y="59"/>
                      <a:pt x="6" y="59"/>
                    </a:cubicBezTo>
                    <a:cubicBezTo>
                      <a:pt x="7" y="59"/>
                      <a:pt x="7" y="59"/>
                      <a:pt x="7" y="59"/>
                    </a:cubicBezTo>
                    <a:cubicBezTo>
                      <a:pt x="7" y="60"/>
                      <a:pt x="7" y="60"/>
                      <a:pt x="7" y="61"/>
                    </a:cubicBezTo>
                    <a:cubicBezTo>
                      <a:pt x="8" y="61"/>
                      <a:pt x="8" y="62"/>
                      <a:pt x="8" y="62"/>
                    </a:cubicBezTo>
                    <a:cubicBezTo>
                      <a:pt x="8" y="62"/>
                      <a:pt x="8" y="62"/>
                      <a:pt x="8" y="62"/>
                    </a:cubicBezTo>
                    <a:cubicBezTo>
                      <a:pt x="8" y="63"/>
                      <a:pt x="8" y="63"/>
                      <a:pt x="8" y="63"/>
                    </a:cubicBezTo>
                    <a:cubicBezTo>
                      <a:pt x="9" y="63"/>
                      <a:pt x="9" y="64"/>
                      <a:pt x="10" y="65"/>
                    </a:cubicBezTo>
                    <a:cubicBezTo>
                      <a:pt x="10" y="65"/>
                      <a:pt x="10" y="65"/>
                      <a:pt x="10" y="65"/>
                    </a:cubicBezTo>
                    <a:cubicBezTo>
                      <a:pt x="11" y="67"/>
                      <a:pt x="11" y="68"/>
                      <a:pt x="12" y="69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12" y="69"/>
                      <a:pt x="12" y="69"/>
                      <a:pt x="12" y="69"/>
                    </a:cubicBezTo>
                    <a:cubicBezTo>
                      <a:pt x="13" y="70"/>
                      <a:pt x="14" y="71"/>
                      <a:pt x="14" y="72"/>
                    </a:cubicBezTo>
                    <a:cubicBezTo>
                      <a:pt x="15" y="72"/>
                      <a:pt x="15" y="72"/>
                      <a:pt x="15" y="72"/>
                    </a:cubicBezTo>
                    <a:cubicBezTo>
                      <a:pt x="15" y="73"/>
                      <a:pt x="15" y="73"/>
                      <a:pt x="15" y="73"/>
                    </a:cubicBezTo>
                    <a:cubicBezTo>
                      <a:pt x="16" y="74"/>
                      <a:pt x="16" y="74"/>
                      <a:pt x="16" y="74"/>
                    </a:cubicBezTo>
                    <a:cubicBezTo>
                      <a:pt x="16" y="74"/>
                      <a:pt x="16" y="75"/>
                      <a:pt x="17" y="75"/>
                    </a:cubicBezTo>
                    <a:cubicBezTo>
                      <a:pt x="17" y="75"/>
                      <a:pt x="17" y="75"/>
                      <a:pt x="17" y="75"/>
                    </a:cubicBezTo>
                    <a:cubicBezTo>
                      <a:pt x="17" y="76"/>
                      <a:pt x="17" y="76"/>
                      <a:pt x="17" y="76"/>
                    </a:cubicBezTo>
                    <a:cubicBezTo>
                      <a:pt x="18" y="76"/>
                      <a:pt x="18" y="76"/>
                      <a:pt x="18" y="76"/>
                    </a:cubicBezTo>
                    <a:cubicBezTo>
                      <a:pt x="18" y="77"/>
                      <a:pt x="19" y="77"/>
                      <a:pt x="19" y="78"/>
                    </a:cubicBezTo>
                    <a:cubicBezTo>
                      <a:pt x="20" y="78"/>
                      <a:pt x="20" y="78"/>
                      <a:pt x="20" y="78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0" y="79"/>
                      <a:pt x="20" y="79"/>
                      <a:pt x="20" y="79"/>
                    </a:cubicBezTo>
                    <a:cubicBezTo>
                      <a:pt x="21" y="80"/>
                      <a:pt x="21" y="80"/>
                      <a:pt x="22" y="80"/>
                    </a:cubicBezTo>
                    <a:cubicBezTo>
                      <a:pt x="22" y="81"/>
                      <a:pt x="22" y="81"/>
                      <a:pt x="22" y="81"/>
                    </a:cubicBezTo>
                    <a:cubicBezTo>
                      <a:pt x="23" y="81"/>
                      <a:pt x="23" y="81"/>
                      <a:pt x="23" y="81"/>
                    </a:cubicBezTo>
                    <a:cubicBezTo>
                      <a:pt x="23" y="82"/>
                      <a:pt x="23" y="82"/>
                      <a:pt x="23" y="82"/>
                    </a:cubicBezTo>
                    <a:cubicBezTo>
                      <a:pt x="23" y="82"/>
                      <a:pt x="24" y="82"/>
                      <a:pt x="24" y="83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6" y="84"/>
                      <a:pt x="26" y="84"/>
                      <a:pt x="26" y="84"/>
                    </a:cubicBezTo>
                    <a:cubicBezTo>
                      <a:pt x="26" y="84"/>
                      <a:pt x="26" y="84"/>
                      <a:pt x="26" y="84"/>
                    </a:cubicBezTo>
                    <a:cubicBezTo>
                      <a:pt x="26" y="84"/>
                      <a:pt x="27" y="85"/>
                      <a:pt x="27" y="85"/>
                    </a:cubicBezTo>
                    <a:cubicBezTo>
                      <a:pt x="28" y="85"/>
                      <a:pt x="28" y="86"/>
                      <a:pt x="28" y="86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28" y="86"/>
                      <a:pt x="28" y="86"/>
                      <a:pt x="28" y="86"/>
                    </a:cubicBezTo>
                    <a:cubicBezTo>
                      <a:pt x="29" y="86"/>
                      <a:pt x="29" y="87"/>
                      <a:pt x="30" y="87"/>
                    </a:cubicBezTo>
                    <a:cubicBezTo>
                      <a:pt x="30" y="87"/>
                      <a:pt x="31" y="87"/>
                      <a:pt x="31" y="88"/>
                    </a:cubicBezTo>
                    <a:cubicBezTo>
                      <a:pt x="31" y="88"/>
                      <a:pt x="31" y="88"/>
                      <a:pt x="31" y="88"/>
                    </a:cubicBezTo>
                    <a:cubicBezTo>
                      <a:pt x="57" y="102"/>
                      <a:pt x="57" y="102"/>
                      <a:pt x="57" y="102"/>
                    </a:cubicBezTo>
                    <a:cubicBezTo>
                      <a:pt x="58" y="103"/>
                      <a:pt x="58" y="103"/>
                      <a:pt x="58" y="103"/>
                    </a:cubicBezTo>
                    <a:cubicBezTo>
                      <a:pt x="58" y="103"/>
                      <a:pt x="58" y="103"/>
                      <a:pt x="59" y="104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4"/>
                      <a:pt x="60" y="104"/>
                      <a:pt x="60" y="104"/>
                    </a:cubicBezTo>
                    <a:cubicBezTo>
                      <a:pt x="60" y="104"/>
                      <a:pt x="61" y="104"/>
                      <a:pt x="61" y="105"/>
                    </a:cubicBezTo>
                    <a:cubicBezTo>
                      <a:pt x="62" y="105"/>
                      <a:pt x="62" y="105"/>
                      <a:pt x="63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3" y="105"/>
                      <a:pt x="63" y="105"/>
                      <a:pt x="63" y="105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5" y="106"/>
                      <a:pt x="65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6" y="106"/>
                      <a:pt x="66" y="106"/>
                      <a:pt x="66" y="106"/>
                    </a:cubicBezTo>
                    <a:cubicBezTo>
                      <a:pt x="67" y="106"/>
                      <a:pt x="67" y="106"/>
                      <a:pt x="68" y="106"/>
                    </a:cubicBezTo>
                    <a:cubicBezTo>
                      <a:pt x="68" y="106"/>
                      <a:pt x="68" y="106"/>
                      <a:pt x="68" y="106"/>
                    </a:cubicBezTo>
                    <a:cubicBezTo>
                      <a:pt x="69" y="106"/>
                      <a:pt x="69" y="106"/>
                      <a:pt x="69" y="106"/>
                    </a:cubicBezTo>
                    <a:cubicBezTo>
                      <a:pt x="69" y="107"/>
                      <a:pt x="69" y="107"/>
                      <a:pt x="69" y="107"/>
                    </a:cubicBezTo>
                    <a:cubicBezTo>
                      <a:pt x="70" y="107"/>
                      <a:pt x="70" y="107"/>
                      <a:pt x="71" y="107"/>
                    </a:cubicBezTo>
                    <a:cubicBezTo>
                      <a:pt x="71" y="107"/>
                      <a:pt x="71" y="107"/>
                      <a:pt x="71" y="107"/>
                    </a:cubicBezTo>
                    <a:cubicBezTo>
                      <a:pt x="72" y="107"/>
                      <a:pt x="72" y="107"/>
                      <a:pt x="72" y="107"/>
                    </a:cubicBezTo>
                    <a:cubicBezTo>
                      <a:pt x="72" y="106"/>
                      <a:pt x="72" y="106"/>
                      <a:pt x="72" y="106"/>
                    </a:cubicBezTo>
                    <a:cubicBezTo>
                      <a:pt x="73" y="106"/>
                      <a:pt x="73" y="106"/>
                      <a:pt x="74" y="106"/>
                    </a:cubicBezTo>
                    <a:cubicBezTo>
                      <a:pt x="74" y="106"/>
                      <a:pt x="74" y="106"/>
                      <a:pt x="74" y="106"/>
                    </a:cubicBezTo>
                    <a:cubicBezTo>
                      <a:pt x="74" y="106"/>
                      <a:pt x="74" y="106"/>
                      <a:pt x="74" y="106"/>
                    </a:cubicBezTo>
                    <a:cubicBezTo>
                      <a:pt x="75" y="106"/>
                      <a:pt x="75" y="106"/>
                      <a:pt x="76" y="106"/>
                    </a:cubicBezTo>
                    <a:cubicBezTo>
                      <a:pt x="76" y="106"/>
                      <a:pt x="76" y="106"/>
                      <a:pt x="76" y="106"/>
                    </a:cubicBezTo>
                    <a:cubicBezTo>
                      <a:pt x="77" y="105"/>
                      <a:pt x="78" y="105"/>
                      <a:pt x="79" y="104"/>
                    </a:cubicBezTo>
                    <a:lnTo>
                      <a:pt x="85" y="101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4" name="任意多边形: 形状 373">
                <a:extLst>
                  <a:ext uri="{FF2B5EF4-FFF2-40B4-BE49-F238E27FC236}">
                    <a16:creationId xmlns:a16="http://schemas.microsoft.com/office/drawing/2014/main" id="{771D00D2-8DA5-4DDE-B7D3-19A3E2364FF1}"/>
                  </a:ext>
                </a:extLst>
              </p:cNvPr>
              <p:cNvSpPr/>
              <p:nvPr/>
            </p:nvSpPr>
            <p:spPr bwMode="auto">
              <a:xfrm>
                <a:off x="6774530" y="3996426"/>
                <a:ext cx="108460" cy="214274"/>
              </a:xfrm>
              <a:custGeom>
                <a:avLst/>
                <a:gdLst>
                  <a:gd name="T0" fmla="*/ 14 w 20"/>
                  <a:gd name="T1" fmla="*/ 4 h 39"/>
                  <a:gd name="T2" fmla="*/ 10 w 20"/>
                  <a:gd name="T3" fmla="*/ 22 h 39"/>
                  <a:gd name="T4" fmla="*/ 10 w 20"/>
                  <a:gd name="T5" fmla="*/ 25 h 39"/>
                  <a:gd name="T6" fmla="*/ 10 w 20"/>
                  <a:gd name="T7" fmla="*/ 25 h 39"/>
                  <a:gd name="T8" fmla="*/ 9 w 20"/>
                  <a:gd name="T9" fmla="*/ 27 h 39"/>
                  <a:gd name="T10" fmla="*/ 8 w 20"/>
                  <a:gd name="T11" fmla="*/ 28 h 39"/>
                  <a:gd name="T12" fmla="*/ 8 w 20"/>
                  <a:gd name="T13" fmla="*/ 30 h 39"/>
                  <a:gd name="T14" fmla="*/ 7 w 20"/>
                  <a:gd name="T15" fmla="*/ 32 h 39"/>
                  <a:gd name="T16" fmla="*/ 6 w 20"/>
                  <a:gd name="T17" fmla="*/ 32 h 39"/>
                  <a:gd name="T18" fmla="*/ 6 w 20"/>
                  <a:gd name="T19" fmla="*/ 33 h 39"/>
                  <a:gd name="T20" fmla="*/ 5 w 20"/>
                  <a:gd name="T21" fmla="*/ 34 h 39"/>
                  <a:gd name="T22" fmla="*/ 4 w 20"/>
                  <a:gd name="T23" fmla="*/ 35 h 39"/>
                  <a:gd name="T24" fmla="*/ 3 w 20"/>
                  <a:gd name="T25" fmla="*/ 36 h 39"/>
                  <a:gd name="T26" fmla="*/ 2 w 20"/>
                  <a:gd name="T27" fmla="*/ 37 h 39"/>
                  <a:gd name="T28" fmla="*/ 2 w 20"/>
                  <a:gd name="T29" fmla="*/ 37 h 39"/>
                  <a:gd name="T30" fmla="*/ 0 w 20"/>
                  <a:gd name="T31" fmla="*/ 39 h 39"/>
                  <a:gd name="T32" fmla="*/ 0 w 20"/>
                  <a:gd name="T33" fmla="*/ 39 h 39"/>
                  <a:gd name="T34" fmla="*/ 0 w 20"/>
                  <a:gd name="T35" fmla="*/ 39 h 39"/>
                  <a:gd name="T36" fmla="*/ 0 w 20"/>
                  <a:gd name="T37" fmla="*/ 39 h 39"/>
                  <a:gd name="T38" fmla="*/ 6 w 20"/>
                  <a:gd name="T39" fmla="*/ 35 h 39"/>
                  <a:gd name="T40" fmla="*/ 8 w 20"/>
                  <a:gd name="T41" fmla="*/ 34 h 39"/>
                  <a:gd name="T42" fmla="*/ 9 w 20"/>
                  <a:gd name="T43" fmla="*/ 33 h 39"/>
                  <a:gd name="T44" fmla="*/ 10 w 20"/>
                  <a:gd name="T45" fmla="*/ 32 h 39"/>
                  <a:gd name="T46" fmla="*/ 11 w 20"/>
                  <a:gd name="T47" fmla="*/ 31 h 39"/>
                  <a:gd name="T48" fmla="*/ 12 w 20"/>
                  <a:gd name="T49" fmla="*/ 30 h 39"/>
                  <a:gd name="T50" fmla="*/ 12 w 20"/>
                  <a:gd name="T51" fmla="*/ 29 h 39"/>
                  <a:gd name="T52" fmla="*/ 13 w 20"/>
                  <a:gd name="T53" fmla="*/ 28 h 39"/>
                  <a:gd name="T54" fmla="*/ 13 w 20"/>
                  <a:gd name="T55" fmla="*/ 28 h 39"/>
                  <a:gd name="T56" fmla="*/ 13 w 20"/>
                  <a:gd name="T57" fmla="*/ 28 h 39"/>
                  <a:gd name="T58" fmla="*/ 14 w 20"/>
                  <a:gd name="T59" fmla="*/ 26 h 39"/>
                  <a:gd name="T60" fmla="*/ 15 w 20"/>
                  <a:gd name="T61" fmla="*/ 26 h 39"/>
                  <a:gd name="T62" fmla="*/ 15 w 20"/>
                  <a:gd name="T63" fmla="*/ 24 h 39"/>
                  <a:gd name="T64" fmla="*/ 15 w 20"/>
                  <a:gd name="T65" fmla="*/ 24 h 39"/>
                  <a:gd name="T66" fmla="*/ 16 w 20"/>
                  <a:gd name="T67" fmla="*/ 23 h 39"/>
                  <a:gd name="T68" fmla="*/ 16 w 20"/>
                  <a:gd name="T69" fmla="*/ 21 h 39"/>
                  <a:gd name="T70" fmla="*/ 16 w 20"/>
                  <a:gd name="T71" fmla="*/ 21 h 39"/>
                  <a:gd name="T72" fmla="*/ 16 w 20"/>
                  <a:gd name="T73" fmla="*/ 21 h 39"/>
                  <a:gd name="T74" fmla="*/ 17 w 20"/>
                  <a:gd name="T75" fmla="*/ 19 h 39"/>
                  <a:gd name="T76" fmla="*/ 17 w 20"/>
                  <a:gd name="T77" fmla="*/ 18 h 39"/>
                  <a:gd name="T78" fmla="*/ 20 w 20"/>
                  <a:gd name="T79" fmla="*/ 0 h 39"/>
                  <a:gd name="T80" fmla="*/ 14 w 20"/>
                  <a:gd name="T81" fmla="*/ 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0" h="39">
                    <a:moveTo>
                      <a:pt x="14" y="4"/>
                    </a:moveTo>
                    <a:cubicBezTo>
                      <a:pt x="10" y="22"/>
                      <a:pt x="10" y="22"/>
                      <a:pt x="10" y="22"/>
                    </a:cubicBezTo>
                    <a:cubicBezTo>
                      <a:pt x="10" y="23"/>
                      <a:pt x="10" y="24"/>
                      <a:pt x="10" y="25"/>
                    </a:cubicBezTo>
                    <a:cubicBezTo>
                      <a:pt x="10" y="25"/>
                      <a:pt x="10" y="25"/>
                      <a:pt x="10" y="25"/>
                    </a:cubicBezTo>
                    <a:cubicBezTo>
                      <a:pt x="9" y="26"/>
                      <a:pt x="9" y="27"/>
                      <a:pt x="9" y="27"/>
                    </a:cubicBezTo>
                    <a:cubicBezTo>
                      <a:pt x="8" y="28"/>
                      <a:pt x="8" y="28"/>
                      <a:pt x="8" y="28"/>
                    </a:cubicBezTo>
                    <a:cubicBezTo>
                      <a:pt x="8" y="29"/>
                      <a:pt x="8" y="29"/>
                      <a:pt x="8" y="30"/>
                    </a:cubicBezTo>
                    <a:cubicBezTo>
                      <a:pt x="7" y="31"/>
                      <a:pt x="7" y="31"/>
                      <a:pt x="7" y="32"/>
                    </a:cubicBezTo>
                    <a:cubicBezTo>
                      <a:pt x="6" y="32"/>
                      <a:pt x="6" y="32"/>
                      <a:pt x="6" y="32"/>
                    </a:cubicBezTo>
                    <a:cubicBezTo>
                      <a:pt x="6" y="33"/>
                      <a:pt x="6" y="33"/>
                      <a:pt x="6" y="33"/>
                    </a:cubicBezTo>
                    <a:cubicBezTo>
                      <a:pt x="5" y="34"/>
                      <a:pt x="5" y="34"/>
                      <a:pt x="5" y="34"/>
                    </a:cubicBezTo>
                    <a:cubicBezTo>
                      <a:pt x="5" y="35"/>
                      <a:pt x="4" y="35"/>
                      <a:pt x="4" y="35"/>
                    </a:cubicBezTo>
                    <a:cubicBezTo>
                      <a:pt x="3" y="36"/>
                      <a:pt x="3" y="36"/>
                      <a:pt x="3" y="36"/>
                    </a:cubicBezTo>
                    <a:cubicBezTo>
                      <a:pt x="3" y="36"/>
                      <a:pt x="3" y="37"/>
                      <a:pt x="2" y="37"/>
                    </a:cubicBezTo>
                    <a:cubicBezTo>
                      <a:pt x="2" y="37"/>
                      <a:pt x="2" y="37"/>
                      <a:pt x="2" y="37"/>
                    </a:cubicBezTo>
                    <a:cubicBezTo>
                      <a:pt x="1" y="38"/>
                      <a:pt x="1" y="38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0" y="39"/>
                      <a:pt x="0" y="39"/>
                      <a:pt x="0" y="39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7" y="34"/>
                      <a:pt x="8" y="34"/>
                      <a:pt x="8" y="34"/>
                    </a:cubicBezTo>
                    <a:cubicBezTo>
                      <a:pt x="9" y="33"/>
                      <a:pt x="9" y="33"/>
                      <a:pt x="9" y="33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11" y="31"/>
                      <a:pt x="11" y="31"/>
                      <a:pt x="11" y="31"/>
                    </a:cubicBezTo>
                    <a:cubicBezTo>
                      <a:pt x="11" y="31"/>
                      <a:pt x="11" y="31"/>
                      <a:pt x="12" y="30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3" y="29"/>
                      <a:pt x="13" y="29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3" y="28"/>
                      <a:pt x="13" y="28"/>
                      <a:pt x="13" y="28"/>
                    </a:cubicBezTo>
                    <a:cubicBezTo>
                      <a:pt x="14" y="27"/>
                      <a:pt x="14" y="27"/>
                      <a:pt x="14" y="26"/>
                    </a:cubicBezTo>
                    <a:cubicBezTo>
                      <a:pt x="15" y="26"/>
                      <a:pt x="15" y="26"/>
                      <a:pt x="15" y="26"/>
                    </a:cubicBezTo>
                    <a:cubicBezTo>
                      <a:pt x="15" y="25"/>
                      <a:pt x="15" y="25"/>
                      <a:pt x="15" y="24"/>
                    </a:cubicBezTo>
                    <a:cubicBezTo>
                      <a:pt x="15" y="24"/>
                      <a:pt x="15" y="24"/>
                      <a:pt x="15" y="24"/>
                    </a:cubicBezTo>
                    <a:cubicBezTo>
                      <a:pt x="16" y="23"/>
                      <a:pt x="16" y="23"/>
                      <a:pt x="16" y="23"/>
                    </a:cubicBezTo>
                    <a:cubicBezTo>
                      <a:pt x="16" y="23"/>
                      <a:pt x="16" y="22"/>
                      <a:pt x="16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6" y="20"/>
                      <a:pt x="17" y="20"/>
                      <a:pt x="17" y="19"/>
                    </a:cubicBezTo>
                    <a:cubicBezTo>
                      <a:pt x="17" y="19"/>
                      <a:pt x="17" y="19"/>
                      <a:pt x="17" y="18"/>
                    </a:cubicBezTo>
                    <a:cubicBezTo>
                      <a:pt x="20" y="0"/>
                      <a:pt x="20" y="0"/>
                      <a:pt x="20" y="0"/>
                    </a:cubicBezTo>
                    <a:lnTo>
                      <a:pt x="14" y="4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5" name="任意多边形: 形状 374">
                <a:extLst>
                  <a:ext uri="{FF2B5EF4-FFF2-40B4-BE49-F238E27FC236}">
                    <a16:creationId xmlns:a16="http://schemas.microsoft.com/office/drawing/2014/main" id="{002FCCB0-73B2-4D93-BECA-DFC093EE5E3D}"/>
                  </a:ext>
                </a:extLst>
              </p:cNvPr>
              <p:cNvSpPr/>
              <p:nvPr/>
            </p:nvSpPr>
            <p:spPr bwMode="auto">
              <a:xfrm>
                <a:off x="6258688" y="3488519"/>
                <a:ext cx="632239" cy="402093"/>
              </a:xfrm>
              <a:custGeom>
                <a:avLst/>
                <a:gdLst>
                  <a:gd name="T0" fmla="*/ 98 w 115"/>
                  <a:gd name="T1" fmla="*/ 57 h 73"/>
                  <a:gd name="T2" fmla="*/ 100 w 115"/>
                  <a:gd name="T3" fmla="*/ 59 h 73"/>
                  <a:gd name="T4" fmla="*/ 103 w 115"/>
                  <a:gd name="T5" fmla="*/ 61 h 73"/>
                  <a:gd name="T6" fmla="*/ 105 w 115"/>
                  <a:gd name="T7" fmla="*/ 64 h 73"/>
                  <a:gd name="T8" fmla="*/ 106 w 115"/>
                  <a:gd name="T9" fmla="*/ 67 h 73"/>
                  <a:gd name="T10" fmla="*/ 107 w 115"/>
                  <a:gd name="T11" fmla="*/ 70 h 73"/>
                  <a:gd name="T12" fmla="*/ 115 w 115"/>
                  <a:gd name="T13" fmla="*/ 69 h 73"/>
                  <a:gd name="T14" fmla="*/ 115 w 115"/>
                  <a:gd name="T15" fmla="*/ 68 h 73"/>
                  <a:gd name="T16" fmla="*/ 114 w 115"/>
                  <a:gd name="T17" fmla="*/ 66 h 73"/>
                  <a:gd name="T18" fmla="*/ 114 w 115"/>
                  <a:gd name="T19" fmla="*/ 66 h 73"/>
                  <a:gd name="T20" fmla="*/ 113 w 115"/>
                  <a:gd name="T21" fmla="*/ 65 h 73"/>
                  <a:gd name="T22" fmla="*/ 113 w 115"/>
                  <a:gd name="T23" fmla="*/ 63 h 73"/>
                  <a:gd name="T24" fmla="*/ 112 w 115"/>
                  <a:gd name="T25" fmla="*/ 63 h 73"/>
                  <a:gd name="T26" fmla="*/ 111 w 115"/>
                  <a:gd name="T27" fmla="*/ 61 h 73"/>
                  <a:gd name="T28" fmla="*/ 110 w 115"/>
                  <a:gd name="T29" fmla="*/ 59 h 73"/>
                  <a:gd name="T30" fmla="*/ 109 w 115"/>
                  <a:gd name="T31" fmla="*/ 58 h 73"/>
                  <a:gd name="T32" fmla="*/ 109 w 115"/>
                  <a:gd name="T33" fmla="*/ 57 h 73"/>
                  <a:gd name="T34" fmla="*/ 107 w 115"/>
                  <a:gd name="T35" fmla="*/ 55 h 73"/>
                  <a:gd name="T36" fmla="*/ 107 w 115"/>
                  <a:gd name="T37" fmla="*/ 55 h 73"/>
                  <a:gd name="T38" fmla="*/ 106 w 115"/>
                  <a:gd name="T39" fmla="*/ 54 h 73"/>
                  <a:gd name="T40" fmla="*/ 105 w 115"/>
                  <a:gd name="T41" fmla="*/ 53 h 73"/>
                  <a:gd name="T42" fmla="*/ 104 w 115"/>
                  <a:gd name="T43" fmla="*/ 52 h 73"/>
                  <a:gd name="T44" fmla="*/ 103 w 115"/>
                  <a:gd name="T45" fmla="*/ 51 h 73"/>
                  <a:gd name="T46" fmla="*/ 102 w 115"/>
                  <a:gd name="T47" fmla="*/ 51 h 73"/>
                  <a:gd name="T48" fmla="*/ 101 w 115"/>
                  <a:gd name="T49" fmla="*/ 50 h 73"/>
                  <a:gd name="T50" fmla="*/ 100 w 115"/>
                  <a:gd name="T51" fmla="*/ 49 h 73"/>
                  <a:gd name="T52" fmla="*/ 19 w 115"/>
                  <a:gd name="T53" fmla="*/ 2 h 73"/>
                  <a:gd name="T54" fmla="*/ 18 w 115"/>
                  <a:gd name="T55" fmla="*/ 2 h 73"/>
                  <a:gd name="T56" fmla="*/ 17 w 115"/>
                  <a:gd name="T57" fmla="*/ 1 h 73"/>
                  <a:gd name="T58" fmla="*/ 16 w 115"/>
                  <a:gd name="T59" fmla="*/ 1 h 73"/>
                  <a:gd name="T60" fmla="*/ 15 w 115"/>
                  <a:gd name="T61" fmla="*/ 1 h 73"/>
                  <a:gd name="T62" fmla="*/ 15 w 115"/>
                  <a:gd name="T63" fmla="*/ 0 h 73"/>
                  <a:gd name="T64" fmla="*/ 14 w 115"/>
                  <a:gd name="T65" fmla="*/ 0 h 73"/>
                  <a:gd name="T66" fmla="*/ 13 w 115"/>
                  <a:gd name="T67" fmla="*/ 0 h 73"/>
                  <a:gd name="T68" fmla="*/ 12 w 115"/>
                  <a:gd name="T69" fmla="*/ 0 h 73"/>
                  <a:gd name="T70" fmla="*/ 12 w 115"/>
                  <a:gd name="T71" fmla="*/ 0 h 73"/>
                  <a:gd name="T72" fmla="*/ 11 w 115"/>
                  <a:gd name="T73" fmla="*/ 0 h 73"/>
                  <a:gd name="T74" fmla="*/ 10 w 115"/>
                  <a:gd name="T75" fmla="*/ 0 h 73"/>
                  <a:gd name="T76" fmla="*/ 9 w 115"/>
                  <a:gd name="T77" fmla="*/ 0 h 73"/>
                  <a:gd name="T78" fmla="*/ 8 w 115"/>
                  <a:gd name="T79" fmla="*/ 0 h 73"/>
                  <a:gd name="T80" fmla="*/ 7 w 115"/>
                  <a:gd name="T81" fmla="*/ 1 h 73"/>
                  <a:gd name="T82" fmla="*/ 1 w 115"/>
                  <a:gd name="T83" fmla="*/ 4 h 73"/>
                  <a:gd name="T84" fmla="*/ 3 w 115"/>
                  <a:gd name="T85" fmla="*/ 4 h 73"/>
                  <a:gd name="T86" fmla="*/ 4 w 115"/>
                  <a:gd name="T87" fmla="*/ 4 h 73"/>
                  <a:gd name="T88" fmla="*/ 6 w 115"/>
                  <a:gd name="T89" fmla="*/ 4 h 73"/>
                  <a:gd name="T90" fmla="*/ 7 w 115"/>
                  <a:gd name="T91" fmla="*/ 4 h 73"/>
                  <a:gd name="T92" fmla="*/ 9 w 115"/>
                  <a:gd name="T93" fmla="*/ 4 h 73"/>
                  <a:gd name="T94" fmla="*/ 11 w 115"/>
                  <a:gd name="T95" fmla="*/ 5 h 73"/>
                  <a:gd name="T96" fmla="*/ 93 w 115"/>
                  <a:gd name="T97" fmla="*/ 53 h 73"/>
                  <a:gd name="T98" fmla="*/ 96 w 115"/>
                  <a:gd name="T99" fmla="*/ 55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5" h="73">
                    <a:moveTo>
                      <a:pt x="98" y="56"/>
                    </a:moveTo>
                    <a:cubicBezTo>
                      <a:pt x="98" y="57"/>
                      <a:pt x="98" y="57"/>
                      <a:pt x="98" y="57"/>
                    </a:cubicBezTo>
                    <a:cubicBezTo>
                      <a:pt x="99" y="57"/>
                      <a:pt x="100" y="58"/>
                      <a:pt x="100" y="59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101" y="60"/>
                      <a:pt x="102" y="60"/>
                      <a:pt x="102" y="61"/>
                    </a:cubicBezTo>
                    <a:cubicBezTo>
                      <a:pt x="103" y="61"/>
                      <a:pt x="103" y="61"/>
                      <a:pt x="103" y="61"/>
                    </a:cubicBezTo>
                    <a:cubicBezTo>
                      <a:pt x="103" y="62"/>
                      <a:pt x="104" y="63"/>
                      <a:pt x="104" y="64"/>
                    </a:cubicBezTo>
                    <a:cubicBezTo>
                      <a:pt x="105" y="64"/>
                      <a:pt x="105" y="64"/>
                      <a:pt x="105" y="64"/>
                    </a:cubicBezTo>
                    <a:cubicBezTo>
                      <a:pt x="105" y="65"/>
                      <a:pt x="106" y="66"/>
                      <a:pt x="106" y="67"/>
                    </a:cubicBezTo>
                    <a:cubicBezTo>
                      <a:pt x="106" y="67"/>
                      <a:pt x="106" y="67"/>
                      <a:pt x="106" y="67"/>
                    </a:cubicBezTo>
                    <a:cubicBezTo>
                      <a:pt x="107" y="68"/>
                      <a:pt x="107" y="69"/>
                      <a:pt x="107" y="70"/>
                    </a:cubicBezTo>
                    <a:cubicBezTo>
                      <a:pt x="107" y="70"/>
                      <a:pt x="107" y="70"/>
                      <a:pt x="107" y="70"/>
                    </a:cubicBezTo>
                    <a:cubicBezTo>
                      <a:pt x="108" y="71"/>
                      <a:pt x="108" y="72"/>
                      <a:pt x="109" y="73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5" y="68"/>
                      <a:pt x="115" y="68"/>
                      <a:pt x="115" y="68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3" y="63"/>
                      <a:pt x="113" y="63"/>
                      <a:pt x="113" y="63"/>
                    </a:cubicBezTo>
                    <a:cubicBezTo>
                      <a:pt x="113" y="63"/>
                      <a:pt x="113" y="63"/>
                      <a:pt x="113" y="63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2"/>
                      <a:pt x="112" y="62"/>
                      <a:pt x="112" y="61"/>
                    </a:cubicBezTo>
                    <a:cubicBezTo>
                      <a:pt x="111" y="61"/>
                      <a:pt x="111" y="61"/>
                      <a:pt x="111" y="61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0" y="59"/>
                      <a:pt x="110" y="59"/>
                      <a:pt x="110" y="59"/>
                    </a:cubicBezTo>
                    <a:cubicBezTo>
                      <a:pt x="110" y="59"/>
                      <a:pt x="110" y="58"/>
                      <a:pt x="109" y="58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9" y="57"/>
                      <a:pt x="109" y="57"/>
                      <a:pt x="109" y="57"/>
                    </a:cubicBezTo>
                    <a:cubicBezTo>
                      <a:pt x="109" y="57"/>
                      <a:pt x="109" y="57"/>
                      <a:pt x="109" y="57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107" y="55"/>
                      <a:pt x="107" y="55"/>
                      <a:pt x="107" y="55"/>
                    </a:cubicBezTo>
                    <a:cubicBezTo>
                      <a:pt x="107" y="55"/>
                      <a:pt x="107" y="55"/>
                      <a:pt x="107" y="55"/>
                    </a:cubicBezTo>
                    <a:cubicBezTo>
                      <a:pt x="107" y="55"/>
                      <a:pt x="107" y="55"/>
                      <a:pt x="107" y="55"/>
                    </a:cubicBezTo>
                    <a:cubicBezTo>
                      <a:pt x="107" y="54"/>
                      <a:pt x="107" y="54"/>
                      <a:pt x="107" y="54"/>
                    </a:cubicBezTo>
                    <a:cubicBezTo>
                      <a:pt x="106" y="54"/>
                      <a:pt x="106" y="54"/>
                      <a:pt x="106" y="54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4" y="52"/>
                      <a:pt x="104" y="52"/>
                      <a:pt x="104" y="52"/>
                    </a:cubicBezTo>
                    <a:cubicBezTo>
                      <a:pt x="104" y="52"/>
                      <a:pt x="104" y="52"/>
                      <a:pt x="104" y="52"/>
                    </a:cubicBezTo>
                    <a:cubicBezTo>
                      <a:pt x="103" y="51"/>
                      <a:pt x="103" y="51"/>
                      <a:pt x="103" y="51"/>
                    </a:cubicBezTo>
                    <a:cubicBezTo>
                      <a:pt x="102" y="51"/>
                      <a:pt x="102" y="51"/>
                      <a:pt x="102" y="51"/>
                    </a:cubicBezTo>
                    <a:cubicBezTo>
                      <a:pt x="102" y="51"/>
                      <a:pt x="102" y="51"/>
                      <a:pt x="102" y="51"/>
                    </a:cubicBezTo>
                    <a:cubicBezTo>
                      <a:pt x="102" y="51"/>
                      <a:pt x="102" y="51"/>
                      <a:pt x="102" y="51"/>
                    </a:cubicBezTo>
                    <a:cubicBezTo>
                      <a:pt x="101" y="50"/>
                      <a:pt x="101" y="50"/>
                      <a:pt x="101" y="50"/>
                    </a:cubicBezTo>
                    <a:cubicBezTo>
                      <a:pt x="101" y="50"/>
                      <a:pt x="101" y="50"/>
                      <a:pt x="101" y="50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00" y="49"/>
                      <a:pt x="100" y="49"/>
                      <a:pt x="100" y="49"/>
                    </a:cubicBezTo>
                    <a:cubicBezTo>
                      <a:pt x="19" y="2"/>
                      <a:pt x="19" y="2"/>
                      <a:pt x="19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7" y="1"/>
                      <a:pt x="17" y="1"/>
                      <a:pt x="17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0"/>
                      <a:pt x="15" y="0"/>
                      <a:pt x="15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8" y="1"/>
                      <a:pt x="7" y="1"/>
                      <a:pt x="7" y="1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1" y="5"/>
                      <a:pt x="1" y="4"/>
                      <a:pt x="1" y="4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6" y="4"/>
                      <a:pt x="6" y="4"/>
                    </a:cubicBezTo>
                    <a:cubicBezTo>
                      <a:pt x="6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4"/>
                      <a:pt x="8" y="4"/>
                      <a:pt x="9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1" y="5"/>
                      <a:pt x="11" y="5"/>
                      <a:pt x="11" y="5"/>
                    </a:cubicBezTo>
                    <a:cubicBezTo>
                      <a:pt x="11" y="5"/>
                      <a:pt x="12" y="6"/>
                      <a:pt x="12" y="6"/>
                    </a:cubicBezTo>
                    <a:cubicBezTo>
                      <a:pt x="93" y="53"/>
                      <a:pt x="93" y="53"/>
                      <a:pt x="93" y="53"/>
                    </a:cubicBezTo>
                    <a:cubicBezTo>
                      <a:pt x="94" y="53"/>
                      <a:pt x="95" y="54"/>
                      <a:pt x="96" y="55"/>
                    </a:cubicBezTo>
                    <a:cubicBezTo>
                      <a:pt x="96" y="55"/>
                      <a:pt x="96" y="55"/>
                      <a:pt x="96" y="55"/>
                    </a:cubicBezTo>
                    <a:cubicBezTo>
                      <a:pt x="97" y="55"/>
                      <a:pt x="97" y="56"/>
                      <a:pt x="98" y="56"/>
                    </a:cubicBez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6" name="任意多边形: 形状 375">
                <a:extLst>
                  <a:ext uri="{FF2B5EF4-FFF2-40B4-BE49-F238E27FC236}">
                    <a16:creationId xmlns:a16="http://schemas.microsoft.com/office/drawing/2014/main" id="{CF32BC35-AB2E-41F3-AE4D-5D0EDDBAA3A6}"/>
                  </a:ext>
                </a:extLst>
              </p:cNvPr>
              <p:cNvSpPr/>
              <p:nvPr/>
            </p:nvSpPr>
            <p:spPr bwMode="auto">
              <a:xfrm>
                <a:off x="6856537" y="3869449"/>
                <a:ext cx="177239" cy="103169"/>
              </a:xfrm>
              <a:custGeom>
                <a:avLst/>
                <a:gdLst>
                  <a:gd name="T0" fmla="*/ 0 w 67"/>
                  <a:gd name="T1" fmla="*/ 8 h 39"/>
                  <a:gd name="T2" fmla="*/ 13 w 67"/>
                  <a:gd name="T3" fmla="*/ 0 h 39"/>
                  <a:gd name="T4" fmla="*/ 67 w 67"/>
                  <a:gd name="T5" fmla="*/ 31 h 39"/>
                  <a:gd name="T6" fmla="*/ 54 w 67"/>
                  <a:gd name="T7" fmla="*/ 39 h 39"/>
                  <a:gd name="T8" fmla="*/ 0 w 67"/>
                  <a:gd name="T9" fmla="*/ 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" h="39">
                    <a:moveTo>
                      <a:pt x="0" y="8"/>
                    </a:moveTo>
                    <a:lnTo>
                      <a:pt x="13" y="0"/>
                    </a:lnTo>
                    <a:lnTo>
                      <a:pt x="67" y="31"/>
                    </a:lnTo>
                    <a:lnTo>
                      <a:pt x="54" y="39"/>
                    </a:lnTo>
                    <a:lnTo>
                      <a:pt x="0" y="8"/>
                    </a:lnTo>
                    <a:close/>
                  </a:path>
                </a:pathLst>
              </a:custGeom>
              <a:solidFill>
                <a:srgbClr val="699C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7" name="任意多边形: 形状 376">
                <a:extLst>
                  <a:ext uri="{FF2B5EF4-FFF2-40B4-BE49-F238E27FC236}">
                    <a16:creationId xmlns:a16="http://schemas.microsoft.com/office/drawing/2014/main" id="{8AFD68AA-69A3-4B63-9A0E-B3050DD1A1DC}"/>
                  </a:ext>
                </a:extLst>
              </p:cNvPr>
              <p:cNvSpPr/>
              <p:nvPr/>
            </p:nvSpPr>
            <p:spPr bwMode="auto">
              <a:xfrm>
                <a:off x="7049646" y="4007007"/>
                <a:ext cx="489390" cy="597848"/>
              </a:xfrm>
              <a:custGeom>
                <a:avLst/>
                <a:gdLst>
                  <a:gd name="T0" fmla="*/ 85 w 89"/>
                  <a:gd name="T1" fmla="*/ 104 h 109"/>
                  <a:gd name="T2" fmla="*/ 81 w 89"/>
                  <a:gd name="T3" fmla="*/ 105 h 109"/>
                  <a:gd name="T4" fmla="*/ 76 w 89"/>
                  <a:gd name="T5" fmla="*/ 104 h 109"/>
                  <a:gd name="T6" fmla="*/ 73 w 89"/>
                  <a:gd name="T7" fmla="*/ 104 h 109"/>
                  <a:gd name="T8" fmla="*/ 67 w 89"/>
                  <a:gd name="T9" fmla="*/ 101 h 109"/>
                  <a:gd name="T10" fmla="*/ 39 w 89"/>
                  <a:gd name="T11" fmla="*/ 84 h 109"/>
                  <a:gd name="T12" fmla="*/ 34 w 89"/>
                  <a:gd name="T13" fmla="*/ 80 h 109"/>
                  <a:gd name="T14" fmla="*/ 31 w 89"/>
                  <a:gd name="T15" fmla="*/ 78 h 109"/>
                  <a:gd name="T16" fmla="*/ 27 w 89"/>
                  <a:gd name="T17" fmla="*/ 73 h 109"/>
                  <a:gd name="T18" fmla="*/ 24 w 89"/>
                  <a:gd name="T19" fmla="*/ 69 h 109"/>
                  <a:gd name="T20" fmla="*/ 18 w 89"/>
                  <a:gd name="T21" fmla="*/ 61 h 109"/>
                  <a:gd name="T22" fmla="*/ 17 w 89"/>
                  <a:gd name="T23" fmla="*/ 57 h 109"/>
                  <a:gd name="T24" fmla="*/ 14 w 89"/>
                  <a:gd name="T25" fmla="*/ 51 h 109"/>
                  <a:gd name="T26" fmla="*/ 13 w 89"/>
                  <a:gd name="T27" fmla="*/ 47 h 109"/>
                  <a:gd name="T28" fmla="*/ 11 w 89"/>
                  <a:gd name="T29" fmla="*/ 40 h 109"/>
                  <a:gd name="T30" fmla="*/ 7 w 89"/>
                  <a:gd name="T31" fmla="*/ 10 h 109"/>
                  <a:gd name="T32" fmla="*/ 7 w 89"/>
                  <a:gd name="T33" fmla="*/ 6 h 109"/>
                  <a:gd name="T34" fmla="*/ 8 w 89"/>
                  <a:gd name="T35" fmla="*/ 5 h 109"/>
                  <a:gd name="T36" fmla="*/ 9 w 89"/>
                  <a:gd name="T37" fmla="*/ 3 h 109"/>
                  <a:gd name="T38" fmla="*/ 11 w 89"/>
                  <a:gd name="T39" fmla="*/ 0 h 109"/>
                  <a:gd name="T40" fmla="*/ 3 w 89"/>
                  <a:gd name="T41" fmla="*/ 6 h 109"/>
                  <a:gd name="T42" fmla="*/ 2 w 89"/>
                  <a:gd name="T43" fmla="*/ 7 h 109"/>
                  <a:gd name="T44" fmla="*/ 1 w 89"/>
                  <a:gd name="T45" fmla="*/ 8 h 109"/>
                  <a:gd name="T46" fmla="*/ 1 w 89"/>
                  <a:gd name="T47" fmla="*/ 9 h 109"/>
                  <a:gd name="T48" fmla="*/ 1 w 89"/>
                  <a:gd name="T49" fmla="*/ 10 h 109"/>
                  <a:gd name="T50" fmla="*/ 0 w 89"/>
                  <a:gd name="T51" fmla="*/ 12 h 109"/>
                  <a:gd name="T52" fmla="*/ 0 w 89"/>
                  <a:gd name="T53" fmla="*/ 12 h 109"/>
                  <a:gd name="T54" fmla="*/ 0 w 89"/>
                  <a:gd name="T55" fmla="*/ 14 h 109"/>
                  <a:gd name="T56" fmla="*/ 0 w 89"/>
                  <a:gd name="T57" fmla="*/ 15 h 109"/>
                  <a:gd name="T58" fmla="*/ 5 w 89"/>
                  <a:gd name="T59" fmla="*/ 44 h 109"/>
                  <a:gd name="T60" fmla="*/ 5 w 89"/>
                  <a:gd name="T61" fmla="*/ 47 h 109"/>
                  <a:gd name="T62" fmla="*/ 6 w 89"/>
                  <a:gd name="T63" fmla="*/ 49 h 109"/>
                  <a:gd name="T64" fmla="*/ 6 w 89"/>
                  <a:gd name="T65" fmla="*/ 51 h 109"/>
                  <a:gd name="T66" fmla="*/ 7 w 89"/>
                  <a:gd name="T67" fmla="*/ 54 h 109"/>
                  <a:gd name="T68" fmla="*/ 8 w 89"/>
                  <a:gd name="T69" fmla="*/ 57 h 109"/>
                  <a:gd name="T70" fmla="*/ 9 w 89"/>
                  <a:gd name="T71" fmla="*/ 58 h 109"/>
                  <a:gd name="T72" fmla="*/ 10 w 89"/>
                  <a:gd name="T73" fmla="*/ 61 h 109"/>
                  <a:gd name="T74" fmla="*/ 12 w 89"/>
                  <a:gd name="T75" fmla="*/ 64 h 109"/>
                  <a:gd name="T76" fmla="*/ 14 w 89"/>
                  <a:gd name="T77" fmla="*/ 67 h 109"/>
                  <a:gd name="T78" fmla="*/ 16 w 89"/>
                  <a:gd name="T79" fmla="*/ 71 h 109"/>
                  <a:gd name="T80" fmla="*/ 18 w 89"/>
                  <a:gd name="T81" fmla="*/ 74 h 109"/>
                  <a:gd name="T82" fmla="*/ 20 w 89"/>
                  <a:gd name="T83" fmla="*/ 77 h 109"/>
                  <a:gd name="T84" fmla="*/ 22 w 89"/>
                  <a:gd name="T85" fmla="*/ 79 h 109"/>
                  <a:gd name="T86" fmla="*/ 24 w 89"/>
                  <a:gd name="T87" fmla="*/ 81 h 109"/>
                  <a:gd name="T88" fmla="*/ 25 w 89"/>
                  <a:gd name="T89" fmla="*/ 83 h 109"/>
                  <a:gd name="T90" fmla="*/ 27 w 89"/>
                  <a:gd name="T91" fmla="*/ 84 h 109"/>
                  <a:gd name="T92" fmla="*/ 30 w 89"/>
                  <a:gd name="T93" fmla="*/ 86 h 109"/>
                  <a:gd name="T94" fmla="*/ 32 w 89"/>
                  <a:gd name="T95" fmla="*/ 88 h 109"/>
                  <a:gd name="T96" fmla="*/ 33 w 89"/>
                  <a:gd name="T97" fmla="*/ 89 h 109"/>
                  <a:gd name="T98" fmla="*/ 60 w 89"/>
                  <a:gd name="T99" fmla="*/ 105 h 109"/>
                  <a:gd name="T100" fmla="*/ 63 w 89"/>
                  <a:gd name="T101" fmla="*/ 106 h 109"/>
                  <a:gd name="T102" fmla="*/ 65 w 89"/>
                  <a:gd name="T103" fmla="*/ 107 h 109"/>
                  <a:gd name="T104" fmla="*/ 67 w 89"/>
                  <a:gd name="T105" fmla="*/ 107 h 109"/>
                  <a:gd name="T106" fmla="*/ 69 w 89"/>
                  <a:gd name="T107" fmla="*/ 108 h 109"/>
                  <a:gd name="T108" fmla="*/ 71 w 89"/>
                  <a:gd name="T109" fmla="*/ 109 h 109"/>
                  <a:gd name="T110" fmla="*/ 73 w 89"/>
                  <a:gd name="T111" fmla="*/ 109 h 109"/>
                  <a:gd name="T112" fmla="*/ 75 w 89"/>
                  <a:gd name="T113" fmla="*/ 109 h 109"/>
                  <a:gd name="T114" fmla="*/ 78 w 89"/>
                  <a:gd name="T115" fmla="*/ 108 h 109"/>
                  <a:gd name="T116" fmla="*/ 80 w 89"/>
                  <a:gd name="T117" fmla="*/ 10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9" h="109">
                    <a:moveTo>
                      <a:pt x="89" y="103"/>
                    </a:moveTo>
                    <a:cubicBezTo>
                      <a:pt x="88" y="103"/>
                      <a:pt x="87" y="104"/>
                      <a:pt x="87" y="104"/>
                    </a:cubicBezTo>
                    <a:cubicBezTo>
                      <a:pt x="86" y="104"/>
                      <a:pt x="85" y="104"/>
                      <a:pt x="85" y="104"/>
                    </a:cubicBezTo>
                    <a:cubicBezTo>
                      <a:pt x="84" y="105"/>
                      <a:pt x="84" y="105"/>
                      <a:pt x="84" y="105"/>
                    </a:cubicBezTo>
                    <a:cubicBezTo>
                      <a:pt x="84" y="105"/>
                      <a:pt x="83" y="105"/>
                      <a:pt x="82" y="105"/>
                    </a:cubicBezTo>
                    <a:cubicBezTo>
                      <a:pt x="81" y="105"/>
                      <a:pt x="81" y="105"/>
                      <a:pt x="81" y="105"/>
                    </a:cubicBezTo>
                    <a:cubicBezTo>
                      <a:pt x="81" y="105"/>
                      <a:pt x="80" y="105"/>
                      <a:pt x="79" y="105"/>
                    </a:cubicBezTo>
                    <a:cubicBezTo>
                      <a:pt x="79" y="105"/>
                      <a:pt x="79" y="105"/>
                      <a:pt x="79" y="105"/>
                    </a:cubicBezTo>
                    <a:cubicBezTo>
                      <a:pt x="78" y="105"/>
                      <a:pt x="77" y="105"/>
                      <a:pt x="76" y="104"/>
                    </a:cubicBezTo>
                    <a:cubicBezTo>
                      <a:pt x="76" y="104"/>
                      <a:pt x="76" y="104"/>
                      <a:pt x="76" y="104"/>
                    </a:cubicBezTo>
                    <a:cubicBezTo>
                      <a:pt x="75" y="104"/>
                      <a:pt x="74" y="104"/>
                      <a:pt x="73" y="104"/>
                    </a:cubicBezTo>
                    <a:cubicBezTo>
                      <a:pt x="73" y="104"/>
                      <a:pt x="73" y="104"/>
                      <a:pt x="73" y="104"/>
                    </a:cubicBezTo>
                    <a:cubicBezTo>
                      <a:pt x="72" y="103"/>
                      <a:pt x="71" y="103"/>
                      <a:pt x="70" y="102"/>
                    </a:cubicBezTo>
                    <a:cubicBezTo>
                      <a:pt x="70" y="102"/>
                      <a:pt x="70" y="102"/>
                      <a:pt x="70" y="102"/>
                    </a:cubicBezTo>
                    <a:cubicBezTo>
                      <a:pt x="69" y="102"/>
                      <a:pt x="68" y="101"/>
                      <a:pt x="67" y="101"/>
                    </a:cubicBezTo>
                    <a:cubicBezTo>
                      <a:pt x="42" y="86"/>
                      <a:pt x="42" y="86"/>
                      <a:pt x="42" y="86"/>
                    </a:cubicBezTo>
                    <a:cubicBezTo>
                      <a:pt x="41" y="86"/>
                      <a:pt x="40" y="85"/>
                      <a:pt x="39" y="85"/>
                    </a:cubicBezTo>
                    <a:cubicBezTo>
                      <a:pt x="39" y="84"/>
                      <a:pt x="39" y="84"/>
                      <a:pt x="39" y="84"/>
                    </a:cubicBezTo>
                    <a:cubicBezTo>
                      <a:pt x="38" y="84"/>
                      <a:pt x="37" y="83"/>
                      <a:pt x="36" y="83"/>
                    </a:cubicBezTo>
                    <a:cubicBezTo>
                      <a:pt x="36" y="82"/>
                      <a:pt x="36" y="82"/>
                      <a:pt x="36" y="82"/>
                    </a:cubicBezTo>
                    <a:cubicBezTo>
                      <a:pt x="35" y="82"/>
                      <a:pt x="35" y="81"/>
                      <a:pt x="34" y="80"/>
                    </a:cubicBezTo>
                    <a:cubicBezTo>
                      <a:pt x="34" y="80"/>
                      <a:pt x="34" y="80"/>
                      <a:pt x="34" y="80"/>
                    </a:cubicBezTo>
                    <a:cubicBezTo>
                      <a:pt x="33" y="80"/>
                      <a:pt x="32" y="79"/>
                      <a:pt x="31" y="78"/>
                    </a:cubicBezTo>
                    <a:cubicBezTo>
                      <a:pt x="31" y="78"/>
                      <a:pt x="31" y="78"/>
                      <a:pt x="31" y="78"/>
                    </a:cubicBezTo>
                    <a:cubicBezTo>
                      <a:pt x="30" y="77"/>
                      <a:pt x="30" y="76"/>
                      <a:pt x="29" y="76"/>
                    </a:cubicBezTo>
                    <a:cubicBezTo>
                      <a:pt x="29" y="75"/>
                      <a:pt x="29" y="75"/>
                      <a:pt x="29" y="75"/>
                    </a:cubicBezTo>
                    <a:cubicBezTo>
                      <a:pt x="28" y="74"/>
                      <a:pt x="27" y="74"/>
                      <a:pt x="27" y="73"/>
                    </a:cubicBezTo>
                    <a:cubicBezTo>
                      <a:pt x="26" y="72"/>
                      <a:pt x="26" y="72"/>
                      <a:pt x="26" y="72"/>
                    </a:cubicBezTo>
                    <a:cubicBezTo>
                      <a:pt x="26" y="72"/>
                      <a:pt x="25" y="71"/>
                      <a:pt x="24" y="70"/>
                    </a:cubicBezTo>
                    <a:cubicBezTo>
                      <a:pt x="24" y="69"/>
                      <a:pt x="24" y="69"/>
                      <a:pt x="24" y="69"/>
                    </a:cubicBezTo>
                    <a:cubicBezTo>
                      <a:pt x="23" y="68"/>
                      <a:pt x="23" y="68"/>
                      <a:pt x="22" y="67"/>
                    </a:cubicBezTo>
                    <a:cubicBezTo>
                      <a:pt x="22" y="66"/>
                      <a:pt x="21" y="65"/>
                      <a:pt x="20" y="64"/>
                    </a:cubicBezTo>
                    <a:cubicBezTo>
                      <a:pt x="20" y="63"/>
                      <a:pt x="19" y="62"/>
                      <a:pt x="18" y="61"/>
                    </a:cubicBezTo>
                    <a:cubicBezTo>
                      <a:pt x="18" y="60"/>
                      <a:pt x="18" y="60"/>
                      <a:pt x="18" y="60"/>
                    </a:cubicBezTo>
                    <a:cubicBezTo>
                      <a:pt x="18" y="59"/>
                      <a:pt x="17" y="58"/>
                      <a:pt x="17" y="57"/>
                    </a:cubicBezTo>
                    <a:cubicBezTo>
                      <a:pt x="17" y="57"/>
                      <a:pt x="17" y="57"/>
                      <a:pt x="17" y="57"/>
                    </a:cubicBezTo>
                    <a:cubicBezTo>
                      <a:pt x="16" y="56"/>
                      <a:pt x="16" y="55"/>
                      <a:pt x="15" y="54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3"/>
                      <a:pt x="14" y="52"/>
                      <a:pt x="14" y="51"/>
                    </a:cubicBezTo>
                    <a:cubicBezTo>
                      <a:pt x="14" y="50"/>
                      <a:pt x="14" y="50"/>
                      <a:pt x="14" y="50"/>
                    </a:cubicBezTo>
                    <a:cubicBezTo>
                      <a:pt x="14" y="49"/>
                      <a:pt x="13" y="48"/>
                      <a:pt x="13" y="47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13" y="46"/>
                      <a:pt x="12" y="45"/>
                      <a:pt x="12" y="43"/>
                    </a:cubicBezTo>
                    <a:cubicBezTo>
                      <a:pt x="12" y="43"/>
                      <a:pt x="12" y="43"/>
                      <a:pt x="12" y="43"/>
                    </a:cubicBezTo>
                    <a:cubicBezTo>
                      <a:pt x="12" y="42"/>
                      <a:pt x="12" y="41"/>
                      <a:pt x="11" y="40"/>
                    </a:cubicBezTo>
                    <a:cubicBezTo>
                      <a:pt x="7" y="12"/>
                      <a:pt x="7" y="12"/>
                      <a:pt x="7" y="12"/>
                    </a:cubicBezTo>
                    <a:cubicBezTo>
                      <a:pt x="7" y="12"/>
                      <a:pt x="7" y="11"/>
                      <a:pt x="7" y="10"/>
                    </a:cubicBezTo>
                    <a:cubicBezTo>
                      <a:pt x="7" y="10"/>
                      <a:pt x="7" y="10"/>
                      <a:pt x="7" y="10"/>
                    </a:cubicBezTo>
                    <a:cubicBezTo>
                      <a:pt x="7" y="10"/>
                      <a:pt x="7" y="9"/>
                      <a:pt x="7" y="8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7" y="8"/>
                      <a:pt x="7" y="7"/>
                      <a:pt x="7" y="6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7" y="6"/>
                      <a:pt x="7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9" y="2"/>
                      <a:pt x="9" y="2"/>
                      <a:pt x="9" y="2"/>
                    </a:cubicBezTo>
                    <a:cubicBezTo>
                      <a:pt x="10" y="1"/>
                      <a:pt x="10" y="1"/>
                      <a:pt x="10" y="1"/>
                    </a:cubicBezTo>
                    <a:cubicBezTo>
                      <a:pt x="10" y="1"/>
                      <a:pt x="11" y="1"/>
                      <a:pt x="11" y="0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5"/>
                      <a:pt x="3" y="5"/>
                      <a:pt x="3" y="5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6"/>
                      <a:pt x="2" y="6"/>
                      <a:pt x="2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3"/>
                      <a:pt x="0" y="13"/>
                      <a:pt x="0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1" y="16"/>
                      <a:pt x="1" y="16"/>
                      <a:pt x="1" y="16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4"/>
                      <a:pt x="5" y="44"/>
                      <a:pt x="5" y="44"/>
                    </a:cubicBezTo>
                    <a:cubicBezTo>
                      <a:pt x="5" y="45"/>
                      <a:pt x="5" y="45"/>
                      <a:pt x="5" y="46"/>
                    </a:cubicBezTo>
                    <a:cubicBezTo>
                      <a:pt x="5" y="46"/>
                      <a:pt x="5" y="47"/>
                      <a:pt x="5" y="47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5" y="47"/>
                      <a:pt x="5" y="47"/>
                      <a:pt x="5" y="47"/>
                    </a:cubicBezTo>
                    <a:cubicBezTo>
                      <a:pt x="6" y="48"/>
                      <a:pt x="6" y="48"/>
                      <a:pt x="6" y="49"/>
                    </a:cubicBezTo>
                    <a:cubicBezTo>
                      <a:pt x="6" y="49"/>
                      <a:pt x="6" y="50"/>
                      <a:pt x="6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6" y="51"/>
                      <a:pt x="6" y="51"/>
                      <a:pt x="6" y="51"/>
                    </a:cubicBezTo>
                    <a:cubicBezTo>
                      <a:pt x="7" y="51"/>
                      <a:pt x="7" y="52"/>
                      <a:pt x="7" y="52"/>
                    </a:cubicBezTo>
                    <a:cubicBezTo>
                      <a:pt x="7" y="53"/>
                      <a:pt x="7" y="53"/>
                      <a:pt x="7" y="54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8" y="55"/>
                      <a:pt x="8" y="55"/>
                      <a:pt x="8" y="55"/>
                    </a:cubicBezTo>
                    <a:cubicBezTo>
                      <a:pt x="8" y="56"/>
                      <a:pt x="8" y="56"/>
                      <a:pt x="8" y="57"/>
                    </a:cubicBezTo>
                    <a:cubicBezTo>
                      <a:pt x="9" y="57"/>
                      <a:pt x="9" y="57"/>
                      <a:pt x="9" y="57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9"/>
                      <a:pt x="9" y="59"/>
                      <a:pt x="10" y="60"/>
                    </a:cubicBezTo>
                    <a:cubicBezTo>
                      <a:pt x="10" y="61"/>
                      <a:pt x="10" y="61"/>
                      <a:pt x="10" y="61"/>
                    </a:cubicBezTo>
                    <a:cubicBezTo>
                      <a:pt x="10" y="61"/>
                      <a:pt x="10" y="61"/>
                      <a:pt x="10" y="61"/>
                    </a:cubicBezTo>
                    <a:cubicBezTo>
                      <a:pt x="10" y="61"/>
                      <a:pt x="10" y="61"/>
                      <a:pt x="10" y="61"/>
                    </a:cubicBezTo>
                    <a:cubicBezTo>
                      <a:pt x="11" y="62"/>
                      <a:pt x="11" y="62"/>
                      <a:pt x="11" y="63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2" y="64"/>
                      <a:pt x="12" y="64"/>
                      <a:pt x="12" y="64"/>
                    </a:cubicBezTo>
                    <a:cubicBezTo>
                      <a:pt x="12" y="65"/>
                      <a:pt x="12" y="65"/>
                      <a:pt x="12" y="65"/>
                    </a:cubicBezTo>
                    <a:cubicBezTo>
                      <a:pt x="13" y="66"/>
                      <a:pt x="13" y="67"/>
                      <a:pt x="14" y="67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4" y="69"/>
                      <a:pt x="15" y="70"/>
                      <a:pt x="16" y="71"/>
                    </a:cubicBezTo>
                    <a:cubicBezTo>
                      <a:pt x="16" y="71"/>
                      <a:pt x="16" y="71"/>
                      <a:pt x="16" y="71"/>
                    </a:cubicBezTo>
                    <a:cubicBezTo>
                      <a:pt x="16" y="72"/>
                      <a:pt x="17" y="72"/>
                      <a:pt x="17" y="73"/>
                    </a:cubicBezTo>
                    <a:cubicBezTo>
                      <a:pt x="18" y="74"/>
                      <a:pt x="18" y="74"/>
                      <a:pt x="18" y="74"/>
                    </a:cubicBezTo>
                    <a:cubicBezTo>
                      <a:pt x="18" y="74"/>
                      <a:pt x="18" y="74"/>
                      <a:pt x="18" y="74"/>
                    </a:cubicBezTo>
                    <a:cubicBezTo>
                      <a:pt x="18" y="75"/>
                      <a:pt x="19" y="75"/>
                      <a:pt x="19" y="76"/>
                    </a:cubicBezTo>
                    <a:cubicBezTo>
                      <a:pt x="20" y="76"/>
                      <a:pt x="20" y="76"/>
                      <a:pt x="20" y="76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0" y="77"/>
                      <a:pt x="20" y="77"/>
                      <a:pt x="20" y="77"/>
                    </a:cubicBezTo>
                    <a:cubicBezTo>
                      <a:pt x="21" y="78"/>
                      <a:pt x="21" y="78"/>
                      <a:pt x="22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2" y="79"/>
                      <a:pt x="22" y="79"/>
                      <a:pt x="22" y="79"/>
                    </a:cubicBezTo>
                    <a:cubicBezTo>
                      <a:pt x="23" y="80"/>
                      <a:pt x="23" y="80"/>
                      <a:pt x="23" y="80"/>
                    </a:cubicBezTo>
                    <a:cubicBezTo>
                      <a:pt x="23" y="80"/>
                      <a:pt x="24" y="81"/>
                      <a:pt x="24" y="81"/>
                    </a:cubicBezTo>
                    <a:cubicBezTo>
                      <a:pt x="24" y="82"/>
                      <a:pt x="24" y="82"/>
                      <a:pt x="24" y="82"/>
                    </a:cubicBezTo>
                    <a:cubicBezTo>
                      <a:pt x="25" y="82"/>
                      <a:pt x="25" y="82"/>
                      <a:pt x="25" y="82"/>
                    </a:cubicBezTo>
                    <a:cubicBezTo>
                      <a:pt x="25" y="83"/>
                      <a:pt x="25" y="83"/>
                      <a:pt x="25" y="83"/>
                    </a:cubicBezTo>
                    <a:cubicBezTo>
                      <a:pt x="26" y="83"/>
                      <a:pt x="26" y="83"/>
                      <a:pt x="27" y="84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27" y="84"/>
                      <a:pt x="27" y="84"/>
                      <a:pt x="27" y="84"/>
                    </a:cubicBezTo>
                    <a:cubicBezTo>
                      <a:pt x="28" y="85"/>
                      <a:pt x="28" y="85"/>
                      <a:pt x="28" y="85"/>
                    </a:cubicBezTo>
                    <a:cubicBezTo>
                      <a:pt x="29" y="85"/>
                      <a:pt x="29" y="86"/>
                      <a:pt x="29" y="86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0" y="86"/>
                      <a:pt x="30" y="86"/>
                      <a:pt x="30" y="86"/>
                    </a:cubicBezTo>
                    <a:cubicBezTo>
                      <a:pt x="31" y="87"/>
                      <a:pt x="31" y="87"/>
                      <a:pt x="31" y="87"/>
                    </a:cubicBezTo>
                    <a:cubicBezTo>
                      <a:pt x="31" y="88"/>
                      <a:pt x="32" y="88"/>
                      <a:pt x="32" y="88"/>
                    </a:cubicBezTo>
                    <a:cubicBezTo>
                      <a:pt x="32" y="88"/>
                      <a:pt x="32" y="88"/>
                      <a:pt x="32" y="88"/>
                    </a:cubicBezTo>
                    <a:cubicBezTo>
                      <a:pt x="32" y="88"/>
                      <a:pt x="32" y="88"/>
                      <a:pt x="32" y="88"/>
                    </a:cubicBezTo>
                    <a:cubicBezTo>
                      <a:pt x="33" y="89"/>
                      <a:pt x="33" y="89"/>
                      <a:pt x="33" y="89"/>
                    </a:cubicBezTo>
                    <a:cubicBezTo>
                      <a:pt x="34" y="89"/>
                      <a:pt x="34" y="90"/>
                      <a:pt x="35" y="90"/>
                    </a:cubicBezTo>
                    <a:cubicBezTo>
                      <a:pt x="35" y="90"/>
                      <a:pt x="35" y="90"/>
                      <a:pt x="35" y="90"/>
                    </a:cubicBezTo>
                    <a:cubicBezTo>
                      <a:pt x="60" y="105"/>
                      <a:pt x="60" y="105"/>
                      <a:pt x="60" y="105"/>
                    </a:cubicBezTo>
                    <a:cubicBezTo>
                      <a:pt x="61" y="105"/>
                      <a:pt x="61" y="105"/>
                      <a:pt x="61" y="105"/>
                    </a:cubicBezTo>
                    <a:cubicBezTo>
                      <a:pt x="62" y="105"/>
                      <a:pt x="62" y="106"/>
                      <a:pt x="63" y="106"/>
                    </a:cubicBezTo>
                    <a:cubicBezTo>
                      <a:pt x="63" y="106"/>
                      <a:pt x="63" y="106"/>
                      <a:pt x="63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6"/>
                      <a:pt x="64" y="106"/>
                      <a:pt x="64" y="106"/>
                    </a:cubicBezTo>
                    <a:cubicBezTo>
                      <a:pt x="64" y="107"/>
                      <a:pt x="65" y="107"/>
                      <a:pt x="65" y="107"/>
                    </a:cubicBezTo>
                    <a:cubicBezTo>
                      <a:pt x="65" y="107"/>
                      <a:pt x="66" y="107"/>
                      <a:pt x="66" y="107"/>
                    </a:cubicBezTo>
                    <a:cubicBezTo>
                      <a:pt x="66" y="107"/>
                      <a:pt x="66" y="107"/>
                      <a:pt x="66" y="107"/>
                    </a:cubicBezTo>
                    <a:cubicBezTo>
                      <a:pt x="67" y="107"/>
                      <a:pt x="67" y="107"/>
                      <a:pt x="67" y="107"/>
                    </a:cubicBezTo>
                    <a:cubicBezTo>
                      <a:pt x="67" y="108"/>
                      <a:pt x="67" y="108"/>
                      <a:pt x="67" y="108"/>
                    </a:cubicBezTo>
                    <a:cubicBezTo>
                      <a:pt x="68" y="108"/>
                      <a:pt x="68" y="108"/>
                      <a:pt x="69" y="108"/>
                    </a:cubicBezTo>
                    <a:cubicBezTo>
                      <a:pt x="69" y="108"/>
                      <a:pt x="69" y="108"/>
                      <a:pt x="69" y="108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0" y="108"/>
                      <a:pt x="70" y="108"/>
                      <a:pt x="70" y="108"/>
                    </a:cubicBezTo>
                    <a:cubicBezTo>
                      <a:pt x="71" y="108"/>
                      <a:pt x="71" y="109"/>
                      <a:pt x="71" y="109"/>
                    </a:cubicBezTo>
                    <a:cubicBezTo>
                      <a:pt x="72" y="109"/>
                      <a:pt x="72" y="109"/>
                      <a:pt x="72" y="109"/>
                    </a:cubicBezTo>
                    <a:cubicBezTo>
                      <a:pt x="72" y="109"/>
                      <a:pt x="72" y="109"/>
                      <a:pt x="72" y="109"/>
                    </a:cubicBezTo>
                    <a:cubicBezTo>
                      <a:pt x="73" y="109"/>
                      <a:pt x="73" y="109"/>
                      <a:pt x="73" y="109"/>
                    </a:cubicBezTo>
                    <a:cubicBezTo>
                      <a:pt x="73" y="109"/>
                      <a:pt x="74" y="109"/>
                      <a:pt x="74" y="109"/>
                    </a:cubicBezTo>
                    <a:cubicBezTo>
                      <a:pt x="75" y="109"/>
                      <a:pt x="75" y="109"/>
                      <a:pt x="75" y="109"/>
                    </a:cubicBezTo>
                    <a:cubicBezTo>
                      <a:pt x="75" y="109"/>
                      <a:pt x="75" y="109"/>
                      <a:pt x="75" y="109"/>
                    </a:cubicBezTo>
                    <a:cubicBezTo>
                      <a:pt x="76" y="109"/>
                      <a:pt x="76" y="109"/>
                      <a:pt x="76" y="109"/>
                    </a:cubicBezTo>
                    <a:cubicBezTo>
                      <a:pt x="76" y="109"/>
                      <a:pt x="77" y="109"/>
                      <a:pt x="78" y="108"/>
                    </a:cubicBezTo>
                    <a:cubicBezTo>
                      <a:pt x="78" y="108"/>
                      <a:pt x="78" y="108"/>
                      <a:pt x="78" y="108"/>
                    </a:cubicBezTo>
                    <a:cubicBezTo>
                      <a:pt x="78" y="108"/>
                      <a:pt x="78" y="108"/>
                      <a:pt x="78" y="108"/>
                    </a:cubicBezTo>
                    <a:cubicBezTo>
                      <a:pt x="79" y="108"/>
                      <a:pt x="79" y="108"/>
                      <a:pt x="80" y="108"/>
                    </a:cubicBezTo>
                    <a:cubicBezTo>
                      <a:pt x="80" y="108"/>
                      <a:pt x="80" y="108"/>
                      <a:pt x="80" y="108"/>
                    </a:cubicBezTo>
                    <a:cubicBezTo>
                      <a:pt x="81" y="108"/>
                      <a:pt x="82" y="107"/>
                      <a:pt x="82" y="107"/>
                    </a:cubicBezTo>
                    <a:lnTo>
                      <a:pt x="89" y="103"/>
                    </a:lnTo>
                    <a:close/>
                  </a:path>
                </a:pathLst>
              </a:custGeom>
              <a:solidFill>
                <a:srgbClr val="5C9AD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8" name="任意多边形: 形状 377">
                <a:extLst>
                  <a:ext uri="{FF2B5EF4-FFF2-40B4-BE49-F238E27FC236}">
                    <a16:creationId xmlns:a16="http://schemas.microsoft.com/office/drawing/2014/main" id="{D2DE612B-6617-4FEC-99FB-565F197A7F82}"/>
                  </a:ext>
                </a:extLst>
              </p:cNvPr>
              <p:cNvSpPr/>
              <p:nvPr/>
            </p:nvSpPr>
            <p:spPr bwMode="auto">
              <a:xfrm>
                <a:off x="6229589" y="3488519"/>
                <a:ext cx="1391452" cy="1216859"/>
              </a:xfrm>
              <a:custGeom>
                <a:avLst/>
                <a:gdLst>
                  <a:gd name="T0" fmla="*/ 236 w 253"/>
                  <a:gd name="T1" fmla="*/ 132 h 221"/>
                  <a:gd name="T2" fmla="*/ 253 w 253"/>
                  <a:gd name="T3" fmla="*/ 163 h 221"/>
                  <a:gd name="T4" fmla="*/ 251 w 253"/>
                  <a:gd name="T5" fmla="*/ 190 h 221"/>
                  <a:gd name="T6" fmla="*/ 213 w 253"/>
                  <a:gd name="T7" fmla="*/ 210 h 221"/>
                  <a:gd name="T8" fmla="*/ 181 w 253"/>
                  <a:gd name="T9" fmla="*/ 191 h 221"/>
                  <a:gd name="T10" fmla="*/ 144 w 253"/>
                  <a:gd name="T11" fmla="*/ 134 h 221"/>
                  <a:gd name="T12" fmla="*/ 140 w 253"/>
                  <a:gd name="T13" fmla="*/ 112 h 221"/>
                  <a:gd name="T14" fmla="*/ 113 w 253"/>
                  <a:gd name="T15" fmla="*/ 96 h 221"/>
                  <a:gd name="T16" fmla="*/ 109 w 253"/>
                  <a:gd name="T17" fmla="*/ 114 h 221"/>
                  <a:gd name="T18" fmla="*/ 71 w 253"/>
                  <a:gd name="T19" fmla="*/ 128 h 221"/>
                  <a:gd name="T20" fmla="*/ 40 w 253"/>
                  <a:gd name="T21" fmla="*/ 110 h 221"/>
                  <a:gd name="T22" fmla="*/ 1 w 253"/>
                  <a:gd name="T23" fmla="*/ 45 h 221"/>
                  <a:gd name="T24" fmla="*/ 0 w 253"/>
                  <a:gd name="T25" fmla="*/ 17 h 221"/>
                  <a:gd name="T26" fmla="*/ 17 w 253"/>
                  <a:gd name="T27" fmla="*/ 6 h 221"/>
                  <a:gd name="T28" fmla="*/ 98 w 253"/>
                  <a:gd name="T29" fmla="*/ 53 h 221"/>
                  <a:gd name="T30" fmla="*/ 114 w 253"/>
                  <a:gd name="T31" fmla="*/ 73 h 221"/>
                  <a:gd name="T32" fmla="*/ 140 w 253"/>
                  <a:gd name="T33" fmla="*/ 88 h 221"/>
                  <a:gd name="T34" fmla="*/ 155 w 253"/>
                  <a:gd name="T35" fmla="*/ 86 h 221"/>
                  <a:gd name="T36" fmla="*/ 236 w 253"/>
                  <a:gd name="T37" fmla="*/ 132 h 221"/>
                  <a:gd name="T38" fmla="*/ 103 w 253"/>
                  <a:gd name="T39" fmla="*/ 84 h 221"/>
                  <a:gd name="T40" fmla="*/ 90 w 253"/>
                  <a:gd name="T41" fmla="*/ 57 h 221"/>
                  <a:gd name="T42" fmla="*/ 25 w 253"/>
                  <a:gd name="T43" fmla="*/ 20 h 221"/>
                  <a:gd name="T44" fmla="*/ 12 w 253"/>
                  <a:gd name="T45" fmla="*/ 28 h 221"/>
                  <a:gd name="T46" fmla="*/ 13 w 253"/>
                  <a:gd name="T47" fmla="*/ 51 h 221"/>
                  <a:gd name="T48" fmla="*/ 43 w 253"/>
                  <a:gd name="T49" fmla="*/ 103 h 221"/>
                  <a:gd name="T50" fmla="*/ 69 w 253"/>
                  <a:gd name="T51" fmla="*/ 117 h 221"/>
                  <a:gd name="T52" fmla="*/ 99 w 253"/>
                  <a:gd name="T53" fmla="*/ 106 h 221"/>
                  <a:gd name="T54" fmla="*/ 103 w 253"/>
                  <a:gd name="T55" fmla="*/ 84 h 221"/>
                  <a:gd name="T56" fmla="*/ 241 w 253"/>
                  <a:gd name="T57" fmla="*/ 161 h 221"/>
                  <a:gd name="T58" fmla="*/ 228 w 253"/>
                  <a:gd name="T59" fmla="*/ 137 h 221"/>
                  <a:gd name="T60" fmla="*/ 163 w 253"/>
                  <a:gd name="T61" fmla="*/ 99 h 221"/>
                  <a:gd name="T62" fmla="*/ 150 w 253"/>
                  <a:gd name="T63" fmla="*/ 110 h 221"/>
                  <a:gd name="T64" fmla="*/ 154 w 253"/>
                  <a:gd name="T65" fmla="*/ 138 h 221"/>
                  <a:gd name="T66" fmla="*/ 184 w 253"/>
                  <a:gd name="T67" fmla="*/ 184 h 221"/>
                  <a:gd name="T68" fmla="*/ 209 w 253"/>
                  <a:gd name="T69" fmla="*/ 199 h 221"/>
                  <a:gd name="T70" fmla="*/ 240 w 253"/>
                  <a:gd name="T71" fmla="*/ 183 h 221"/>
                  <a:gd name="T72" fmla="*/ 241 w 253"/>
                  <a:gd name="T73" fmla="*/ 161 h 2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53" h="221">
                    <a:moveTo>
                      <a:pt x="236" y="132"/>
                    </a:moveTo>
                    <a:cubicBezTo>
                      <a:pt x="246" y="138"/>
                      <a:pt x="253" y="152"/>
                      <a:pt x="253" y="163"/>
                    </a:cubicBezTo>
                    <a:cubicBezTo>
                      <a:pt x="251" y="190"/>
                      <a:pt x="251" y="190"/>
                      <a:pt x="251" y="190"/>
                    </a:cubicBezTo>
                    <a:cubicBezTo>
                      <a:pt x="250" y="213"/>
                      <a:pt x="233" y="221"/>
                      <a:pt x="213" y="210"/>
                    </a:cubicBezTo>
                    <a:cubicBezTo>
                      <a:pt x="181" y="191"/>
                      <a:pt x="181" y="191"/>
                      <a:pt x="181" y="191"/>
                    </a:cubicBezTo>
                    <a:cubicBezTo>
                      <a:pt x="163" y="181"/>
                      <a:pt x="147" y="157"/>
                      <a:pt x="144" y="134"/>
                    </a:cubicBezTo>
                    <a:cubicBezTo>
                      <a:pt x="140" y="112"/>
                      <a:pt x="140" y="112"/>
                      <a:pt x="140" y="112"/>
                    </a:cubicBezTo>
                    <a:cubicBezTo>
                      <a:pt x="113" y="96"/>
                      <a:pt x="113" y="96"/>
                      <a:pt x="113" y="96"/>
                    </a:cubicBezTo>
                    <a:cubicBezTo>
                      <a:pt x="109" y="114"/>
                      <a:pt x="109" y="114"/>
                      <a:pt x="109" y="114"/>
                    </a:cubicBezTo>
                    <a:cubicBezTo>
                      <a:pt x="106" y="133"/>
                      <a:pt x="90" y="139"/>
                      <a:pt x="71" y="128"/>
                    </a:cubicBezTo>
                    <a:cubicBezTo>
                      <a:pt x="40" y="110"/>
                      <a:pt x="40" y="110"/>
                      <a:pt x="40" y="110"/>
                    </a:cubicBezTo>
                    <a:cubicBezTo>
                      <a:pt x="19" y="98"/>
                      <a:pt x="2" y="70"/>
                      <a:pt x="1" y="45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5"/>
                      <a:pt x="7" y="0"/>
                      <a:pt x="17" y="6"/>
                    </a:cubicBezTo>
                    <a:cubicBezTo>
                      <a:pt x="98" y="53"/>
                      <a:pt x="98" y="53"/>
                      <a:pt x="98" y="53"/>
                    </a:cubicBezTo>
                    <a:cubicBezTo>
                      <a:pt x="105" y="57"/>
                      <a:pt x="111" y="65"/>
                      <a:pt x="114" y="73"/>
                    </a:cubicBezTo>
                    <a:cubicBezTo>
                      <a:pt x="140" y="88"/>
                      <a:pt x="140" y="88"/>
                      <a:pt x="140" y="88"/>
                    </a:cubicBezTo>
                    <a:cubicBezTo>
                      <a:pt x="142" y="83"/>
                      <a:pt x="148" y="82"/>
                      <a:pt x="155" y="86"/>
                    </a:cubicBezTo>
                    <a:lnTo>
                      <a:pt x="236" y="132"/>
                    </a:lnTo>
                    <a:close/>
                    <a:moveTo>
                      <a:pt x="103" y="84"/>
                    </a:moveTo>
                    <a:cubicBezTo>
                      <a:pt x="105" y="75"/>
                      <a:pt x="99" y="62"/>
                      <a:pt x="90" y="57"/>
                    </a:cubicBezTo>
                    <a:cubicBezTo>
                      <a:pt x="25" y="20"/>
                      <a:pt x="25" y="20"/>
                      <a:pt x="25" y="20"/>
                    </a:cubicBezTo>
                    <a:cubicBezTo>
                      <a:pt x="18" y="15"/>
                      <a:pt x="11" y="19"/>
                      <a:pt x="12" y="28"/>
                    </a:cubicBezTo>
                    <a:cubicBezTo>
                      <a:pt x="13" y="51"/>
                      <a:pt x="13" y="51"/>
                      <a:pt x="13" y="51"/>
                    </a:cubicBezTo>
                    <a:cubicBezTo>
                      <a:pt x="13" y="71"/>
                      <a:pt x="27" y="93"/>
                      <a:pt x="43" y="103"/>
                    </a:cubicBezTo>
                    <a:cubicBezTo>
                      <a:pt x="69" y="117"/>
                      <a:pt x="69" y="117"/>
                      <a:pt x="69" y="117"/>
                    </a:cubicBezTo>
                    <a:cubicBezTo>
                      <a:pt x="83" y="126"/>
                      <a:pt x="96" y="121"/>
                      <a:pt x="99" y="106"/>
                    </a:cubicBezTo>
                    <a:cubicBezTo>
                      <a:pt x="103" y="84"/>
                      <a:pt x="103" y="84"/>
                      <a:pt x="103" y="84"/>
                    </a:cubicBezTo>
                    <a:moveTo>
                      <a:pt x="241" y="161"/>
                    </a:moveTo>
                    <a:cubicBezTo>
                      <a:pt x="242" y="152"/>
                      <a:pt x="236" y="141"/>
                      <a:pt x="228" y="137"/>
                    </a:cubicBezTo>
                    <a:cubicBezTo>
                      <a:pt x="163" y="99"/>
                      <a:pt x="163" y="99"/>
                      <a:pt x="163" y="99"/>
                    </a:cubicBezTo>
                    <a:cubicBezTo>
                      <a:pt x="154" y="94"/>
                      <a:pt x="148" y="100"/>
                      <a:pt x="150" y="110"/>
                    </a:cubicBezTo>
                    <a:cubicBezTo>
                      <a:pt x="154" y="138"/>
                      <a:pt x="154" y="138"/>
                      <a:pt x="154" y="138"/>
                    </a:cubicBezTo>
                    <a:cubicBezTo>
                      <a:pt x="157" y="156"/>
                      <a:pt x="169" y="175"/>
                      <a:pt x="184" y="184"/>
                    </a:cubicBezTo>
                    <a:cubicBezTo>
                      <a:pt x="209" y="199"/>
                      <a:pt x="209" y="199"/>
                      <a:pt x="209" y="199"/>
                    </a:cubicBezTo>
                    <a:cubicBezTo>
                      <a:pt x="226" y="208"/>
                      <a:pt x="239" y="201"/>
                      <a:pt x="240" y="183"/>
                    </a:cubicBezTo>
                    <a:cubicBezTo>
                      <a:pt x="241" y="161"/>
                      <a:pt x="241" y="161"/>
                      <a:pt x="241" y="161"/>
                    </a:cubicBezTo>
                  </a:path>
                </a:pathLst>
              </a:custGeom>
              <a:solidFill>
                <a:srgbClr val="3379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9" name="任意多边形: 形状 378">
                <a:extLst>
                  <a:ext uri="{FF2B5EF4-FFF2-40B4-BE49-F238E27FC236}">
                    <a16:creationId xmlns:a16="http://schemas.microsoft.com/office/drawing/2014/main" id="{21239E47-C230-4419-AA3F-9AADE992EDC4}"/>
                  </a:ext>
                </a:extLst>
              </p:cNvPr>
              <p:cNvSpPr/>
              <p:nvPr/>
            </p:nvSpPr>
            <p:spPr bwMode="auto">
              <a:xfrm>
                <a:off x="7015258" y="3925002"/>
                <a:ext cx="637529" cy="730116"/>
              </a:xfrm>
              <a:custGeom>
                <a:avLst/>
                <a:gdLst>
                  <a:gd name="T0" fmla="*/ 116 w 116"/>
                  <a:gd name="T1" fmla="*/ 78 h 133"/>
                  <a:gd name="T2" fmla="*/ 116 w 116"/>
                  <a:gd name="T3" fmla="*/ 76 h 133"/>
                  <a:gd name="T4" fmla="*/ 116 w 116"/>
                  <a:gd name="T5" fmla="*/ 75 h 133"/>
                  <a:gd name="T6" fmla="*/ 116 w 116"/>
                  <a:gd name="T7" fmla="*/ 73 h 133"/>
                  <a:gd name="T8" fmla="*/ 115 w 116"/>
                  <a:gd name="T9" fmla="*/ 71 h 133"/>
                  <a:gd name="T10" fmla="*/ 115 w 116"/>
                  <a:gd name="T11" fmla="*/ 70 h 133"/>
                  <a:gd name="T12" fmla="*/ 115 w 116"/>
                  <a:gd name="T13" fmla="*/ 69 h 133"/>
                  <a:gd name="T14" fmla="*/ 114 w 116"/>
                  <a:gd name="T15" fmla="*/ 67 h 133"/>
                  <a:gd name="T16" fmla="*/ 114 w 116"/>
                  <a:gd name="T17" fmla="*/ 66 h 133"/>
                  <a:gd name="T18" fmla="*/ 113 w 116"/>
                  <a:gd name="T19" fmla="*/ 65 h 133"/>
                  <a:gd name="T20" fmla="*/ 112 w 116"/>
                  <a:gd name="T21" fmla="*/ 63 h 133"/>
                  <a:gd name="T22" fmla="*/ 111 w 116"/>
                  <a:gd name="T23" fmla="*/ 61 h 133"/>
                  <a:gd name="T24" fmla="*/ 110 w 116"/>
                  <a:gd name="T25" fmla="*/ 59 h 133"/>
                  <a:gd name="T26" fmla="*/ 108 w 116"/>
                  <a:gd name="T27" fmla="*/ 57 h 133"/>
                  <a:gd name="T28" fmla="*/ 108 w 116"/>
                  <a:gd name="T29" fmla="*/ 56 h 133"/>
                  <a:gd name="T30" fmla="*/ 106 w 116"/>
                  <a:gd name="T31" fmla="*/ 55 h 133"/>
                  <a:gd name="T32" fmla="*/ 105 w 116"/>
                  <a:gd name="T33" fmla="*/ 54 h 133"/>
                  <a:gd name="T34" fmla="*/ 104 w 116"/>
                  <a:gd name="T35" fmla="*/ 53 h 133"/>
                  <a:gd name="T36" fmla="*/ 103 w 116"/>
                  <a:gd name="T37" fmla="*/ 52 h 133"/>
                  <a:gd name="T38" fmla="*/ 101 w 116"/>
                  <a:gd name="T39" fmla="*/ 51 h 133"/>
                  <a:gd name="T40" fmla="*/ 100 w 116"/>
                  <a:gd name="T41" fmla="*/ 50 h 133"/>
                  <a:gd name="T42" fmla="*/ 19 w 116"/>
                  <a:gd name="T43" fmla="*/ 3 h 133"/>
                  <a:gd name="T44" fmla="*/ 17 w 116"/>
                  <a:gd name="T45" fmla="*/ 2 h 133"/>
                  <a:gd name="T46" fmla="*/ 16 w 116"/>
                  <a:gd name="T47" fmla="*/ 1 h 133"/>
                  <a:gd name="T48" fmla="*/ 15 w 116"/>
                  <a:gd name="T49" fmla="*/ 1 h 133"/>
                  <a:gd name="T50" fmla="*/ 14 w 116"/>
                  <a:gd name="T51" fmla="*/ 1 h 133"/>
                  <a:gd name="T52" fmla="*/ 12 w 116"/>
                  <a:gd name="T53" fmla="*/ 0 h 133"/>
                  <a:gd name="T54" fmla="*/ 12 w 116"/>
                  <a:gd name="T55" fmla="*/ 0 h 133"/>
                  <a:gd name="T56" fmla="*/ 10 w 116"/>
                  <a:gd name="T57" fmla="*/ 0 h 133"/>
                  <a:gd name="T58" fmla="*/ 9 w 116"/>
                  <a:gd name="T59" fmla="*/ 1 h 133"/>
                  <a:gd name="T60" fmla="*/ 8 w 116"/>
                  <a:gd name="T61" fmla="*/ 1 h 133"/>
                  <a:gd name="T62" fmla="*/ 1 w 116"/>
                  <a:gd name="T63" fmla="*/ 5 h 133"/>
                  <a:gd name="T64" fmla="*/ 4 w 116"/>
                  <a:gd name="T65" fmla="*/ 4 h 133"/>
                  <a:gd name="T66" fmla="*/ 5 w 116"/>
                  <a:gd name="T67" fmla="*/ 4 h 133"/>
                  <a:gd name="T68" fmla="*/ 8 w 116"/>
                  <a:gd name="T69" fmla="*/ 5 h 133"/>
                  <a:gd name="T70" fmla="*/ 10 w 116"/>
                  <a:gd name="T71" fmla="*/ 6 h 133"/>
                  <a:gd name="T72" fmla="*/ 95 w 116"/>
                  <a:gd name="T73" fmla="*/ 54 h 133"/>
                  <a:gd name="T74" fmla="*/ 97 w 116"/>
                  <a:gd name="T75" fmla="*/ 56 h 133"/>
                  <a:gd name="T76" fmla="*/ 100 w 116"/>
                  <a:gd name="T77" fmla="*/ 59 h 133"/>
                  <a:gd name="T78" fmla="*/ 101 w 116"/>
                  <a:gd name="T79" fmla="*/ 61 h 133"/>
                  <a:gd name="T80" fmla="*/ 104 w 116"/>
                  <a:gd name="T81" fmla="*/ 64 h 133"/>
                  <a:gd name="T82" fmla="*/ 105 w 116"/>
                  <a:gd name="T83" fmla="*/ 67 h 133"/>
                  <a:gd name="T84" fmla="*/ 107 w 116"/>
                  <a:gd name="T85" fmla="*/ 71 h 133"/>
                  <a:gd name="T86" fmla="*/ 108 w 116"/>
                  <a:gd name="T87" fmla="*/ 73 h 133"/>
                  <a:gd name="T88" fmla="*/ 109 w 116"/>
                  <a:gd name="T89" fmla="*/ 77 h 133"/>
                  <a:gd name="T90" fmla="*/ 110 w 116"/>
                  <a:gd name="T91" fmla="*/ 79 h 133"/>
                  <a:gd name="T92" fmla="*/ 110 w 116"/>
                  <a:gd name="T93" fmla="*/ 84 h 133"/>
                  <a:gd name="T94" fmla="*/ 108 w 116"/>
                  <a:gd name="T95" fmla="*/ 115 h 133"/>
                  <a:gd name="T96" fmla="*/ 106 w 116"/>
                  <a:gd name="T97" fmla="*/ 122 h 133"/>
                  <a:gd name="T98" fmla="*/ 105 w 116"/>
                  <a:gd name="T99" fmla="*/ 126 h 133"/>
                  <a:gd name="T100" fmla="*/ 102 w 116"/>
                  <a:gd name="T101" fmla="*/ 129 h 133"/>
                  <a:gd name="T102" fmla="*/ 99 w 116"/>
                  <a:gd name="T103" fmla="*/ 132 h 133"/>
                  <a:gd name="T104" fmla="*/ 106 w 116"/>
                  <a:gd name="T105" fmla="*/ 128 h 133"/>
                  <a:gd name="T106" fmla="*/ 109 w 116"/>
                  <a:gd name="T107" fmla="*/ 126 h 133"/>
                  <a:gd name="T108" fmla="*/ 111 w 116"/>
                  <a:gd name="T109" fmla="*/ 123 h 133"/>
                  <a:gd name="T110" fmla="*/ 112 w 116"/>
                  <a:gd name="T111" fmla="*/ 120 h 133"/>
                  <a:gd name="T112" fmla="*/ 113 w 116"/>
                  <a:gd name="T113" fmla="*/ 118 h 133"/>
                  <a:gd name="T114" fmla="*/ 114 w 116"/>
                  <a:gd name="T115" fmla="*/ 114 h 133"/>
                  <a:gd name="T116" fmla="*/ 115 w 116"/>
                  <a:gd name="T117" fmla="*/ 111 h 133"/>
                  <a:gd name="T118" fmla="*/ 115 w 116"/>
                  <a:gd name="T119" fmla="*/ 108 h 133"/>
                  <a:gd name="T120" fmla="*/ 116 w 116"/>
                  <a:gd name="T121" fmla="*/ 8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16" h="133">
                    <a:moveTo>
                      <a:pt x="116" y="78"/>
                    </a:moveTo>
                    <a:cubicBezTo>
                      <a:pt x="116" y="78"/>
                      <a:pt x="116" y="78"/>
                      <a:pt x="116" y="78"/>
                    </a:cubicBezTo>
                    <a:cubicBezTo>
                      <a:pt x="116" y="78"/>
                      <a:pt x="116" y="78"/>
                      <a:pt x="116" y="78"/>
                    </a:cubicBezTo>
                    <a:cubicBezTo>
                      <a:pt x="116" y="77"/>
                      <a:pt x="116" y="77"/>
                      <a:pt x="116" y="77"/>
                    </a:cubicBezTo>
                    <a:cubicBezTo>
                      <a:pt x="116" y="76"/>
                      <a:pt x="116" y="76"/>
                      <a:pt x="116" y="76"/>
                    </a:cubicBezTo>
                    <a:cubicBezTo>
                      <a:pt x="116" y="76"/>
                      <a:pt x="116" y="76"/>
                      <a:pt x="116" y="76"/>
                    </a:cubicBezTo>
                    <a:cubicBezTo>
                      <a:pt x="116" y="76"/>
                      <a:pt x="116" y="76"/>
                      <a:pt x="116" y="76"/>
                    </a:cubicBezTo>
                    <a:cubicBezTo>
                      <a:pt x="116" y="76"/>
                      <a:pt x="116" y="76"/>
                      <a:pt x="116" y="76"/>
                    </a:cubicBezTo>
                    <a:cubicBezTo>
                      <a:pt x="116" y="75"/>
                      <a:pt x="116" y="75"/>
                      <a:pt x="116" y="75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74"/>
                      <a:pt x="116" y="74"/>
                      <a:pt x="116" y="74"/>
                    </a:cubicBezTo>
                    <a:cubicBezTo>
                      <a:pt x="116" y="73"/>
                      <a:pt x="116" y="73"/>
                      <a:pt x="116" y="73"/>
                    </a:cubicBezTo>
                    <a:cubicBezTo>
                      <a:pt x="116" y="73"/>
                      <a:pt x="116" y="73"/>
                      <a:pt x="116" y="73"/>
                    </a:cubicBezTo>
                    <a:cubicBezTo>
                      <a:pt x="116" y="72"/>
                      <a:pt x="116" y="72"/>
                      <a:pt x="116" y="72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5" y="71"/>
                      <a:pt x="115" y="71"/>
                      <a:pt x="115" y="71"/>
                    </a:cubicBezTo>
                    <a:cubicBezTo>
                      <a:pt x="115" y="70"/>
                      <a:pt x="115" y="70"/>
                      <a:pt x="115" y="70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5" y="69"/>
                      <a:pt x="115" y="69"/>
                      <a:pt x="115" y="69"/>
                    </a:cubicBezTo>
                    <a:cubicBezTo>
                      <a:pt x="114" y="68"/>
                      <a:pt x="114" y="68"/>
                      <a:pt x="114" y="68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4" y="67"/>
                      <a:pt x="114" y="67"/>
                      <a:pt x="114" y="67"/>
                    </a:cubicBezTo>
                    <a:cubicBezTo>
                      <a:pt x="114" y="66"/>
                      <a:pt x="114" y="66"/>
                      <a:pt x="114" y="66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3" y="65"/>
                      <a:pt x="113" y="65"/>
                      <a:pt x="113" y="65"/>
                    </a:cubicBezTo>
                    <a:cubicBezTo>
                      <a:pt x="113" y="64"/>
                      <a:pt x="113" y="64"/>
                      <a:pt x="113" y="64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3"/>
                      <a:pt x="112" y="63"/>
                      <a:pt x="112" y="63"/>
                    </a:cubicBezTo>
                    <a:cubicBezTo>
                      <a:pt x="112" y="62"/>
                      <a:pt x="112" y="62"/>
                      <a:pt x="112" y="62"/>
                    </a:cubicBezTo>
                    <a:cubicBezTo>
                      <a:pt x="111" y="62"/>
                      <a:pt x="111" y="62"/>
                      <a:pt x="111" y="62"/>
                    </a:cubicBezTo>
                    <a:cubicBezTo>
                      <a:pt x="111" y="61"/>
                      <a:pt x="111" y="61"/>
                      <a:pt x="111" y="61"/>
                    </a:cubicBezTo>
                    <a:cubicBezTo>
                      <a:pt x="110" y="60"/>
                      <a:pt x="110" y="60"/>
                      <a:pt x="110" y="60"/>
                    </a:cubicBezTo>
                    <a:cubicBezTo>
                      <a:pt x="110" y="60"/>
                      <a:pt x="110" y="60"/>
                      <a:pt x="110" y="60"/>
                    </a:cubicBezTo>
                    <a:cubicBezTo>
                      <a:pt x="110" y="59"/>
                      <a:pt x="110" y="59"/>
                      <a:pt x="110" y="59"/>
                    </a:cubicBezTo>
                    <a:cubicBezTo>
                      <a:pt x="109" y="59"/>
                      <a:pt x="109" y="59"/>
                      <a:pt x="109" y="59"/>
                    </a:cubicBezTo>
                    <a:cubicBezTo>
                      <a:pt x="109" y="58"/>
                      <a:pt x="109" y="58"/>
                      <a:pt x="109" y="58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08" y="57"/>
                      <a:pt x="108" y="57"/>
                      <a:pt x="108" y="57"/>
                    </a:cubicBezTo>
                    <a:cubicBezTo>
                      <a:pt x="108" y="56"/>
                      <a:pt x="108" y="56"/>
                      <a:pt x="108" y="56"/>
                    </a:cubicBezTo>
                    <a:cubicBezTo>
                      <a:pt x="107" y="56"/>
                      <a:pt x="107" y="56"/>
                      <a:pt x="107" y="56"/>
                    </a:cubicBezTo>
                    <a:cubicBezTo>
                      <a:pt x="106" y="55"/>
                      <a:pt x="106" y="55"/>
                      <a:pt x="106" y="55"/>
                    </a:cubicBezTo>
                    <a:cubicBezTo>
                      <a:pt x="106" y="55"/>
                      <a:pt x="106" y="55"/>
                      <a:pt x="106" y="55"/>
                    </a:cubicBezTo>
                    <a:cubicBezTo>
                      <a:pt x="106" y="55"/>
                      <a:pt x="106" y="55"/>
                      <a:pt x="106" y="55"/>
                    </a:cubicBezTo>
                    <a:cubicBezTo>
                      <a:pt x="106" y="54"/>
                      <a:pt x="106" y="54"/>
                      <a:pt x="106" y="54"/>
                    </a:cubicBezTo>
                    <a:cubicBezTo>
                      <a:pt x="105" y="54"/>
                      <a:pt x="105" y="54"/>
                      <a:pt x="105" y="54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5" y="53"/>
                      <a:pt x="105" y="53"/>
                      <a:pt x="105" y="53"/>
                    </a:cubicBezTo>
                    <a:cubicBezTo>
                      <a:pt x="104" y="53"/>
                      <a:pt x="104" y="53"/>
                      <a:pt x="104" y="53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103" y="52"/>
                      <a:pt x="103" y="52"/>
                      <a:pt x="103" y="52"/>
                    </a:cubicBezTo>
                    <a:cubicBezTo>
                      <a:pt x="102" y="51"/>
                      <a:pt x="102" y="51"/>
                      <a:pt x="102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1" y="51"/>
                      <a:pt x="101" y="51"/>
                      <a:pt x="101" y="51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00" y="50"/>
                      <a:pt x="100" y="50"/>
                      <a:pt x="100" y="50"/>
                    </a:cubicBezTo>
                    <a:cubicBezTo>
                      <a:pt x="19" y="3"/>
                      <a:pt x="19" y="3"/>
                      <a:pt x="19" y="3"/>
                    </a:cubicBezTo>
                    <a:cubicBezTo>
                      <a:pt x="18" y="2"/>
                      <a:pt x="18" y="2"/>
                      <a:pt x="18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7" y="2"/>
                      <a:pt x="17" y="2"/>
                      <a:pt x="17" y="2"/>
                    </a:cubicBezTo>
                    <a:cubicBezTo>
                      <a:pt x="16" y="1"/>
                      <a:pt x="16" y="1"/>
                      <a:pt x="16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5" y="1"/>
                      <a:pt x="15" y="1"/>
                      <a:pt x="15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3" y="1"/>
                      <a:pt x="13" y="1"/>
                      <a:pt x="13" y="1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9" y="1"/>
                      <a:pt x="9" y="1"/>
                      <a:pt x="9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1"/>
                      <a:pt x="7" y="1"/>
                      <a:pt x="7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1" y="5"/>
                      <a:pt x="1" y="5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2" y="4"/>
                      <a:pt x="2" y="4"/>
                      <a:pt x="2" y="4"/>
                    </a:cubicBezTo>
                    <a:cubicBezTo>
                      <a:pt x="3" y="4"/>
                      <a:pt x="3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4"/>
                      <a:pt x="6" y="4"/>
                      <a:pt x="7" y="5"/>
                    </a:cubicBezTo>
                    <a:cubicBezTo>
                      <a:pt x="7" y="5"/>
                      <a:pt x="7" y="5"/>
                      <a:pt x="7" y="5"/>
                    </a:cubicBezTo>
                    <a:cubicBezTo>
                      <a:pt x="7" y="5"/>
                      <a:pt x="8" y="5"/>
                      <a:pt x="8" y="5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9" y="5"/>
                      <a:pt x="10" y="5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1" y="6"/>
                      <a:pt x="11" y="6"/>
                      <a:pt x="12" y="7"/>
                    </a:cubicBezTo>
                    <a:cubicBezTo>
                      <a:pt x="93" y="53"/>
                      <a:pt x="93" y="53"/>
                      <a:pt x="93" y="53"/>
                    </a:cubicBezTo>
                    <a:cubicBezTo>
                      <a:pt x="94" y="54"/>
                      <a:pt x="94" y="54"/>
                      <a:pt x="95" y="54"/>
                    </a:cubicBezTo>
                    <a:cubicBezTo>
                      <a:pt x="95" y="55"/>
                      <a:pt x="95" y="55"/>
                      <a:pt x="95" y="55"/>
                    </a:cubicBezTo>
                    <a:cubicBezTo>
                      <a:pt x="95" y="55"/>
                      <a:pt x="96" y="55"/>
                      <a:pt x="96" y="56"/>
                    </a:cubicBezTo>
                    <a:cubicBezTo>
                      <a:pt x="97" y="56"/>
                      <a:pt x="97" y="56"/>
                      <a:pt x="97" y="56"/>
                    </a:cubicBezTo>
                    <a:cubicBezTo>
                      <a:pt x="97" y="56"/>
                      <a:pt x="98" y="57"/>
                      <a:pt x="98" y="57"/>
                    </a:cubicBezTo>
                    <a:cubicBezTo>
                      <a:pt x="98" y="57"/>
                      <a:pt x="98" y="57"/>
                      <a:pt x="98" y="57"/>
                    </a:cubicBezTo>
                    <a:cubicBezTo>
                      <a:pt x="99" y="58"/>
                      <a:pt x="99" y="58"/>
                      <a:pt x="100" y="59"/>
                    </a:cubicBezTo>
                    <a:cubicBezTo>
                      <a:pt x="100" y="59"/>
                      <a:pt x="100" y="59"/>
                      <a:pt x="100" y="59"/>
                    </a:cubicBezTo>
                    <a:cubicBezTo>
                      <a:pt x="100" y="59"/>
                      <a:pt x="101" y="60"/>
                      <a:pt x="101" y="61"/>
                    </a:cubicBezTo>
                    <a:cubicBezTo>
                      <a:pt x="101" y="61"/>
                      <a:pt x="101" y="61"/>
                      <a:pt x="101" y="61"/>
                    </a:cubicBezTo>
                    <a:cubicBezTo>
                      <a:pt x="102" y="61"/>
                      <a:pt x="102" y="62"/>
                      <a:pt x="103" y="62"/>
                    </a:cubicBezTo>
                    <a:cubicBezTo>
                      <a:pt x="103" y="63"/>
                      <a:pt x="103" y="63"/>
                      <a:pt x="103" y="63"/>
                    </a:cubicBezTo>
                    <a:cubicBezTo>
                      <a:pt x="103" y="63"/>
                      <a:pt x="103" y="64"/>
                      <a:pt x="104" y="64"/>
                    </a:cubicBezTo>
                    <a:cubicBezTo>
                      <a:pt x="104" y="65"/>
                      <a:pt x="104" y="65"/>
                      <a:pt x="104" y="65"/>
                    </a:cubicBezTo>
                    <a:cubicBezTo>
                      <a:pt x="105" y="65"/>
                      <a:pt x="105" y="66"/>
                      <a:pt x="105" y="66"/>
                    </a:cubicBezTo>
                    <a:cubicBezTo>
                      <a:pt x="105" y="67"/>
                      <a:pt x="105" y="67"/>
                      <a:pt x="105" y="67"/>
                    </a:cubicBezTo>
                    <a:cubicBezTo>
                      <a:pt x="106" y="67"/>
                      <a:pt x="106" y="68"/>
                      <a:pt x="106" y="69"/>
                    </a:cubicBezTo>
                    <a:cubicBezTo>
                      <a:pt x="106" y="69"/>
                      <a:pt x="106" y="69"/>
                      <a:pt x="106" y="69"/>
                    </a:cubicBezTo>
                    <a:cubicBezTo>
                      <a:pt x="107" y="69"/>
                      <a:pt x="107" y="70"/>
                      <a:pt x="107" y="71"/>
                    </a:cubicBezTo>
                    <a:cubicBezTo>
                      <a:pt x="107" y="71"/>
                      <a:pt x="107" y="71"/>
                      <a:pt x="107" y="71"/>
                    </a:cubicBezTo>
                    <a:cubicBezTo>
                      <a:pt x="108" y="71"/>
                      <a:pt x="108" y="72"/>
                      <a:pt x="108" y="73"/>
                    </a:cubicBezTo>
                    <a:cubicBezTo>
                      <a:pt x="108" y="73"/>
                      <a:pt x="108" y="73"/>
                      <a:pt x="108" y="73"/>
                    </a:cubicBezTo>
                    <a:cubicBezTo>
                      <a:pt x="108" y="74"/>
                      <a:pt x="109" y="74"/>
                      <a:pt x="109" y="75"/>
                    </a:cubicBezTo>
                    <a:cubicBezTo>
                      <a:pt x="109" y="75"/>
                      <a:pt x="109" y="75"/>
                      <a:pt x="109" y="75"/>
                    </a:cubicBezTo>
                    <a:cubicBezTo>
                      <a:pt x="109" y="76"/>
                      <a:pt x="109" y="77"/>
                      <a:pt x="109" y="77"/>
                    </a:cubicBezTo>
                    <a:cubicBezTo>
                      <a:pt x="109" y="77"/>
                      <a:pt x="109" y="77"/>
                      <a:pt x="109" y="77"/>
                    </a:cubicBezTo>
                    <a:cubicBezTo>
                      <a:pt x="109" y="78"/>
                      <a:pt x="110" y="79"/>
                      <a:pt x="110" y="79"/>
                    </a:cubicBezTo>
                    <a:cubicBezTo>
                      <a:pt x="110" y="79"/>
                      <a:pt x="110" y="79"/>
                      <a:pt x="110" y="79"/>
                    </a:cubicBezTo>
                    <a:cubicBezTo>
                      <a:pt x="110" y="80"/>
                      <a:pt x="110" y="81"/>
                      <a:pt x="110" y="81"/>
                    </a:cubicBezTo>
                    <a:cubicBezTo>
                      <a:pt x="110" y="82"/>
                      <a:pt x="110" y="82"/>
                      <a:pt x="110" y="82"/>
                    </a:cubicBezTo>
                    <a:cubicBezTo>
                      <a:pt x="110" y="82"/>
                      <a:pt x="110" y="83"/>
                      <a:pt x="110" y="84"/>
                    </a:cubicBezTo>
                    <a:cubicBezTo>
                      <a:pt x="108" y="111"/>
                      <a:pt x="108" y="111"/>
                      <a:pt x="108" y="111"/>
                    </a:cubicBezTo>
                    <a:cubicBezTo>
                      <a:pt x="108" y="112"/>
                      <a:pt x="108" y="113"/>
                      <a:pt x="108" y="115"/>
                    </a:cubicBezTo>
                    <a:cubicBezTo>
                      <a:pt x="108" y="115"/>
                      <a:pt x="108" y="115"/>
                      <a:pt x="108" y="115"/>
                    </a:cubicBezTo>
                    <a:cubicBezTo>
                      <a:pt x="108" y="116"/>
                      <a:pt x="108" y="117"/>
                      <a:pt x="107" y="118"/>
                    </a:cubicBezTo>
                    <a:cubicBezTo>
                      <a:pt x="107" y="119"/>
                      <a:pt x="107" y="119"/>
                      <a:pt x="107" y="119"/>
                    </a:cubicBezTo>
                    <a:cubicBezTo>
                      <a:pt x="107" y="120"/>
                      <a:pt x="107" y="121"/>
                      <a:pt x="106" y="122"/>
                    </a:cubicBezTo>
                    <a:cubicBezTo>
                      <a:pt x="106" y="122"/>
                      <a:pt x="106" y="122"/>
                      <a:pt x="106" y="122"/>
                    </a:cubicBezTo>
                    <a:cubicBezTo>
                      <a:pt x="106" y="123"/>
                      <a:pt x="106" y="124"/>
                      <a:pt x="105" y="125"/>
                    </a:cubicBezTo>
                    <a:cubicBezTo>
                      <a:pt x="105" y="125"/>
                      <a:pt x="105" y="125"/>
                      <a:pt x="105" y="126"/>
                    </a:cubicBezTo>
                    <a:cubicBezTo>
                      <a:pt x="104" y="126"/>
                      <a:pt x="104" y="127"/>
                      <a:pt x="104" y="127"/>
                    </a:cubicBezTo>
                    <a:cubicBezTo>
                      <a:pt x="103" y="128"/>
                      <a:pt x="103" y="128"/>
                      <a:pt x="103" y="128"/>
                    </a:cubicBezTo>
                    <a:cubicBezTo>
                      <a:pt x="103" y="128"/>
                      <a:pt x="102" y="129"/>
                      <a:pt x="102" y="129"/>
                    </a:cubicBezTo>
                    <a:cubicBezTo>
                      <a:pt x="101" y="130"/>
                      <a:pt x="101" y="130"/>
                      <a:pt x="101" y="130"/>
                    </a:cubicBezTo>
                    <a:cubicBezTo>
                      <a:pt x="101" y="131"/>
                      <a:pt x="100" y="131"/>
                      <a:pt x="100" y="131"/>
                    </a:cubicBezTo>
                    <a:cubicBezTo>
                      <a:pt x="99" y="132"/>
                      <a:pt x="99" y="132"/>
                      <a:pt x="99" y="132"/>
                    </a:cubicBezTo>
                    <a:cubicBezTo>
                      <a:pt x="99" y="132"/>
                      <a:pt x="98" y="133"/>
                      <a:pt x="97" y="133"/>
                    </a:cubicBezTo>
                    <a:cubicBezTo>
                      <a:pt x="104" y="129"/>
                      <a:pt x="104" y="129"/>
                      <a:pt x="104" y="129"/>
                    </a:cubicBezTo>
                    <a:cubicBezTo>
                      <a:pt x="105" y="129"/>
                      <a:pt x="105" y="129"/>
                      <a:pt x="106" y="128"/>
                    </a:cubicBezTo>
                    <a:cubicBezTo>
                      <a:pt x="107" y="127"/>
                      <a:pt x="107" y="127"/>
                      <a:pt x="107" y="127"/>
                    </a:cubicBezTo>
                    <a:cubicBezTo>
                      <a:pt x="107" y="127"/>
                      <a:pt x="108" y="127"/>
                      <a:pt x="108" y="12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09" y="125"/>
                      <a:pt x="109" y="125"/>
                      <a:pt x="110" y="124"/>
                    </a:cubicBezTo>
                    <a:cubicBezTo>
                      <a:pt x="110" y="123"/>
                      <a:pt x="110" y="123"/>
                      <a:pt x="110" y="123"/>
                    </a:cubicBezTo>
                    <a:cubicBezTo>
                      <a:pt x="111" y="123"/>
                      <a:pt x="111" y="123"/>
                      <a:pt x="111" y="123"/>
                    </a:cubicBezTo>
                    <a:cubicBezTo>
                      <a:pt x="111" y="123"/>
                      <a:pt x="111" y="122"/>
                      <a:pt x="111" y="122"/>
                    </a:cubicBezTo>
                    <a:cubicBezTo>
                      <a:pt x="111" y="121"/>
                      <a:pt x="112" y="121"/>
                      <a:pt x="112" y="121"/>
                    </a:cubicBezTo>
                    <a:cubicBezTo>
                      <a:pt x="112" y="120"/>
                      <a:pt x="112" y="120"/>
                      <a:pt x="112" y="120"/>
                    </a:cubicBezTo>
                    <a:cubicBezTo>
                      <a:pt x="112" y="120"/>
                      <a:pt x="113" y="119"/>
                      <a:pt x="113" y="118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8"/>
                      <a:pt x="113" y="118"/>
                      <a:pt x="113" y="118"/>
                    </a:cubicBezTo>
                    <a:cubicBezTo>
                      <a:pt x="113" y="117"/>
                      <a:pt x="113" y="117"/>
                      <a:pt x="114" y="116"/>
                    </a:cubicBezTo>
                    <a:cubicBezTo>
                      <a:pt x="114" y="116"/>
                      <a:pt x="114" y="115"/>
                      <a:pt x="114" y="115"/>
                    </a:cubicBezTo>
                    <a:cubicBezTo>
                      <a:pt x="114" y="114"/>
                      <a:pt x="114" y="114"/>
                      <a:pt x="114" y="114"/>
                    </a:cubicBezTo>
                    <a:cubicBezTo>
                      <a:pt x="114" y="114"/>
                      <a:pt x="114" y="114"/>
                      <a:pt x="114" y="114"/>
                    </a:cubicBezTo>
                    <a:cubicBezTo>
                      <a:pt x="114" y="113"/>
                      <a:pt x="114" y="113"/>
                      <a:pt x="115" y="112"/>
                    </a:cubicBezTo>
                    <a:cubicBezTo>
                      <a:pt x="115" y="111"/>
                      <a:pt x="115" y="111"/>
                      <a:pt x="115" y="111"/>
                    </a:cubicBezTo>
                    <a:cubicBezTo>
                      <a:pt x="115" y="111"/>
                      <a:pt x="115" y="111"/>
                      <a:pt x="115" y="111"/>
                    </a:cubicBezTo>
                    <a:cubicBezTo>
                      <a:pt x="115" y="110"/>
                      <a:pt x="115" y="110"/>
                      <a:pt x="115" y="110"/>
                    </a:cubicBezTo>
                    <a:cubicBezTo>
                      <a:pt x="115" y="110"/>
                      <a:pt x="115" y="109"/>
                      <a:pt x="115" y="108"/>
                    </a:cubicBezTo>
                    <a:cubicBezTo>
                      <a:pt x="115" y="108"/>
                      <a:pt x="115" y="107"/>
                      <a:pt x="115" y="107"/>
                    </a:cubicBezTo>
                    <a:cubicBezTo>
                      <a:pt x="116" y="80"/>
                      <a:pt x="116" y="80"/>
                      <a:pt x="116" y="80"/>
                    </a:cubicBezTo>
                    <a:cubicBezTo>
                      <a:pt x="116" y="80"/>
                      <a:pt x="116" y="80"/>
                      <a:pt x="116" y="80"/>
                    </a:cubicBezTo>
                    <a:cubicBezTo>
                      <a:pt x="116" y="79"/>
                      <a:pt x="116" y="79"/>
                      <a:pt x="116" y="79"/>
                    </a:cubicBezTo>
                    <a:lnTo>
                      <a:pt x="116" y="78"/>
                    </a:lnTo>
                    <a:close/>
                  </a:path>
                </a:pathLst>
              </a:custGeom>
              <a:solidFill>
                <a:srgbClr val="89B7E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B5365172-DC57-4C21-BCD6-B93FB71DA1FE}"/>
                </a:ext>
              </a:extLst>
            </p:cNvPr>
            <p:cNvSpPr/>
            <p:nvPr/>
          </p:nvSpPr>
          <p:spPr>
            <a:xfrm>
              <a:off x="6480812" y="5339217"/>
              <a:ext cx="785518" cy="785516"/>
            </a:xfrm>
            <a:prstGeom prst="ellipse">
              <a:avLst/>
            </a:prstGeom>
            <a:solidFill>
              <a:schemeClr val="bg1"/>
            </a:solidFill>
            <a:ln w="38100" cap="rnd">
              <a:solidFill>
                <a:schemeClr val="bg1"/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CC502E67-0D98-4A0F-8D5D-73D771EA1ED2}"/>
                </a:ext>
              </a:extLst>
            </p:cNvPr>
            <p:cNvSpPr/>
            <p:nvPr/>
          </p:nvSpPr>
          <p:spPr>
            <a:xfrm>
              <a:off x="6480812" y="1692437"/>
              <a:ext cx="675205" cy="675205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r>
                <a:rPr lang="en-US" altLang="zh-CN" sz="2000" b="1" dirty="0">
                  <a:solidFill>
                    <a:schemeClr val="bg1"/>
                  </a:solidFill>
                  <a:cs typeface="+mn-ea"/>
                  <a:sym typeface="+mn-lt"/>
                </a:rPr>
                <a:t>01</a:t>
              </a:r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AC1E9D5-88B2-4F5B-9117-843A25ABB679}"/>
                </a:ext>
              </a:extLst>
            </p:cNvPr>
            <p:cNvGrpSpPr/>
            <p:nvPr/>
          </p:nvGrpSpPr>
          <p:grpSpPr>
            <a:xfrm>
              <a:off x="7286886" y="1604654"/>
              <a:ext cx="3662524" cy="850770"/>
              <a:chOff x="6913774" y="5229206"/>
              <a:chExt cx="3662524" cy="850770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7F6B6859-E432-4B9C-974D-4A4B92A2AC16}"/>
                  </a:ext>
                </a:extLst>
              </p:cNvPr>
              <p:cNvSpPr/>
              <p:nvPr/>
            </p:nvSpPr>
            <p:spPr bwMode="auto">
              <a:xfrm>
                <a:off x="6913774" y="5636515"/>
                <a:ext cx="3662522" cy="443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1746ED36-D8F0-465B-B02F-C378C63C820D}"/>
                  </a:ext>
                </a:extLst>
              </p:cNvPr>
              <p:cNvSpPr txBox="1"/>
              <p:nvPr/>
            </p:nvSpPr>
            <p:spPr bwMode="auto">
              <a:xfrm>
                <a:off x="6913774" y="5229206"/>
                <a:ext cx="3662524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课程介绍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51917A60-541A-4321-ABBF-A0084B577E07}"/>
                </a:ext>
              </a:extLst>
            </p:cNvPr>
            <p:cNvSpPr/>
            <p:nvPr/>
          </p:nvSpPr>
          <p:spPr>
            <a:xfrm>
              <a:off x="6480812" y="2793036"/>
              <a:ext cx="675205" cy="675205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r>
                <a:rPr lang="en-US" altLang="zh-CN" sz="2000" b="1" dirty="0">
                  <a:solidFill>
                    <a:schemeClr val="bg1"/>
                  </a:solidFill>
                  <a:cs typeface="+mn-ea"/>
                  <a:sym typeface="+mn-lt"/>
                </a:rPr>
                <a:t>02</a:t>
              </a:r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61B05E24-9E15-48BE-8B9B-1CF9C04CE981}"/>
                </a:ext>
              </a:extLst>
            </p:cNvPr>
            <p:cNvGrpSpPr/>
            <p:nvPr/>
          </p:nvGrpSpPr>
          <p:grpSpPr>
            <a:xfrm>
              <a:off x="7286886" y="2705253"/>
              <a:ext cx="3662524" cy="850770"/>
              <a:chOff x="6913774" y="5229206"/>
              <a:chExt cx="3662524" cy="850770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431BCD5A-55F5-44D8-947C-305B4BF3359E}"/>
                  </a:ext>
                </a:extLst>
              </p:cNvPr>
              <p:cNvSpPr/>
              <p:nvPr/>
            </p:nvSpPr>
            <p:spPr bwMode="auto">
              <a:xfrm>
                <a:off x="6913774" y="5636515"/>
                <a:ext cx="3662522" cy="443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AB417835-37CC-4D7A-8D23-3896E8FEFB8E}"/>
                  </a:ext>
                </a:extLst>
              </p:cNvPr>
              <p:cNvSpPr txBox="1"/>
              <p:nvPr/>
            </p:nvSpPr>
            <p:spPr bwMode="auto">
              <a:xfrm>
                <a:off x="6913774" y="5229206"/>
                <a:ext cx="3662524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课程介绍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8E37FF50-8365-4D97-892A-CB12279199F8}"/>
                </a:ext>
              </a:extLst>
            </p:cNvPr>
            <p:cNvSpPr/>
            <p:nvPr/>
          </p:nvSpPr>
          <p:spPr>
            <a:xfrm>
              <a:off x="6480812" y="3893635"/>
              <a:ext cx="675205" cy="675205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r>
                <a:rPr lang="en-US" altLang="zh-CN" sz="2000" b="1" dirty="0">
                  <a:solidFill>
                    <a:schemeClr val="bg1"/>
                  </a:solidFill>
                  <a:cs typeface="+mn-ea"/>
                  <a:sym typeface="+mn-lt"/>
                </a:rPr>
                <a:t>03</a:t>
              </a:r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8777E45A-0C14-4999-8380-DDE8C62C14D5}"/>
                </a:ext>
              </a:extLst>
            </p:cNvPr>
            <p:cNvGrpSpPr/>
            <p:nvPr/>
          </p:nvGrpSpPr>
          <p:grpSpPr>
            <a:xfrm>
              <a:off x="7286886" y="3805852"/>
              <a:ext cx="3662524" cy="850770"/>
              <a:chOff x="6913774" y="5229206"/>
              <a:chExt cx="3662524" cy="850770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797B407E-DDDD-473B-9FED-0ABB445D07F7}"/>
                  </a:ext>
                </a:extLst>
              </p:cNvPr>
              <p:cNvSpPr/>
              <p:nvPr/>
            </p:nvSpPr>
            <p:spPr bwMode="auto">
              <a:xfrm>
                <a:off x="6913774" y="5636515"/>
                <a:ext cx="3662522" cy="443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6EF8AD5D-FD41-44FF-923E-7399136242F0}"/>
                  </a:ext>
                </a:extLst>
              </p:cNvPr>
              <p:cNvSpPr txBox="1"/>
              <p:nvPr/>
            </p:nvSpPr>
            <p:spPr bwMode="auto">
              <a:xfrm>
                <a:off x="6913774" y="5229206"/>
                <a:ext cx="3662524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课程介绍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79D3A713-C3B8-41EE-AC25-3A02661DE855}"/>
                </a:ext>
              </a:extLst>
            </p:cNvPr>
            <p:cNvSpPr/>
            <p:nvPr/>
          </p:nvSpPr>
          <p:spPr>
            <a:xfrm>
              <a:off x="6480812" y="4994233"/>
              <a:ext cx="675205" cy="675205"/>
            </a:xfrm>
            <a:prstGeom prst="ellipse">
              <a:avLst/>
            </a:prstGeom>
            <a:solidFill>
              <a:schemeClr val="accent1"/>
            </a:solidFill>
            <a:ln w="38100" cap="rnd">
              <a:solidFill>
                <a:schemeClr val="bg1">
                  <a:lumMod val="95000"/>
                </a:schemeClr>
              </a:solidFill>
              <a:prstDash val="solid"/>
              <a:rou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3765"/>
              <a:r>
                <a:rPr lang="en-US" altLang="zh-CN" sz="2000" b="1" dirty="0">
                  <a:solidFill>
                    <a:schemeClr val="bg1"/>
                  </a:solidFill>
                  <a:cs typeface="+mn-ea"/>
                  <a:sym typeface="+mn-lt"/>
                </a:rPr>
                <a:t>04</a:t>
              </a:r>
              <a:endParaRPr lang="zh-CN" altLang="en-US" sz="20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616F8911-7CE6-46D3-902B-81FB6A68D094}"/>
                </a:ext>
              </a:extLst>
            </p:cNvPr>
            <p:cNvGrpSpPr/>
            <p:nvPr/>
          </p:nvGrpSpPr>
          <p:grpSpPr>
            <a:xfrm>
              <a:off x="7286886" y="4906450"/>
              <a:ext cx="3662524" cy="850770"/>
              <a:chOff x="6913774" y="5229206"/>
              <a:chExt cx="3662524" cy="850770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14E80F6D-5431-49B9-9E4F-C52EB6B2242A}"/>
                  </a:ext>
                </a:extLst>
              </p:cNvPr>
              <p:cNvSpPr/>
              <p:nvPr/>
            </p:nvSpPr>
            <p:spPr bwMode="auto">
              <a:xfrm>
                <a:off x="6913774" y="5636515"/>
                <a:ext cx="3662522" cy="4434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defTabSz="914400">
                  <a:lnSpc>
                    <a:spcPct val="11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 …</a:t>
                </a: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B5B2AC3B-4B0B-4A81-BBFB-3B02A0A9BA7C}"/>
                  </a:ext>
                </a:extLst>
              </p:cNvPr>
              <p:cNvSpPr txBox="1"/>
              <p:nvPr/>
            </p:nvSpPr>
            <p:spPr bwMode="auto">
              <a:xfrm>
                <a:off x="6913774" y="5229206"/>
                <a:ext cx="3662524" cy="407308"/>
              </a:xfrm>
              <a:prstGeom prst="rect">
                <a:avLst/>
              </a:prstGeom>
              <a:noFill/>
              <a:ln w="9525">
                <a:noFill/>
                <a:miter lim="800000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square" lIns="90000" tIns="46800" rIns="90000" bIns="4680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课程介绍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9159620D-CD65-4F30-B7CC-B7BA58688FCA}"/>
                </a:ext>
              </a:extLst>
            </p:cNvPr>
            <p:cNvSpPr txBox="1"/>
            <p:nvPr/>
          </p:nvSpPr>
          <p:spPr>
            <a:xfrm>
              <a:off x="669263" y="1138886"/>
              <a:ext cx="4779037" cy="116242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Autofit/>
            </a:bodyPr>
            <a:lstStyle/>
            <a:p>
              <a:pPr>
                <a:buSzPct val="25000"/>
              </a:pPr>
              <a:r>
                <a:rPr lang="en-US" sz="2800" b="1" dirty="0">
                  <a:cs typeface="+mn-ea"/>
                  <a:sym typeface="+mn-lt"/>
                </a:rPr>
                <a:t>Unified fonts make reading more flu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06951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53A4E0-094A-4144-8C1C-75C6B5D58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介绍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6038584-3D8E-4BCD-AF5B-7A6EBAC6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E38F0F-2B3E-4CD9-9689-30B1CE904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4" name="组合 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96A3CDF-0CD6-4A3A-8756-6C0CA42E143A}"/>
              </a:ext>
            </a:extLst>
          </p:cNvPr>
          <p:cNvGrpSpPr>
            <a:grpSpLocks noChangeAspect="1"/>
          </p:cNvGrpSpPr>
          <p:nvPr/>
        </p:nvGrpSpPr>
        <p:grpSpPr>
          <a:xfrm>
            <a:off x="670719" y="1209220"/>
            <a:ext cx="10850563" cy="5352690"/>
            <a:chOff x="670719" y="1209220"/>
            <a:chExt cx="10850563" cy="5352690"/>
          </a:xfrm>
        </p:grpSpPr>
        <p:sp>
          <p:nvSpPr>
            <p:cNvPr id="45" name="椭圆 44">
              <a:extLst>
                <a:ext uri="{FF2B5EF4-FFF2-40B4-BE49-F238E27FC236}">
                  <a16:creationId xmlns:a16="http://schemas.microsoft.com/office/drawing/2014/main" id="{77F82743-4786-48CA-BC42-F3F6BFC01B95}"/>
                </a:ext>
              </a:extLst>
            </p:cNvPr>
            <p:cNvSpPr/>
            <p:nvPr/>
          </p:nvSpPr>
          <p:spPr>
            <a:xfrm>
              <a:off x="4143543" y="3110898"/>
              <a:ext cx="3904914" cy="3451012"/>
            </a:xfrm>
            <a:prstGeom prst="ellipse">
              <a:avLst/>
            </a:prstGeom>
            <a:gradFill>
              <a:gsLst>
                <a:gs pos="26000">
                  <a:schemeClr val="accent1">
                    <a:lumMod val="0"/>
                    <a:lumOff val="100000"/>
                    <a:alpha val="0"/>
                  </a:schemeClr>
                </a:gs>
                <a:gs pos="100000">
                  <a:schemeClr val="bg1">
                    <a:lumMod val="85000"/>
                    <a:alpha val="48000"/>
                  </a:schemeClr>
                </a:gs>
              </a:gsLst>
              <a:lin ang="16200000" scaled="1"/>
            </a:gradFill>
            <a:ln w="12700" cap="flat">
              <a:noFill/>
              <a:miter lim="400000"/>
            </a:ln>
            <a:effectLst/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46" name="组合 4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C3781A95-FD1F-4CA6-9A4D-A93B1361BDEC}"/>
                </a:ext>
              </a:extLst>
            </p:cNvPr>
            <p:cNvGrpSpPr/>
            <p:nvPr/>
          </p:nvGrpSpPr>
          <p:grpSpPr>
            <a:xfrm>
              <a:off x="4574359" y="3611814"/>
              <a:ext cx="3043284" cy="2450585"/>
              <a:chOff x="3548063" y="1381125"/>
              <a:chExt cx="5086351" cy="4095750"/>
            </a:xfrm>
          </p:grpSpPr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57D55980-C894-4B47-8C03-AA456343D68E}"/>
                  </a:ext>
                </a:extLst>
              </p:cNvPr>
              <p:cNvSpPr/>
              <p:nvPr/>
            </p:nvSpPr>
            <p:spPr bwMode="auto">
              <a:xfrm>
                <a:off x="3548063" y="2584450"/>
                <a:ext cx="5022850" cy="2892425"/>
              </a:xfrm>
              <a:custGeom>
                <a:avLst/>
                <a:gdLst>
                  <a:gd name="T0" fmla="*/ 541 w 547"/>
                  <a:gd name="T1" fmla="*/ 190 h 315"/>
                  <a:gd name="T2" fmla="*/ 330 w 547"/>
                  <a:gd name="T3" fmla="*/ 312 h 315"/>
                  <a:gd name="T4" fmla="*/ 310 w 547"/>
                  <a:gd name="T5" fmla="*/ 312 h 315"/>
                  <a:gd name="T6" fmla="*/ 5 w 547"/>
                  <a:gd name="T7" fmla="*/ 137 h 315"/>
                  <a:gd name="T8" fmla="*/ 5 w 547"/>
                  <a:gd name="T9" fmla="*/ 125 h 315"/>
                  <a:gd name="T10" fmla="*/ 217 w 547"/>
                  <a:gd name="T11" fmla="*/ 3 h 315"/>
                  <a:gd name="T12" fmla="*/ 237 w 547"/>
                  <a:gd name="T13" fmla="*/ 3 h 315"/>
                  <a:gd name="T14" fmla="*/ 541 w 547"/>
                  <a:gd name="T15" fmla="*/ 179 h 315"/>
                  <a:gd name="T16" fmla="*/ 541 w 547"/>
                  <a:gd name="T17" fmla="*/ 190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47" h="315">
                    <a:moveTo>
                      <a:pt x="541" y="190"/>
                    </a:moveTo>
                    <a:cubicBezTo>
                      <a:pt x="330" y="312"/>
                      <a:pt x="330" y="312"/>
                      <a:pt x="330" y="312"/>
                    </a:cubicBezTo>
                    <a:cubicBezTo>
                      <a:pt x="324" y="315"/>
                      <a:pt x="315" y="315"/>
                      <a:pt x="310" y="312"/>
                    </a:cubicBezTo>
                    <a:cubicBezTo>
                      <a:pt x="5" y="137"/>
                      <a:pt x="5" y="137"/>
                      <a:pt x="5" y="137"/>
                    </a:cubicBezTo>
                    <a:cubicBezTo>
                      <a:pt x="0" y="133"/>
                      <a:pt x="0" y="128"/>
                      <a:pt x="5" y="125"/>
                    </a:cubicBezTo>
                    <a:cubicBezTo>
                      <a:pt x="217" y="3"/>
                      <a:pt x="217" y="3"/>
                      <a:pt x="217" y="3"/>
                    </a:cubicBezTo>
                    <a:cubicBezTo>
                      <a:pt x="223" y="0"/>
                      <a:pt x="232" y="0"/>
                      <a:pt x="237" y="3"/>
                    </a:cubicBezTo>
                    <a:cubicBezTo>
                      <a:pt x="541" y="179"/>
                      <a:pt x="541" y="179"/>
                      <a:pt x="541" y="179"/>
                    </a:cubicBezTo>
                    <a:cubicBezTo>
                      <a:pt x="547" y="182"/>
                      <a:pt x="547" y="187"/>
                      <a:pt x="541" y="190"/>
                    </a:cubicBezTo>
                  </a:path>
                </a:pathLst>
              </a:custGeom>
              <a:solidFill>
                <a:srgbClr val="C1CFF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A39AD226-262A-4A0E-A515-41607D3161F6}"/>
                  </a:ext>
                </a:extLst>
              </p:cNvPr>
              <p:cNvSpPr/>
              <p:nvPr/>
            </p:nvSpPr>
            <p:spPr bwMode="auto">
              <a:xfrm>
                <a:off x="7974013" y="3419475"/>
                <a:ext cx="568325" cy="652463"/>
              </a:xfrm>
              <a:custGeom>
                <a:avLst/>
                <a:gdLst>
                  <a:gd name="T0" fmla="*/ 358 w 358"/>
                  <a:gd name="T1" fmla="*/ 411 h 411"/>
                  <a:gd name="T2" fmla="*/ 0 w 358"/>
                  <a:gd name="T3" fmla="*/ 255 h 411"/>
                  <a:gd name="T4" fmla="*/ 272 w 358"/>
                  <a:gd name="T5" fmla="*/ 0 h 411"/>
                  <a:gd name="T6" fmla="*/ 358 w 358"/>
                  <a:gd name="T7" fmla="*/ 46 h 411"/>
                  <a:gd name="T8" fmla="*/ 358 w 358"/>
                  <a:gd name="T9" fmla="*/ 411 h 4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411">
                    <a:moveTo>
                      <a:pt x="358" y="411"/>
                    </a:moveTo>
                    <a:lnTo>
                      <a:pt x="0" y="255"/>
                    </a:lnTo>
                    <a:lnTo>
                      <a:pt x="272" y="0"/>
                    </a:lnTo>
                    <a:lnTo>
                      <a:pt x="358" y="46"/>
                    </a:lnTo>
                    <a:lnTo>
                      <a:pt x="358" y="411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7514A1E0-1B91-4286-A825-4D46ABB8B364}"/>
                  </a:ext>
                </a:extLst>
              </p:cNvPr>
              <p:cNvSpPr/>
              <p:nvPr/>
            </p:nvSpPr>
            <p:spPr bwMode="auto">
              <a:xfrm>
                <a:off x="3584576" y="3521075"/>
                <a:ext cx="2911475" cy="1844675"/>
              </a:xfrm>
              <a:custGeom>
                <a:avLst/>
                <a:gdLst>
                  <a:gd name="T0" fmla="*/ 9 w 317"/>
                  <a:gd name="T1" fmla="*/ 10 h 201"/>
                  <a:gd name="T2" fmla="*/ 286 w 317"/>
                  <a:gd name="T3" fmla="*/ 171 h 201"/>
                  <a:gd name="T4" fmla="*/ 301 w 317"/>
                  <a:gd name="T5" fmla="*/ 179 h 201"/>
                  <a:gd name="T6" fmla="*/ 317 w 317"/>
                  <a:gd name="T7" fmla="*/ 183 h 201"/>
                  <a:gd name="T8" fmla="*/ 317 w 317"/>
                  <a:gd name="T9" fmla="*/ 201 h 201"/>
                  <a:gd name="T10" fmla="*/ 302 w 317"/>
                  <a:gd name="T11" fmla="*/ 198 h 201"/>
                  <a:gd name="T12" fmla="*/ 296 w 317"/>
                  <a:gd name="T13" fmla="*/ 194 h 201"/>
                  <a:gd name="T14" fmla="*/ 293 w 317"/>
                  <a:gd name="T15" fmla="*/ 193 h 201"/>
                  <a:gd name="T16" fmla="*/ 290 w 317"/>
                  <a:gd name="T17" fmla="*/ 191 h 201"/>
                  <a:gd name="T18" fmla="*/ 289 w 317"/>
                  <a:gd name="T19" fmla="*/ 190 h 201"/>
                  <a:gd name="T20" fmla="*/ 288 w 317"/>
                  <a:gd name="T21" fmla="*/ 189 h 201"/>
                  <a:gd name="T22" fmla="*/ 287 w 317"/>
                  <a:gd name="T23" fmla="*/ 189 h 201"/>
                  <a:gd name="T24" fmla="*/ 286 w 317"/>
                  <a:gd name="T25" fmla="*/ 189 h 201"/>
                  <a:gd name="T26" fmla="*/ 9 w 317"/>
                  <a:gd name="T27" fmla="*/ 28 h 201"/>
                  <a:gd name="T28" fmla="*/ 0 w 317"/>
                  <a:gd name="T29" fmla="*/ 14 h 201"/>
                  <a:gd name="T30" fmla="*/ 0 w 317"/>
                  <a:gd name="T31" fmla="*/ 0 h 201"/>
                  <a:gd name="T32" fmla="*/ 9 w 317"/>
                  <a:gd name="T33" fmla="*/ 10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17" h="201">
                    <a:moveTo>
                      <a:pt x="9" y="10"/>
                    </a:moveTo>
                    <a:cubicBezTo>
                      <a:pt x="286" y="171"/>
                      <a:pt x="286" y="171"/>
                      <a:pt x="286" y="171"/>
                    </a:cubicBezTo>
                    <a:cubicBezTo>
                      <a:pt x="301" y="179"/>
                      <a:pt x="301" y="179"/>
                      <a:pt x="301" y="179"/>
                    </a:cubicBezTo>
                    <a:cubicBezTo>
                      <a:pt x="305" y="182"/>
                      <a:pt x="311" y="183"/>
                      <a:pt x="317" y="183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12" y="201"/>
                      <a:pt x="306" y="200"/>
                      <a:pt x="302" y="198"/>
                    </a:cubicBezTo>
                    <a:cubicBezTo>
                      <a:pt x="300" y="196"/>
                      <a:pt x="298" y="195"/>
                      <a:pt x="296" y="194"/>
                    </a:cubicBezTo>
                    <a:cubicBezTo>
                      <a:pt x="293" y="193"/>
                      <a:pt x="293" y="193"/>
                      <a:pt x="293" y="193"/>
                    </a:cubicBezTo>
                    <a:cubicBezTo>
                      <a:pt x="292" y="192"/>
                      <a:pt x="291" y="191"/>
                      <a:pt x="290" y="191"/>
                    </a:cubicBezTo>
                    <a:cubicBezTo>
                      <a:pt x="289" y="190"/>
                      <a:pt x="289" y="190"/>
                      <a:pt x="289" y="190"/>
                    </a:cubicBezTo>
                    <a:cubicBezTo>
                      <a:pt x="288" y="190"/>
                      <a:pt x="288" y="189"/>
                      <a:pt x="288" y="189"/>
                    </a:cubicBezTo>
                    <a:cubicBezTo>
                      <a:pt x="287" y="189"/>
                      <a:pt x="287" y="189"/>
                      <a:pt x="287" y="189"/>
                    </a:cubicBezTo>
                    <a:cubicBezTo>
                      <a:pt x="286" y="189"/>
                      <a:pt x="286" y="189"/>
                      <a:pt x="286" y="189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4" y="26"/>
                      <a:pt x="0" y="19"/>
                      <a:pt x="0" y="14"/>
                    </a:cubicBezTo>
                    <a:cubicBezTo>
                      <a:pt x="0" y="12"/>
                      <a:pt x="0" y="0"/>
                      <a:pt x="0" y="0"/>
                    </a:cubicBezTo>
                    <a:cubicBezTo>
                      <a:pt x="0" y="6"/>
                      <a:pt x="6" y="9"/>
                      <a:pt x="9" y="10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1E5B745-5BAE-4D8F-B297-EF11491326E1}"/>
                  </a:ext>
                </a:extLst>
              </p:cNvPr>
              <p:cNvSpPr/>
              <p:nvPr/>
            </p:nvSpPr>
            <p:spPr bwMode="auto">
              <a:xfrm>
                <a:off x="3565526" y="2290763"/>
                <a:ext cx="4922838" cy="2909888"/>
              </a:xfrm>
              <a:custGeom>
                <a:avLst/>
                <a:gdLst>
                  <a:gd name="T0" fmla="*/ 336 w 536"/>
                  <a:gd name="T1" fmla="*/ 313 h 317"/>
                  <a:gd name="T2" fmla="*/ 350 w 536"/>
                  <a:gd name="T3" fmla="*/ 305 h 317"/>
                  <a:gd name="T4" fmla="*/ 350 w 536"/>
                  <a:gd name="T5" fmla="*/ 305 h 317"/>
                  <a:gd name="T6" fmla="*/ 530 w 536"/>
                  <a:gd name="T7" fmla="*/ 201 h 317"/>
                  <a:gd name="T8" fmla="*/ 531 w 536"/>
                  <a:gd name="T9" fmla="*/ 200 h 317"/>
                  <a:gd name="T10" fmla="*/ 532 w 536"/>
                  <a:gd name="T11" fmla="*/ 199 h 317"/>
                  <a:gd name="T12" fmla="*/ 533 w 536"/>
                  <a:gd name="T13" fmla="*/ 199 h 317"/>
                  <a:gd name="T14" fmla="*/ 534 w 536"/>
                  <a:gd name="T15" fmla="*/ 198 h 317"/>
                  <a:gd name="T16" fmla="*/ 535 w 536"/>
                  <a:gd name="T17" fmla="*/ 196 h 317"/>
                  <a:gd name="T18" fmla="*/ 535 w 536"/>
                  <a:gd name="T19" fmla="*/ 194 h 317"/>
                  <a:gd name="T20" fmla="*/ 536 w 536"/>
                  <a:gd name="T21" fmla="*/ 193 h 317"/>
                  <a:gd name="T22" fmla="*/ 536 w 536"/>
                  <a:gd name="T23" fmla="*/ 191 h 317"/>
                  <a:gd name="T24" fmla="*/ 536 w 536"/>
                  <a:gd name="T25" fmla="*/ 191 h 317"/>
                  <a:gd name="T26" fmla="*/ 536 w 536"/>
                  <a:gd name="T27" fmla="*/ 190 h 317"/>
                  <a:gd name="T28" fmla="*/ 536 w 536"/>
                  <a:gd name="T29" fmla="*/ 190 h 317"/>
                  <a:gd name="T30" fmla="*/ 480 w 536"/>
                  <a:gd name="T31" fmla="*/ 167 h 317"/>
                  <a:gd name="T32" fmla="*/ 480 w 536"/>
                  <a:gd name="T33" fmla="*/ 149 h 317"/>
                  <a:gd name="T34" fmla="*/ 232 w 536"/>
                  <a:gd name="T35" fmla="*/ 6 h 317"/>
                  <a:gd name="T36" fmla="*/ 199 w 536"/>
                  <a:gd name="T37" fmla="*/ 6 h 317"/>
                  <a:gd name="T38" fmla="*/ 46 w 536"/>
                  <a:gd name="T39" fmla="*/ 103 h 317"/>
                  <a:gd name="T40" fmla="*/ 9 w 536"/>
                  <a:gd name="T41" fmla="*/ 124 h 317"/>
                  <a:gd name="T42" fmla="*/ 9 w 536"/>
                  <a:gd name="T43" fmla="*/ 144 h 317"/>
                  <a:gd name="T44" fmla="*/ 288 w 536"/>
                  <a:gd name="T45" fmla="*/ 305 h 317"/>
                  <a:gd name="T46" fmla="*/ 303 w 536"/>
                  <a:gd name="T47" fmla="*/ 313 h 317"/>
                  <a:gd name="T48" fmla="*/ 319 w 536"/>
                  <a:gd name="T49" fmla="*/ 317 h 317"/>
                  <a:gd name="T50" fmla="*/ 336 w 536"/>
                  <a:gd name="T51" fmla="*/ 313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36" h="317">
                    <a:moveTo>
                      <a:pt x="336" y="313"/>
                    </a:moveTo>
                    <a:cubicBezTo>
                      <a:pt x="350" y="305"/>
                      <a:pt x="350" y="305"/>
                      <a:pt x="350" y="305"/>
                    </a:cubicBezTo>
                    <a:cubicBezTo>
                      <a:pt x="350" y="305"/>
                      <a:pt x="350" y="305"/>
                      <a:pt x="350" y="305"/>
                    </a:cubicBezTo>
                    <a:cubicBezTo>
                      <a:pt x="530" y="201"/>
                      <a:pt x="530" y="201"/>
                      <a:pt x="530" y="201"/>
                    </a:cubicBezTo>
                    <a:cubicBezTo>
                      <a:pt x="531" y="200"/>
                      <a:pt x="531" y="200"/>
                      <a:pt x="531" y="200"/>
                    </a:cubicBezTo>
                    <a:cubicBezTo>
                      <a:pt x="531" y="200"/>
                      <a:pt x="532" y="200"/>
                      <a:pt x="532" y="199"/>
                    </a:cubicBezTo>
                    <a:cubicBezTo>
                      <a:pt x="533" y="199"/>
                      <a:pt x="533" y="199"/>
                      <a:pt x="533" y="199"/>
                    </a:cubicBezTo>
                    <a:cubicBezTo>
                      <a:pt x="533" y="198"/>
                      <a:pt x="533" y="198"/>
                      <a:pt x="534" y="198"/>
                    </a:cubicBezTo>
                    <a:cubicBezTo>
                      <a:pt x="534" y="197"/>
                      <a:pt x="534" y="197"/>
                      <a:pt x="535" y="196"/>
                    </a:cubicBezTo>
                    <a:cubicBezTo>
                      <a:pt x="535" y="196"/>
                      <a:pt x="535" y="195"/>
                      <a:pt x="535" y="194"/>
                    </a:cubicBezTo>
                    <a:cubicBezTo>
                      <a:pt x="536" y="194"/>
                      <a:pt x="536" y="193"/>
                      <a:pt x="536" y="193"/>
                    </a:cubicBezTo>
                    <a:cubicBezTo>
                      <a:pt x="536" y="192"/>
                      <a:pt x="536" y="192"/>
                      <a:pt x="536" y="191"/>
                    </a:cubicBezTo>
                    <a:cubicBezTo>
                      <a:pt x="536" y="191"/>
                      <a:pt x="536" y="191"/>
                      <a:pt x="536" y="191"/>
                    </a:cubicBezTo>
                    <a:cubicBezTo>
                      <a:pt x="536" y="190"/>
                      <a:pt x="536" y="190"/>
                      <a:pt x="536" y="190"/>
                    </a:cubicBezTo>
                    <a:cubicBezTo>
                      <a:pt x="536" y="190"/>
                      <a:pt x="536" y="190"/>
                      <a:pt x="536" y="190"/>
                    </a:cubicBezTo>
                    <a:cubicBezTo>
                      <a:pt x="480" y="167"/>
                      <a:pt x="480" y="167"/>
                      <a:pt x="480" y="167"/>
                    </a:cubicBezTo>
                    <a:cubicBezTo>
                      <a:pt x="480" y="149"/>
                      <a:pt x="480" y="149"/>
                      <a:pt x="480" y="149"/>
                    </a:cubicBezTo>
                    <a:cubicBezTo>
                      <a:pt x="232" y="6"/>
                      <a:pt x="232" y="6"/>
                      <a:pt x="232" y="6"/>
                    </a:cubicBezTo>
                    <a:cubicBezTo>
                      <a:pt x="223" y="0"/>
                      <a:pt x="208" y="0"/>
                      <a:pt x="199" y="6"/>
                    </a:cubicBezTo>
                    <a:cubicBezTo>
                      <a:pt x="46" y="103"/>
                      <a:pt x="46" y="103"/>
                      <a:pt x="46" y="103"/>
                    </a:cubicBezTo>
                    <a:cubicBezTo>
                      <a:pt x="9" y="124"/>
                      <a:pt x="9" y="124"/>
                      <a:pt x="9" y="124"/>
                    </a:cubicBezTo>
                    <a:cubicBezTo>
                      <a:pt x="0" y="130"/>
                      <a:pt x="0" y="138"/>
                      <a:pt x="9" y="144"/>
                    </a:cubicBezTo>
                    <a:cubicBezTo>
                      <a:pt x="288" y="305"/>
                      <a:pt x="288" y="305"/>
                      <a:pt x="288" y="305"/>
                    </a:cubicBezTo>
                    <a:cubicBezTo>
                      <a:pt x="303" y="313"/>
                      <a:pt x="303" y="313"/>
                      <a:pt x="303" y="313"/>
                    </a:cubicBezTo>
                    <a:cubicBezTo>
                      <a:pt x="307" y="316"/>
                      <a:pt x="313" y="317"/>
                      <a:pt x="319" y="317"/>
                    </a:cubicBezTo>
                    <a:cubicBezTo>
                      <a:pt x="325" y="317"/>
                      <a:pt x="331" y="316"/>
                      <a:pt x="336" y="313"/>
                    </a:cubicBezTo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F84D885F-85CB-4F32-AC7F-FB13505FC6DB}"/>
                  </a:ext>
                </a:extLst>
              </p:cNvPr>
              <p:cNvSpPr/>
              <p:nvPr/>
            </p:nvSpPr>
            <p:spPr bwMode="auto">
              <a:xfrm>
                <a:off x="3686176" y="2970213"/>
                <a:ext cx="4719638" cy="2157413"/>
              </a:xfrm>
              <a:custGeom>
                <a:avLst/>
                <a:gdLst>
                  <a:gd name="T0" fmla="*/ 514 w 514"/>
                  <a:gd name="T1" fmla="*/ 117 h 235"/>
                  <a:gd name="T2" fmla="*/ 316 w 514"/>
                  <a:gd name="T3" fmla="*/ 231 h 235"/>
                  <a:gd name="T4" fmla="*/ 297 w 514"/>
                  <a:gd name="T5" fmla="*/ 231 h 235"/>
                  <a:gd name="T6" fmla="*/ 5 w 514"/>
                  <a:gd name="T7" fmla="*/ 63 h 235"/>
                  <a:gd name="T8" fmla="*/ 0 w 514"/>
                  <a:gd name="T9" fmla="*/ 55 h 235"/>
                  <a:gd name="T10" fmla="*/ 0 w 514"/>
                  <a:gd name="T11" fmla="*/ 0 h 235"/>
                  <a:gd name="T12" fmla="*/ 306 w 514"/>
                  <a:gd name="T13" fmla="*/ 177 h 235"/>
                  <a:gd name="T14" fmla="*/ 514 w 514"/>
                  <a:gd name="T15" fmla="*/ 57 h 235"/>
                  <a:gd name="T16" fmla="*/ 514 w 514"/>
                  <a:gd name="T17" fmla="*/ 117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4" h="235">
                    <a:moveTo>
                      <a:pt x="514" y="117"/>
                    </a:moveTo>
                    <a:cubicBezTo>
                      <a:pt x="316" y="231"/>
                      <a:pt x="316" y="231"/>
                      <a:pt x="316" y="231"/>
                    </a:cubicBezTo>
                    <a:cubicBezTo>
                      <a:pt x="310" y="235"/>
                      <a:pt x="303" y="235"/>
                      <a:pt x="297" y="231"/>
                    </a:cubicBezTo>
                    <a:cubicBezTo>
                      <a:pt x="5" y="63"/>
                      <a:pt x="5" y="63"/>
                      <a:pt x="5" y="63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6" y="177"/>
                      <a:pt x="306" y="177"/>
                      <a:pt x="306" y="177"/>
                    </a:cubicBezTo>
                    <a:cubicBezTo>
                      <a:pt x="514" y="57"/>
                      <a:pt x="514" y="57"/>
                      <a:pt x="514" y="57"/>
                    </a:cubicBezTo>
                    <a:cubicBezTo>
                      <a:pt x="514" y="117"/>
                      <a:pt x="514" y="117"/>
                      <a:pt x="514" y="11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CE641DF7-A8A3-4A1A-AB38-93C07D228DB0}"/>
                  </a:ext>
                </a:extLst>
              </p:cNvPr>
              <p:cNvSpPr/>
              <p:nvPr/>
            </p:nvSpPr>
            <p:spPr bwMode="auto">
              <a:xfrm>
                <a:off x="3686176" y="2970213"/>
                <a:ext cx="2809875" cy="2147888"/>
              </a:xfrm>
              <a:custGeom>
                <a:avLst/>
                <a:gdLst>
                  <a:gd name="T0" fmla="*/ 297 w 306"/>
                  <a:gd name="T1" fmla="*/ 231 h 234"/>
                  <a:gd name="T2" fmla="*/ 5 w 306"/>
                  <a:gd name="T3" fmla="*/ 63 h 234"/>
                  <a:gd name="T4" fmla="*/ 0 w 306"/>
                  <a:gd name="T5" fmla="*/ 55 h 234"/>
                  <a:gd name="T6" fmla="*/ 0 w 306"/>
                  <a:gd name="T7" fmla="*/ 0 h 234"/>
                  <a:gd name="T8" fmla="*/ 306 w 306"/>
                  <a:gd name="T9" fmla="*/ 177 h 234"/>
                  <a:gd name="T10" fmla="*/ 306 w 306"/>
                  <a:gd name="T11" fmla="*/ 234 h 234"/>
                  <a:gd name="T12" fmla="*/ 297 w 306"/>
                  <a:gd name="T13" fmla="*/ 231 h 2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6" h="234">
                    <a:moveTo>
                      <a:pt x="297" y="231"/>
                    </a:moveTo>
                    <a:cubicBezTo>
                      <a:pt x="5" y="63"/>
                      <a:pt x="5" y="63"/>
                      <a:pt x="5" y="63"/>
                    </a:cubicBezTo>
                    <a:cubicBezTo>
                      <a:pt x="2" y="61"/>
                      <a:pt x="0" y="58"/>
                      <a:pt x="0" y="55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06" y="177"/>
                      <a:pt x="306" y="177"/>
                      <a:pt x="306" y="177"/>
                    </a:cubicBezTo>
                    <a:cubicBezTo>
                      <a:pt x="306" y="234"/>
                      <a:pt x="306" y="234"/>
                      <a:pt x="306" y="234"/>
                    </a:cubicBezTo>
                    <a:cubicBezTo>
                      <a:pt x="303" y="234"/>
                      <a:pt x="300" y="233"/>
                      <a:pt x="297" y="231"/>
                    </a:cubicBezTo>
                  </a:path>
                </a:pathLst>
              </a:custGeom>
              <a:solidFill>
                <a:srgbClr val="DAE6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FBCB9E8A-57B6-4F2F-B75D-4B8DC343514E}"/>
                  </a:ext>
                </a:extLst>
              </p:cNvPr>
              <p:cNvSpPr/>
              <p:nvPr/>
            </p:nvSpPr>
            <p:spPr bwMode="auto">
              <a:xfrm>
                <a:off x="8367713" y="3521075"/>
                <a:ext cx="74613" cy="587375"/>
              </a:xfrm>
              <a:custGeom>
                <a:avLst/>
                <a:gdLst>
                  <a:gd name="T0" fmla="*/ 8 w 8"/>
                  <a:gd name="T1" fmla="*/ 4 h 64"/>
                  <a:gd name="T2" fmla="*/ 8 w 8"/>
                  <a:gd name="T3" fmla="*/ 55 h 64"/>
                  <a:gd name="T4" fmla="*/ 4 w 8"/>
                  <a:gd name="T5" fmla="*/ 63 h 64"/>
                  <a:gd name="T6" fmla="*/ 0 w 8"/>
                  <a:gd name="T7" fmla="*/ 60 h 64"/>
                  <a:gd name="T8" fmla="*/ 0 w 8"/>
                  <a:gd name="T9" fmla="*/ 9 h 64"/>
                  <a:gd name="T10" fmla="*/ 4 w 8"/>
                  <a:gd name="T11" fmla="*/ 1 h 64"/>
                  <a:gd name="T12" fmla="*/ 8 w 8"/>
                  <a:gd name="T13" fmla="*/ 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4">
                    <a:moveTo>
                      <a:pt x="8" y="4"/>
                    </a:moveTo>
                    <a:cubicBezTo>
                      <a:pt x="8" y="55"/>
                      <a:pt x="8" y="55"/>
                      <a:pt x="8" y="55"/>
                    </a:cubicBezTo>
                    <a:cubicBezTo>
                      <a:pt x="8" y="58"/>
                      <a:pt x="6" y="62"/>
                      <a:pt x="4" y="63"/>
                    </a:cubicBezTo>
                    <a:cubicBezTo>
                      <a:pt x="2" y="64"/>
                      <a:pt x="0" y="63"/>
                      <a:pt x="0" y="6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6"/>
                      <a:pt x="2" y="2"/>
                      <a:pt x="4" y="1"/>
                    </a:cubicBezTo>
                    <a:cubicBezTo>
                      <a:pt x="6" y="0"/>
                      <a:pt x="8" y="1"/>
                      <a:pt x="8" y="4"/>
                    </a:cubicBezTo>
                    <a:close/>
                  </a:path>
                </a:pathLst>
              </a:custGeom>
              <a:solidFill>
                <a:srgbClr val="FFDB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2EDCDD54-B88D-4C0C-8036-339031890CD3}"/>
                  </a:ext>
                </a:extLst>
              </p:cNvPr>
              <p:cNvSpPr/>
              <p:nvPr/>
            </p:nvSpPr>
            <p:spPr bwMode="auto">
              <a:xfrm>
                <a:off x="3584576" y="2786063"/>
                <a:ext cx="2911475" cy="1846263"/>
              </a:xfrm>
              <a:custGeom>
                <a:avLst/>
                <a:gdLst>
                  <a:gd name="T0" fmla="*/ 293 w 317"/>
                  <a:gd name="T1" fmla="*/ 192 h 201"/>
                  <a:gd name="T2" fmla="*/ 287 w 317"/>
                  <a:gd name="T3" fmla="*/ 189 h 201"/>
                  <a:gd name="T4" fmla="*/ 287 w 317"/>
                  <a:gd name="T5" fmla="*/ 188 h 201"/>
                  <a:gd name="T6" fmla="*/ 101 w 317"/>
                  <a:gd name="T7" fmla="*/ 82 h 201"/>
                  <a:gd name="T8" fmla="*/ 9 w 317"/>
                  <a:gd name="T9" fmla="*/ 28 h 201"/>
                  <a:gd name="T10" fmla="*/ 0 w 317"/>
                  <a:gd name="T11" fmla="*/ 14 h 201"/>
                  <a:gd name="T12" fmla="*/ 0 w 317"/>
                  <a:gd name="T13" fmla="*/ 0 h 201"/>
                  <a:gd name="T14" fmla="*/ 9 w 317"/>
                  <a:gd name="T15" fmla="*/ 10 h 201"/>
                  <a:gd name="T16" fmla="*/ 117 w 317"/>
                  <a:gd name="T17" fmla="*/ 73 h 201"/>
                  <a:gd name="T18" fmla="*/ 286 w 317"/>
                  <a:gd name="T19" fmla="*/ 171 h 201"/>
                  <a:gd name="T20" fmla="*/ 301 w 317"/>
                  <a:gd name="T21" fmla="*/ 179 h 201"/>
                  <a:gd name="T22" fmla="*/ 317 w 317"/>
                  <a:gd name="T23" fmla="*/ 183 h 201"/>
                  <a:gd name="T24" fmla="*/ 317 w 317"/>
                  <a:gd name="T25" fmla="*/ 201 h 201"/>
                  <a:gd name="T26" fmla="*/ 302 w 317"/>
                  <a:gd name="T27" fmla="*/ 197 h 201"/>
                  <a:gd name="T28" fmla="*/ 296 w 317"/>
                  <a:gd name="T29" fmla="*/ 194 h 201"/>
                  <a:gd name="T30" fmla="*/ 293 w 317"/>
                  <a:gd name="T31" fmla="*/ 192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7" h="201">
                    <a:moveTo>
                      <a:pt x="293" y="192"/>
                    </a:moveTo>
                    <a:cubicBezTo>
                      <a:pt x="290" y="191"/>
                      <a:pt x="288" y="189"/>
                      <a:pt x="287" y="189"/>
                    </a:cubicBezTo>
                    <a:cubicBezTo>
                      <a:pt x="287" y="188"/>
                      <a:pt x="287" y="188"/>
                      <a:pt x="287" y="188"/>
                    </a:cubicBezTo>
                    <a:cubicBezTo>
                      <a:pt x="101" y="82"/>
                      <a:pt x="101" y="82"/>
                      <a:pt x="101" y="82"/>
                    </a:cubicBezTo>
                    <a:cubicBezTo>
                      <a:pt x="9" y="28"/>
                      <a:pt x="9" y="28"/>
                      <a:pt x="9" y="28"/>
                    </a:cubicBezTo>
                    <a:cubicBezTo>
                      <a:pt x="4" y="25"/>
                      <a:pt x="0" y="19"/>
                      <a:pt x="0" y="14"/>
                    </a:cubicBezTo>
                    <a:cubicBezTo>
                      <a:pt x="0" y="12"/>
                      <a:pt x="0" y="0"/>
                      <a:pt x="0" y="0"/>
                    </a:cubicBezTo>
                    <a:cubicBezTo>
                      <a:pt x="0" y="5"/>
                      <a:pt x="6" y="9"/>
                      <a:pt x="9" y="10"/>
                    </a:cubicBezTo>
                    <a:cubicBezTo>
                      <a:pt x="117" y="73"/>
                      <a:pt x="117" y="73"/>
                      <a:pt x="117" y="73"/>
                    </a:cubicBezTo>
                    <a:cubicBezTo>
                      <a:pt x="286" y="171"/>
                      <a:pt x="286" y="171"/>
                      <a:pt x="286" y="171"/>
                    </a:cubicBezTo>
                    <a:cubicBezTo>
                      <a:pt x="301" y="179"/>
                      <a:pt x="301" y="179"/>
                      <a:pt x="301" y="179"/>
                    </a:cubicBezTo>
                    <a:cubicBezTo>
                      <a:pt x="305" y="182"/>
                      <a:pt x="311" y="183"/>
                      <a:pt x="317" y="183"/>
                    </a:cubicBezTo>
                    <a:cubicBezTo>
                      <a:pt x="317" y="201"/>
                      <a:pt x="317" y="201"/>
                      <a:pt x="317" y="201"/>
                    </a:cubicBezTo>
                    <a:cubicBezTo>
                      <a:pt x="312" y="201"/>
                      <a:pt x="306" y="200"/>
                      <a:pt x="302" y="197"/>
                    </a:cubicBezTo>
                    <a:cubicBezTo>
                      <a:pt x="300" y="196"/>
                      <a:pt x="298" y="195"/>
                      <a:pt x="296" y="194"/>
                    </a:cubicBezTo>
                    <a:cubicBezTo>
                      <a:pt x="293" y="192"/>
                      <a:pt x="293" y="192"/>
                      <a:pt x="293" y="192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D8FBDD57-ABC4-40B1-9A3C-7B5610F2A10E}"/>
                  </a:ext>
                </a:extLst>
              </p:cNvPr>
              <p:cNvSpPr/>
              <p:nvPr/>
            </p:nvSpPr>
            <p:spPr bwMode="auto">
              <a:xfrm>
                <a:off x="4237038" y="3208338"/>
                <a:ext cx="568325" cy="330200"/>
              </a:xfrm>
              <a:custGeom>
                <a:avLst/>
                <a:gdLst>
                  <a:gd name="T0" fmla="*/ 0 w 358"/>
                  <a:gd name="T1" fmla="*/ 0 h 208"/>
                  <a:gd name="T2" fmla="*/ 266 w 358"/>
                  <a:gd name="T3" fmla="*/ 156 h 208"/>
                  <a:gd name="T4" fmla="*/ 358 w 358"/>
                  <a:gd name="T5" fmla="*/ 208 h 208"/>
                  <a:gd name="T6" fmla="*/ 358 w 358"/>
                  <a:gd name="T7" fmla="*/ 208 h 208"/>
                  <a:gd name="T8" fmla="*/ 0 w 358"/>
                  <a:gd name="T9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208">
                    <a:moveTo>
                      <a:pt x="0" y="0"/>
                    </a:moveTo>
                    <a:lnTo>
                      <a:pt x="266" y="156"/>
                    </a:lnTo>
                    <a:lnTo>
                      <a:pt x="358" y="208"/>
                    </a:lnTo>
                    <a:lnTo>
                      <a:pt x="358" y="20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73B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8A33FA8D-2DC1-4229-8B80-A4FA856BA020}"/>
                  </a:ext>
                </a:extLst>
              </p:cNvPr>
              <p:cNvSpPr/>
              <p:nvPr/>
            </p:nvSpPr>
            <p:spPr bwMode="auto">
              <a:xfrm>
                <a:off x="4237038" y="3208338"/>
                <a:ext cx="568325" cy="330200"/>
              </a:xfrm>
              <a:custGeom>
                <a:avLst/>
                <a:gdLst>
                  <a:gd name="T0" fmla="*/ 0 w 358"/>
                  <a:gd name="T1" fmla="*/ 0 h 208"/>
                  <a:gd name="T2" fmla="*/ 266 w 358"/>
                  <a:gd name="T3" fmla="*/ 156 h 208"/>
                  <a:gd name="T4" fmla="*/ 358 w 358"/>
                  <a:gd name="T5" fmla="*/ 208 h 208"/>
                  <a:gd name="T6" fmla="*/ 358 w 358"/>
                  <a:gd name="T7" fmla="*/ 208 h 208"/>
                  <a:gd name="T8" fmla="*/ 0 w 358"/>
                  <a:gd name="T9" fmla="*/ 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8" h="208">
                    <a:moveTo>
                      <a:pt x="0" y="0"/>
                    </a:moveTo>
                    <a:lnTo>
                      <a:pt x="266" y="156"/>
                    </a:lnTo>
                    <a:lnTo>
                      <a:pt x="358" y="208"/>
                    </a:lnTo>
                    <a:lnTo>
                      <a:pt x="358" y="208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6F481BB0-D293-49D8-B15D-3CE058BC489A}"/>
                  </a:ext>
                </a:extLst>
              </p:cNvPr>
              <p:cNvSpPr/>
              <p:nvPr/>
            </p:nvSpPr>
            <p:spPr bwMode="auto">
              <a:xfrm>
                <a:off x="4191001" y="3346450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5BB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D012E13-D6A2-48BE-B325-49B3BCDD9015}"/>
                  </a:ext>
                </a:extLst>
              </p:cNvPr>
              <p:cNvSpPr/>
              <p:nvPr/>
            </p:nvSpPr>
            <p:spPr bwMode="auto">
              <a:xfrm>
                <a:off x="4191001" y="3346450"/>
                <a:ext cx="9525" cy="9525"/>
              </a:xfrm>
              <a:custGeom>
                <a:avLst/>
                <a:gdLst>
                  <a:gd name="T0" fmla="*/ 0 w 6"/>
                  <a:gd name="T1" fmla="*/ 0 h 6"/>
                  <a:gd name="T2" fmla="*/ 0 w 6"/>
                  <a:gd name="T3" fmla="*/ 0 h 6"/>
                  <a:gd name="T4" fmla="*/ 6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53A0606-4C07-4426-841C-8F7F7C701B10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614363" cy="514350"/>
              </a:xfrm>
              <a:custGeom>
                <a:avLst/>
                <a:gdLst>
                  <a:gd name="T0" fmla="*/ 0 w 387"/>
                  <a:gd name="T1" fmla="*/ 0 h 324"/>
                  <a:gd name="T2" fmla="*/ 0 w 387"/>
                  <a:gd name="T3" fmla="*/ 99 h 324"/>
                  <a:gd name="T4" fmla="*/ 6 w 387"/>
                  <a:gd name="T5" fmla="*/ 105 h 324"/>
                  <a:gd name="T6" fmla="*/ 387 w 387"/>
                  <a:gd name="T7" fmla="*/ 324 h 324"/>
                  <a:gd name="T8" fmla="*/ 387 w 387"/>
                  <a:gd name="T9" fmla="*/ 220 h 324"/>
                  <a:gd name="T10" fmla="*/ 295 w 387"/>
                  <a:gd name="T11" fmla="*/ 168 h 324"/>
                  <a:gd name="T12" fmla="*/ 29 w 387"/>
                  <a:gd name="T13" fmla="*/ 12 h 324"/>
                  <a:gd name="T14" fmla="*/ 0 w 387"/>
                  <a:gd name="T15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7" h="324">
                    <a:moveTo>
                      <a:pt x="0" y="0"/>
                    </a:moveTo>
                    <a:lnTo>
                      <a:pt x="0" y="99"/>
                    </a:lnTo>
                    <a:lnTo>
                      <a:pt x="6" y="105"/>
                    </a:lnTo>
                    <a:lnTo>
                      <a:pt x="387" y="324"/>
                    </a:lnTo>
                    <a:lnTo>
                      <a:pt x="387" y="220"/>
                    </a:lnTo>
                    <a:lnTo>
                      <a:pt x="295" y="168"/>
                    </a:lnTo>
                    <a:lnTo>
                      <a:pt x="29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A74CF3A9-7057-4CE8-A66E-F56245BC49AC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614363" cy="514350"/>
              </a:xfrm>
              <a:custGeom>
                <a:avLst/>
                <a:gdLst>
                  <a:gd name="T0" fmla="*/ 0 w 387"/>
                  <a:gd name="T1" fmla="*/ 0 h 324"/>
                  <a:gd name="T2" fmla="*/ 0 w 387"/>
                  <a:gd name="T3" fmla="*/ 99 h 324"/>
                  <a:gd name="T4" fmla="*/ 6 w 387"/>
                  <a:gd name="T5" fmla="*/ 105 h 324"/>
                  <a:gd name="T6" fmla="*/ 387 w 387"/>
                  <a:gd name="T7" fmla="*/ 324 h 324"/>
                  <a:gd name="T8" fmla="*/ 387 w 387"/>
                  <a:gd name="T9" fmla="*/ 220 h 324"/>
                  <a:gd name="T10" fmla="*/ 295 w 387"/>
                  <a:gd name="T11" fmla="*/ 168 h 324"/>
                  <a:gd name="T12" fmla="*/ 29 w 387"/>
                  <a:gd name="T13" fmla="*/ 12 h 324"/>
                  <a:gd name="T14" fmla="*/ 0 w 387"/>
                  <a:gd name="T15" fmla="*/ 0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87" h="324">
                    <a:moveTo>
                      <a:pt x="0" y="0"/>
                    </a:moveTo>
                    <a:lnTo>
                      <a:pt x="0" y="99"/>
                    </a:lnTo>
                    <a:lnTo>
                      <a:pt x="6" y="105"/>
                    </a:lnTo>
                    <a:lnTo>
                      <a:pt x="387" y="324"/>
                    </a:lnTo>
                    <a:lnTo>
                      <a:pt x="387" y="220"/>
                    </a:lnTo>
                    <a:lnTo>
                      <a:pt x="295" y="168"/>
                    </a:lnTo>
                    <a:lnTo>
                      <a:pt x="29" y="1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E6F27D8E-5BAA-4818-A994-FC1BDABD28AC}"/>
                  </a:ext>
                </a:extLst>
              </p:cNvPr>
              <p:cNvSpPr/>
              <p:nvPr/>
            </p:nvSpPr>
            <p:spPr bwMode="auto">
              <a:xfrm>
                <a:off x="3565526" y="1638300"/>
                <a:ext cx="5022850" cy="2827338"/>
              </a:xfrm>
              <a:custGeom>
                <a:avLst/>
                <a:gdLst>
                  <a:gd name="T0" fmla="*/ 9 w 547"/>
                  <a:gd name="T1" fmla="*/ 134 h 308"/>
                  <a:gd name="T2" fmla="*/ 54 w 547"/>
                  <a:gd name="T3" fmla="*/ 160 h 308"/>
                  <a:gd name="T4" fmla="*/ 288 w 547"/>
                  <a:gd name="T5" fmla="*/ 296 h 308"/>
                  <a:gd name="T6" fmla="*/ 303 w 547"/>
                  <a:gd name="T7" fmla="*/ 304 h 308"/>
                  <a:gd name="T8" fmla="*/ 319 w 547"/>
                  <a:gd name="T9" fmla="*/ 308 h 308"/>
                  <a:gd name="T10" fmla="*/ 336 w 547"/>
                  <a:gd name="T11" fmla="*/ 304 h 308"/>
                  <a:gd name="T12" fmla="*/ 350 w 547"/>
                  <a:gd name="T13" fmla="*/ 296 h 308"/>
                  <a:gd name="T14" fmla="*/ 350 w 547"/>
                  <a:gd name="T15" fmla="*/ 296 h 308"/>
                  <a:gd name="T16" fmla="*/ 480 w 547"/>
                  <a:gd name="T17" fmla="*/ 220 h 308"/>
                  <a:gd name="T18" fmla="*/ 526 w 547"/>
                  <a:gd name="T19" fmla="*/ 194 h 308"/>
                  <a:gd name="T20" fmla="*/ 535 w 547"/>
                  <a:gd name="T21" fmla="*/ 189 h 308"/>
                  <a:gd name="T22" fmla="*/ 539 w 547"/>
                  <a:gd name="T23" fmla="*/ 187 h 308"/>
                  <a:gd name="T24" fmla="*/ 541 w 547"/>
                  <a:gd name="T25" fmla="*/ 187 h 308"/>
                  <a:gd name="T26" fmla="*/ 543 w 547"/>
                  <a:gd name="T27" fmla="*/ 186 h 308"/>
                  <a:gd name="T28" fmla="*/ 544 w 547"/>
                  <a:gd name="T29" fmla="*/ 186 h 308"/>
                  <a:gd name="T30" fmla="*/ 545 w 547"/>
                  <a:gd name="T31" fmla="*/ 187 h 308"/>
                  <a:gd name="T32" fmla="*/ 546 w 547"/>
                  <a:gd name="T33" fmla="*/ 187 h 308"/>
                  <a:gd name="T34" fmla="*/ 546 w 547"/>
                  <a:gd name="T35" fmla="*/ 187 h 308"/>
                  <a:gd name="T36" fmla="*/ 547 w 547"/>
                  <a:gd name="T37" fmla="*/ 188 h 308"/>
                  <a:gd name="T38" fmla="*/ 232 w 547"/>
                  <a:gd name="T39" fmla="*/ 5 h 308"/>
                  <a:gd name="T40" fmla="*/ 199 w 547"/>
                  <a:gd name="T41" fmla="*/ 5 h 308"/>
                  <a:gd name="T42" fmla="*/ 9 w 547"/>
                  <a:gd name="T43" fmla="*/ 115 h 308"/>
                  <a:gd name="T44" fmla="*/ 9 w 547"/>
                  <a:gd name="T45" fmla="*/ 134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47" h="308">
                    <a:moveTo>
                      <a:pt x="9" y="134"/>
                    </a:moveTo>
                    <a:cubicBezTo>
                      <a:pt x="54" y="160"/>
                      <a:pt x="54" y="160"/>
                      <a:pt x="54" y="160"/>
                    </a:cubicBezTo>
                    <a:cubicBezTo>
                      <a:pt x="288" y="296"/>
                      <a:pt x="288" y="296"/>
                      <a:pt x="288" y="296"/>
                    </a:cubicBezTo>
                    <a:cubicBezTo>
                      <a:pt x="303" y="304"/>
                      <a:pt x="303" y="304"/>
                      <a:pt x="303" y="304"/>
                    </a:cubicBezTo>
                    <a:cubicBezTo>
                      <a:pt x="307" y="307"/>
                      <a:pt x="313" y="308"/>
                      <a:pt x="319" y="308"/>
                    </a:cubicBezTo>
                    <a:cubicBezTo>
                      <a:pt x="326" y="308"/>
                      <a:pt x="331" y="306"/>
                      <a:pt x="336" y="304"/>
                    </a:cubicBezTo>
                    <a:cubicBezTo>
                      <a:pt x="350" y="296"/>
                      <a:pt x="350" y="296"/>
                      <a:pt x="350" y="296"/>
                    </a:cubicBezTo>
                    <a:cubicBezTo>
                      <a:pt x="350" y="296"/>
                      <a:pt x="350" y="296"/>
                      <a:pt x="350" y="296"/>
                    </a:cubicBezTo>
                    <a:cubicBezTo>
                      <a:pt x="480" y="220"/>
                      <a:pt x="480" y="220"/>
                      <a:pt x="480" y="220"/>
                    </a:cubicBezTo>
                    <a:cubicBezTo>
                      <a:pt x="526" y="194"/>
                      <a:pt x="526" y="194"/>
                      <a:pt x="526" y="194"/>
                    </a:cubicBezTo>
                    <a:cubicBezTo>
                      <a:pt x="535" y="189"/>
                      <a:pt x="535" y="189"/>
                      <a:pt x="535" y="189"/>
                    </a:cubicBezTo>
                    <a:cubicBezTo>
                      <a:pt x="537" y="188"/>
                      <a:pt x="538" y="187"/>
                      <a:pt x="539" y="187"/>
                    </a:cubicBezTo>
                    <a:cubicBezTo>
                      <a:pt x="540" y="187"/>
                      <a:pt x="540" y="187"/>
                      <a:pt x="541" y="187"/>
                    </a:cubicBezTo>
                    <a:cubicBezTo>
                      <a:pt x="542" y="186"/>
                      <a:pt x="542" y="186"/>
                      <a:pt x="543" y="186"/>
                    </a:cubicBezTo>
                    <a:cubicBezTo>
                      <a:pt x="543" y="186"/>
                      <a:pt x="544" y="186"/>
                      <a:pt x="544" y="186"/>
                    </a:cubicBezTo>
                    <a:cubicBezTo>
                      <a:pt x="544" y="186"/>
                      <a:pt x="545" y="187"/>
                      <a:pt x="545" y="187"/>
                    </a:cubicBezTo>
                    <a:cubicBezTo>
                      <a:pt x="546" y="187"/>
                      <a:pt x="546" y="187"/>
                      <a:pt x="546" y="187"/>
                    </a:cubicBezTo>
                    <a:cubicBezTo>
                      <a:pt x="546" y="187"/>
                      <a:pt x="546" y="187"/>
                      <a:pt x="546" y="187"/>
                    </a:cubicBezTo>
                    <a:cubicBezTo>
                      <a:pt x="547" y="188"/>
                      <a:pt x="547" y="188"/>
                      <a:pt x="547" y="188"/>
                    </a:cubicBezTo>
                    <a:cubicBezTo>
                      <a:pt x="232" y="5"/>
                      <a:pt x="232" y="5"/>
                      <a:pt x="232" y="5"/>
                    </a:cubicBezTo>
                    <a:cubicBezTo>
                      <a:pt x="223" y="0"/>
                      <a:pt x="208" y="0"/>
                      <a:pt x="199" y="5"/>
                    </a:cubicBezTo>
                    <a:cubicBezTo>
                      <a:pt x="9" y="115"/>
                      <a:pt x="9" y="115"/>
                      <a:pt x="9" y="115"/>
                    </a:cubicBezTo>
                    <a:cubicBezTo>
                      <a:pt x="0" y="121"/>
                      <a:pt x="0" y="129"/>
                      <a:pt x="9" y="134"/>
                    </a:cubicBezTo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632E6B5C-E182-42C6-9661-D9B223D14401}"/>
                  </a:ext>
                </a:extLst>
              </p:cNvPr>
              <p:cNvSpPr/>
              <p:nvPr/>
            </p:nvSpPr>
            <p:spPr bwMode="auto">
              <a:xfrm>
                <a:off x="7119938" y="3778250"/>
                <a:ext cx="660400" cy="376238"/>
              </a:xfrm>
              <a:custGeom>
                <a:avLst/>
                <a:gdLst>
                  <a:gd name="T0" fmla="*/ 72 w 72"/>
                  <a:gd name="T1" fmla="*/ 0 h 41"/>
                  <a:gd name="T2" fmla="*/ 0 w 72"/>
                  <a:gd name="T3" fmla="*/ 41 h 41"/>
                  <a:gd name="T4" fmla="*/ 0 w 72"/>
                  <a:gd name="T5" fmla="*/ 41 h 41"/>
                  <a:gd name="T6" fmla="*/ 72 w 72"/>
                  <a:gd name="T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2" h="41">
                    <a:moveTo>
                      <a:pt x="72" y="0"/>
                    </a:move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72" y="0"/>
                      <a:pt x="72" y="0"/>
                      <a:pt x="72" y="0"/>
                    </a:cubicBezTo>
                  </a:path>
                </a:pathLst>
              </a:custGeom>
              <a:solidFill>
                <a:srgbClr val="373B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7C8A77BF-53DD-47FA-BC1D-1BFBD446A7FC}"/>
                  </a:ext>
                </a:extLst>
              </p:cNvPr>
              <p:cNvSpPr/>
              <p:nvPr/>
            </p:nvSpPr>
            <p:spPr bwMode="auto">
              <a:xfrm>
                <a:off x="6192838" y="3198813"/>
                <a:ext cx="1744663" cy="955675"/>
              </a:xfrm>
              <a:custGeom>
                <a:avLst/>
                <a:gdLst>
                  <a:gd name="T0" fmla="*/ 100 w 190"/>
                  <a:gd name="T1" fmla="*/ 0 h 104"/>
                  <a:gd name="T2" fmla="*/ 36 w 190"/>
                  <a:gd name="T3" fmla="*/ 15 h 104"/>
                  <a:gd name="T4" fmla="*/ 36 w 190"/>
                  <a:gd name="T5" fmla="*/ 89 h 104"/>
                  <a:gd name="T6" fmla="*/ 100 w 190"/>
                  <a:gd name="T7" fmla="*/ 104 h 104"/>
                  <a:gd name="T8" fmla="*/ 101 w 190"/>
                  <a:gd name="T9" fmla="*/ 104 h 104"/>
                  <a:gd name="T10" fmla="*/ 173 w 190"/>
                  <a:gd name="T11" fmla="*/ 63 h 104"/>
                  <a:gd name="T12" fmla="*/ 190 w 190"/>
                  <a:gd name="T13" fmla="*/ 53 h 104"/>
                  <a:gd name="T14" fmla="*/ 164 w 190"/>
                  <a:gd name="T15" fmla="*/ 15 h 104"/>
                  <a:gd name="T16" fmla="*/ 100 w 190"/>
                  <a:gd name="T17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0" h="104">
                    <a:moveTo>
                      <a:pt x="100" y="0"/>
                    </a:moveTo>
                    <a:cubicBezTo>
                      <a:pt x="76" y="0"/>
                      <a:pt x="53" y="5"/>
                      <a:pt x="36" y="15"/>
                    </a:cubicBezTo>
                    <a:cubicBezTo>
                      <a:pt x="0" y="36"/>
                      <a:pt x="0" y="69"/>
                      <a:pt x="36" y="89"/>
                    </a:cubicBezTo>
                    <a:cubicBezTo>
                      <a:pt x="53" y="99"/>
                      <a:pt x="76" y="104"/>
                      <a:pt x="100" y="104"/>
                    </a:cubicBezTo>
                    <a:cubicBezTo>
                      <a:pt x="100" y="104"/>
                      <a:pt x="101" y="104"/>
                      <a:pt x="101" y="104"/>
                    </a:cubicBezTo>
                    <a:cubicBezTo>
                      <a:pt x="173" y="63"/>
                      <a:pt x="173" y="63"/>
                      <a:pt x="173" y="63"/>
                    </a:cubicBezTo>
                    <a:cubicBezTo>
                      <a:pt x="190" y="53"/>
                      <a:pt x="190" y="53"/>
                      <a:pt x="190" y="53"/>
                    </a:cubicBezTo>
                    <a:cubicBezTo>
                      <a:pt x="190" y="39"/>
                      <a:pt x="182" y="26"/>
                      <a:pt x="164" y="15"/>
                    </a:cubicBezTo>
                    <a:cubicBezTo>
                      <a:pt x="146" y="5"/>
                      <a:pt x="123" y="0"/>
                      <a:pt x="100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4A37CE48-3F7C-451B-B4DA-BC50FEF5C4D3}"/>
                  </a:ext>
                </a:extLst>
              </p:cNvPr>
              <p:cNvSpPr/>
              <p:nvPr/>
            </p:nvSpPr>
            <p:spPr bwMode="auto">
              <a:xfrm>
                <a:off x="4171951" y="3171825"/>
                <a:ext cx="633413" cy="366713"/>
              </a:xfrm>
              <a:custGeom>
                <a:avLst/>
                <a:gdLst>
                  <a:gd name="T0" fmla="*/ 68 w 69"/>
                  <a:gd name="T1" fmla="*/ 40 h 40"/>
                  <a:gd name="T2" fmla="*/ 69 w 69"/>
                  <a:gd name="T3" fmla="*/ 40 h 40"/>
                  <a:gd name="T4" fmla="*/ 69 w 69"/>
                  <a:gd name="T5" fmla="*/ 40 h 40"/>
                  <a:gd name="T6" fmla="*/ 68 w 69"/>
                  <a:gd name="T7" fmla="*/ 40 h 40"/>
                  <a:gd name="T8" fmla="*/ 0 w 69"/>
                  <a:gd name="T9" fmla="*/ 0 h 40"/>
                  <a:gd name="T10" fmla="*/ 2 w 69"/>
                  <a:gd name="T11" fmla="*/ 2 h 40"/>
                  <a:gd name="T12" fmla="*/ 2 w 69"/>
                  <a:gd name="T13" fmla="*/ 2 h 40"/>
                  <a:gd name="T14" fmla="*/ 0 w 69"/>
                  <a:gd name="T15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9" h="40">
                    <a:moveTo>
                      <a:pt x="68" y="40"/>
                    </a:moveTo>
                    <a:cubicBezTo>
                      <a:pt x="69" y="40"/>
                      <a:pt x="69" y="40"/>
                      <a:pt x="69" y="40"/>
                    </a:cubicBezTo>
                    <a:cubicBezTo>
                      <a:pt x="69" y="40"/>
                      <a:pt x="69" y="40"/>
                      <a:pt x="69" y="40"/>
                    </a:cubicBezTo>
                    <a:cubicBezTo>
                      <a:pt x="68" y="40"/>
                      <a:pt x="68" y="40"/>
                      <a:pt x="68" y="40"/>
                    </a:cubicBezTo>
                    <a:moveTo>
                      <a:pt x="0" y="0"/>
                    </a:moveTo>
                    <a:cubicBezTo>
                      <a:pt x="2" y="2"/>
                      <a:pt x="2" y="2"/>
                      <a:pt x="2" y="2"/>
                    </a:cubicBezTo>
                    <a:cubicBezTo>
                      <a:pt x="2" y="2"/>
                      <a:pt x="2" y="2"/>
                      <a:pt x="2" y="2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373B9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FF73F08E-066A-4808-9BE6-A3973755E8B6}"/>
                  </a:ext>
                </a:extLst>
              </p:cNvPr>
              <p:cNvSpPr/>
              <p:nvPr/>
            </p:nvSpPr>
            <p:spPr bwMode="auto">
              <a:xfrm>
                <a:off x="4098926" y="3135313"/>
                <a:ext cx="92075" cy="53975"/>
              </a:xfrm>
              <a:custGeom>
                <a:avLst/>
                <a:gdLst>
                  <a:gd name="T0" fmla="*/ 0 w 10"/>
                  <a:gd name="T1" fmla="*/ 0 h 6"/>
                  <a:gd name="T2" fmla="*/ 0 w 10"/>
                  <a:gd name="T3" fmla="*/ 0 h 6"/>
                  <a:gd name="T4" fmla="*/ 10 w 10"/>
                  <a:gd name="T5" fmla="*/ 6 h 6"/>
                  <a:gd name="T6" fmla="*/ 10 w 10"/>
                  <a:gd name="T7" fmla="*/ 6 h 6"/>
                  <a:gd name="T8" fmla="*/ 8 w 10"/>
                  <a:gd name="T9" fmla="*/ 4 h 6"/>
                  <a:gd name="T10" fmla="*/ 0 w 10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" h="6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5559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9553F655-1C1D-410C-B0BA-156627369961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614363" cy="349250"/>
              </a:xfrm>
              <a:custGeom>
                <a:avLst/>
                <a:gdLst>
                  <a:gd name="T0" fmla="*/ 0 w 387"/>
                  <a:gd name="T1" fmla="*/ 0 h 220"/>
                  <a:gd name="T2" fmla="*/ 0 w 387"/>
                  <a:gd name="T3" fmla="*/ 0 h 220"/>
                  <a:gd name="T4" fmla="*/ 29 w 387"/>
                  <a:gd name="T5" fmla="*/ 12 h 220"/>
                  <a:gd name="T6" fmla="*/ 387 w 387"/>
                  <a:gd name="T7" fmla="*/ 220 h 220"/>
                  <a:gd name="T8" fmla="*/ 381 w 387"/>
                  <a:gd name="T9" fmla="*/ 220 h 220"/>
                  <a:gd name="T10" fmla="*/ 0 w 387"/>
                  <a:gd name="T1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7" h="220">
                    <a:moveTo>
                      <a:pt x="0" y="0"/>
                    </a:moveTo>
                    <a:lnTo>
                      <a:pt x="0" y="0"/>
                    </a:lnTo>
                    <a:lnTo>
                      <a:pt x="29" y="12"/>
                    </a:lnTo>
                    <a:lnTo>
                      <a:pt x="387" y="220"/>
                    </a:lnTo>
                    <a:lnTo>
                      <a:pt x="381" y="2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A309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FBC61F0-38AA-4E1D-A9F1-93C131E95732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614363" cy="349250"/>
              </a:xfrm>
              <a:custGeom>
                <a:avLst/>
                <a:gdLst>
                  <a:gd name="T0" fmla="*/ 0 w 387"/>
                  <a:gd name="T1" fmla="*/ 0 h 220"/>
                  <a:gd name="T2" fmla="*/ 0 w 387"/>
                  <a:gd name="T3" fmla="*/ 0 h 220"/>
                  <a:gd name="T4" fmla="*/ 29 w 387"/>
                  <a:gd name="T5" fmla="*/ 12 h 220"/>
                  <a:gd name="T6" fmla="*/ 387 w 387"/>
                  <a:gd name="T7" fmla="*/ 220 h 220"/>
                  <a:gd name="T8" fmla="*/ 381 w 387"/>
                  <a:gd name="T9" fmla="*/ 220 h 220"/>
                  <a:gd name="T10" fmla="*/ 0 w 387"/>
                  <a:gd name="T11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7" h="220">
                    <a:moveTo>
                      <a:pt x="0" y="0"/>
                    </a:moveTo>
                    <a:lnTo>
                      <a:pt x="0" y="0"/>
                    </a:lnTo>
                    <a:lnTo>
                      <a:pt x="29" y="12"/>
                    </a:lnTo>
                    <a:lnTo>
                      <a:pt x="387" y="220"/>
                    </a:lnTo>
                    <a:lnTo>
                      <a:pt x="381" y="220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A35470E4-8320-4F24-953F-974A7E5B4866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46038" cy="19050"/>
              </a:xfrm>
              <a:custGeom>
                <a:avLst/>
                <a:gdLst>
                  <a:gd name="T0" fmla="*/ 0 w 29"/>
                  <a:gd name="T1" fmla="*/ 0 h 12"/>
                  <a:gd name="T2" fmla="*/ 0 w 29"/>
                  <a:gd name="T3" fmla="*/ 0 h 12"/>
                  <a:gd name="T4" fmla="*/ 29 w 29"/>
                  <a:gd name="T5" fmla="*/ 12 h 12"/>
                  <a:gd name="T6" fmla="*/ 0 w 29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2">
                    <a:moveTo>
                      <a:pt x="0" y="0"/>
                    </a:moveTo>
                    <a:lnTo>
                      <a:pt x="0" y="0"/>
                    </a:lnTo>
                    <a:lnTo>
                      <a:pt x="29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048C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73651121-6A4F-481F-8693-6A91880A298D}"/>
                  </a:ext>
                </a:extLst>
              </p:cNvPr>
              <p:cNvSpPr/>
              <p:nvPr/>
            </p:nvSpPr>
            <p:spPr bwMode="auto">
              <a:xfrm>
                <a:off x="4191001" y="3189288"/>
                <a:ext cx="46038" cy="19050"/>
              </a:xfrm>
              <a:custGeom>
                <a:avLst/>
                <a:gdLst>
                  <a:gd name="T0" fmla="*/ 0 w 29"/>
                  <a:gd name="T1" fmla="*/ 0 h 12"/>
                  <a:gd name="T2" fmla="*/ 0 w 29"/>
                  <a:gd name="T3" fmla="*/ 0 h 12"/>
                  <a:gd name="T4" fmla="*/ 29 w 29"/>
                  <a:gd name="T5" fmla="*/ 12 h 12"/>
                  <a:gd name="T6" fmla="*/ 0 w 29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9" h="12">
                    <a:moveTo>
                      <a:pt x="0" y="0"/>
                    </a:moveTo>
                    <a:lnTo>
                      <a:pt x="0" y="0"/>
                    </a:lnTo>
                    <a:lnTo>
                      <a:pt x="29" y="12"/>
                    </a:lnTo>
                    <a:lnTo>
                      <a:pt x="0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CA7B8D8B-F07E-46B7-A067-475D9A4EF051}"/>
                  </a:ext>
                </a:extLst>
              </p:cNvPr>
              <p:cNvSpPr/>
              <p:nvPr/>
            </p:nvSpPr>
            <p:spPr bwMode="auto">
              <a:xfrm>
                <a:off x="4098926" y="2822575"/>
                <a:ext cx="1293813" cy="715963"/>
              </a:xfrm>
              <a:custGeom>
                <a:avLst/>
                <a:gdLst>
                  <a:gd name="T0" fmla="*/ 67 w 141"/>
                  <a:gd name="T1" fmla="*/ 0 h 78"/>
                  <a:gd name="T2" fmla="*/ 19 w 141"/>
                  <a:gd name="T3" fmla="*/ 12 h 78"/>
                  <a:gd name="T4" fmla="*/ 0 w 141"/>
                  <a:gd name="T5" fmla="*/ 34 h 78"/>
                  <a:gd name="T6" fmla="*/ 8 w 141"/>
                  <a:gd name="T7" fmla="*/ 38 h 78"/>
                  <a:gd name="T8" fmla="*/ 10 w 141"/>
                  <a:gd name="T9" fmla="*/ 40 h 78"/>
                  <a:gd name="T10" fmla="*/ 76 w 141"/>
                  <a:gd name="T11" fmla="*/ 78 h 78"/>
                  <a:gd name="T12" fmla="*/ 77 w 141"/>
                  <a:gd name="T13" fmla="*/ 78 h 78"/>
                  <a:gd name="T14" fmla="*/ 115 w 141"/>
                  <a:gd name="T15" fmla="*/ 67 h 78"/>
                  <a:gd name="T16" fmla="*/ 115 w 141"/>
                  <a:gd name="T17" fmla="*/ 12 h 78"/>
                  <a:gd name="T18" fmla="*/ 67 w 141"/>
                  <a:gd name="T19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78">
                    <a:moveTo>
                      <a:pt x="67" y="0"/>
                    </a:moveTo>
                    <a:cubicBezTo>
                      <a:pt x="50" y="0"/>
                      <a:pt x="33" y="4"/>
                      <a:pt x="19" y="12"/>
                    </a:cubicBezTo>
                    <a:cubicBezTo>
                      <a:pt x="9" y="18"/>
                      <a:pt x="2" y="26"/>
                      <a:pt x="0" y="34"/>
                    </a:cubicBezTo>
                    <a:cubicBezTo>
                      <a:pt x="8" y="38"/>
                      <a:pt x="8" y="38"/>
                      <a:pt x="8" y="38"/>
                    </a:cubicBezTo>
                    <a:cubicBezTo>
                      <a:pt x="10" y="40"/>
                      <a:pt x="10" y="40"/>
                      <a:pt x="10" y="40"/>
                    </a:cubicBezTo>
                    <a:cubicBezTo>
                      <a:pt x="76" y="78"/>
                      <a:pt x="76" y="78"/>
                      <a:pt x="76" y="78"/>
                    </a:cubicBezTo>
                    <a:cubicBezTo>
                      <a:pt x="77" y="78"/>
                      <a:pt x="77" y="78"/>
                      <a:pt x="77" y="78"/>
                    </a:cubicBezTo>
                    <a:cubicBezTo>
                      <a:pt x="91" y="77"/>
                      <a:pt x="104" y="73"/>
                      <a:pt x="115" y="67"/>
                    </a:cubicBezTo>
                    <a:cubicBezTo>
                      <a:pt x="141" y="52"/>
                      <a:pt x="141" y="27"/>
                      <a:pt x="115" y="12"/>
                    </a:cubicBezTo>
                    <a:cubicBezTo>
                      <a:pt x="102" y="4"/>
                      <a:pt x="84" y="0"/>
                      <a:pt x="67" y="0"/>
                    </a:cubicBez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3D4A8F84-E5E5-4F36-A6F8-08FD7E413736}"/>
                  </a:ext>
                </a:extLst>
              </p:cNvPr>
              <p:cNvSpPr/>
              <p:nvPr/>
            </p:nvSpPr>
            <p:spPr bwMode="auto">
              <a:xfrm>
                <a:off x="6496051" y="3346450"/>
                <a:ext cx="2138363" cy="2019300"/>
              </a:xfrm>
              <a:custGeom>
                <a:avLst/>
                <a:gdLst>
                  <a:gd name="T0" fmla="*/ 217 w 233"/>
                  <a:gd name="T1" fmla="*/ 27 h 220"/>
                  <a:gd name="T2" fmla="*/ 217 w 233"/>
                  <a:gd name="T3" fmla="*/ 75 h 220"/>
                  <a:gd name="T4" fmla="*/ 217 w 233"/>
                  <a:gd name="T5" fmla="*/ 75 h 220"/>
                  <a:gd name="T6" fmla="*/ 217 w 233"/>
                  <a:gd name="T7" fmla="*/ 76 h 220"/>
                  <a:gd name="T8" fmla="*/ 217 w 233"/>
                  <a:gd name="T9" fmla="*/ 76 h 220"/>
                  <a:gd name="T10" fmla="*/ 217 w 233"/>
                  <a:gd name="T11" fmla="*/ 78 h 220"/>
                  <a:gd name="T12" fmla="*/ 216 w 233"/>
                  <a:gd name="T13" fmla="*/ 80 h 220"/>
                  <a:gd name="T14" fmla="*/ 216 w 233"/>
                  <a:gd name="T15" fmla="*/ 81 h 220"/>
                  <a:gd name="T16" fmla="*/ 215 w 233"/>
                  <a:gd name="T17" fmla="*/ 83 h 220"/>
                  <a:gd name="T18" fmla="*/ 214 w 233"/>
                  <a:gd name="T19" fmla="*/ 84 h 220"/>
                  <a:gd name="T20" fmla="*/ 213 w 233"/>
                  <a:gd name="T21" fmla="*/ 84 h 220"/>
                  <a:gd name="T22" fmla="*/ 212 w 233"/>
                  <a:gd name="T23" fmla="*/ 85 h 220"/>
                  <a:gd name="T24" fmla="*/ 211 w 233"/>
                  <a:gd name="T25" fmla="*/ 86 h 220"/>
                  <a:gd name="T26" fmla="*/ 31 w 233"/>
                  <a:gd name="T27" fmla="*/ 190 h 220"/>
                  <a:gd name="T28" fmla="*/ 31 w 233"/>
                  <a:gd name="T29" fmla="*/ 190 h 220"/>
                  <a:gd name="T30" fmla="*/ 17 w 233"/>
                  <a:gd name="T31" fmla="*/ 198 h 220"/>
                  <a:gd name="T32" fmla="*/ 0 w 233"/>
                  <a:gd name="T33" fmla="*/ 202 h 220"/>
                  <a:gd name="T34" fmla="*/ 0 w 233"/>
                  <a:gd name="T35" fmla="*/ 220 h 220"/>
                  <a:gd name="T36" fmla="*/ 16 w 233"/>
                  <a:gd name="T37" fmla="*/ 217 h 220"/>
                  <a:gd name="T38" fmla="*/ 22 w 233"/>
                  <a:gd name="T39" fmla="*/ 213 h 220"/>
                  <a:gd name="T40" fmla="*/ 24 w 233"/>
                  <a:gd name="T41" fmla="*/ 212 h 220"/>
                  <a:gd name="T42" fmla="*/ 28 w 233"/>
                  <a:gd name="T43" fmla="*/ 210 h 220"/>
                  <a:gd name="T44" fmla="*/ 29 w 233"/>
                  <a:gd name="T45" fmla="*/ 209 h 220"/>
                  <a:gd name="T46" fmla="*/ 30 w 233"/>
                  <a:gd name="T47" fmla="*/ 208 h 220"/>
                  <a:gd name="T48" fmla="*/ 31 w 233"/>
                  <a:gd name="T49" fmla="*/ 208 h 220"/>
                  <a:gd name="T50" fmla="*/ 31 w 233"/>
                  <a:gd name="T51" fmla="*/ 208 h 220"/>
                  <a:gd name="T52" fmla="*/ 216 w 233"/>
                  <a:gd name="T53" fmla="*/ 101 h 220"/>
                  <a:gd name="T54" fmla="*/ 233 w 233"/>
                  <a:gd name="T55" fmla="*/ 72 h 220"/>
                  <a:gd name="T56" fmla="*/ 233 w 233"/>
                  <a:gd name="T57" fmla="*/ 12 h 220"/>
                  <a:gd name="T58" fmla="*/ 228 w 233"/>
                  <a:gd name="T59" fmla="*/ 2 h 220"/>
                  <a:gd name="T60" fmla="*/ 228 w 233"/>
                  <a:gd name="T61" fmla="*/ 2 h 220"/>
                  <a:gd name="T62" fmla="*/ 228 w 233"/>
                  <a:gd name="T63" fmla="*/ 1 h 220"/>
                  <a:gd name="T64" fmla="*/ 227 w 233"/>
                  <a:gd name="T65" fmla="*/ 1 h 220"/>
                  <a:gd name="T66" fmla="*/ 227 w 233"/>
                  <a:gd name="T67" fmla="*/ 1 h 220"/>
                  <a:gd name="T68" fmla="*/ 226 w 233"/>
                  <a:gd name="T69" fmla="*/ 1 h 220"/>
                  <a:gd name="T70" fmla="*/ 225 w 233"/>
                  <a:gd name="T71" fmla="*/ 0 h 220"/>
                  <a:gd name="T72" fmla="*/ 224 w 233"/>
                  <a:gd name="T73" fmla="*/ 0 h 220"/>
                  <a:gd name="T74" fmla="*/ 222 w 233"/>
                  <a:gd name="T75" fmla="*/ 1 h 220"/>
                  <a:gd name="T76" fmla="*/ 220 w 233"/>
                  <a:gd name="T77" fmla="*/ 1 h 220"/>
                  <a:gd name="T78" fmla="*/ 216 w 233"/>
                  <a:gd name="T79" fmla="*/ 3 h 220"/>
                  <a:gd name="T80" fmla="*/ 207 w 233"/>
                  <a:gd name="T81" fmla="*/ 8 h 220"/>
                  <a:gd name="T82" fmla="*/ 161 w 233"/>
                  <a:gd name="T83" fmla="*/ 34 h 220"/>
                  <a:gd name="T84" fmla="*/ 31 w 233"/>
                  <a:gd name="T85" fmla="*/ 110 h 220"/>
                  <a:gd name="T86" fmla="*/ 31 w 233"/>
                  <a:gd name="T87" fmla="*/ 110 h 220"/>
                  <a:gd name="T88" fmla="*/ 17 w 233"/>
                  <a:gd name="T89" fmla="*/ 118 h 220"/>
                  <a:gd name="T90" fmla="*/ 17 w 233"/>
                  <a:gd name="T91" fmla="*/ 118 h 220"/>
                  <a:gd name="T92" fmla="*/ 0 w 233"/>
                  <a:gd name="T93" fmla="*/ 122 h 220"/>
                  <a:gd name="T94" fmla="*/ 0 w 233"/>
                  <a:gd name="T95" fmla="*/ 140 h 220"/>
                  <a:gd name="T96" fmla="*/ 16 w 233"/>
                  <a:gd name="T97" fmla="*/ 136 h 220"/>
                  <a:gd name="T98" fmla="*/ 22 w 233"/>
                  <a:gd name="T99" fmla="*/ 133 h 220"/>
                  <a:gd name="T100" fmla="*/ 24 w 233"/>
                  <a:gd name="T101" fmla="*/ 131 h 220"/>
                  <a:gd name="T102" fmla="*/ 31 w 233"/>
                  <a:gd name="T103" fmla="*/ 128 h 220"/>
                  <a:gd name="T104" fmla="*/ 31 w 233"/>
                  <a:gd name="T105" fmla="*/ 127 h 220"/>
                  <a:gd name="T106" fmla="*/ 31 w 233"/>
                  <a:gd name="T107" fmla="*/ 127 h 220"/>
                  <a:gd name="T108" fmla="*/ 177 w 233"/>
                  <a:gd name="T109" fmla="*/ 43 h 220"/>
                  <a:gd name="T110" fmla="*/ 211 w 233"/>
                  <a:gd name="T111" fmla="*/ 24 h 220"/>
                  <a:gd name="T112" fmla="*/ 217 w 233"/>
                  <a:gd name="T113" fmla="*/ 27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33" h="220">
                    <a:moveTo>
                      <a:pt x="217" y="27"/>
                    </a:moveTo>
                    <a:cubicBezTo>
                      <a:pt x="217" y="75"/>
                      <a:pt x="217" y="75"/>
                      <a:pt x="217" y="75"/>
                    </a:cubicBezTo>
                    <a:cubicBezTo>
                      <a:pt x="217" y="75"/>
                      <a:pt x="217" y="75"/>
                      <a:pt x="217" y="75"/>
                    </a:cubicBezTo>
                    <a:cubicBezTo>
                      <a:pt x="217" y="76"/>
                      <a:pt x="217" y="76"/>
                      <a:pt x="217" y="76"/>
                    </a:cubicBezTo>
                    <a:cubicBezTo>
                      <a:pt x="217" y="76"/>
                      <a:pt x="217" y="76"/>
                      <a:pt x="217" y="76"/>
                    </a:cubicBezTo>
                    <a:cubicBezTo>
                      <a:pt x="217" y="77"/>
                      <a:pt x="217" y="77"/>
                      <a:pt x="217" y="78"/>
                    </a:cubicBezTo>
                    <a:cubicBezTo>
                      <a:pt x="217" y="78"/>
                      <a:pt x="217" y="79"/>
                      <a:pt x="216" y="80"/>
                    </a:cubicBezTo>
                    <a:cubicBezTo>
                      <a:pt x="216" y="80"/>
                      <a:pt x="216" y="81"/>
                      <a:pt x="216" y="81"/>
                    </a:cubicBezTo>
                    <a:cubicBezTo>
                      <a:pt x="215" y="82"/>
                      <a:pt x="215" y="82"/>
                      <a:pt x="215" y="83"/>
                    </a:cubicBezTo>
                    <a:cubicBezTo>
                      <a:pt x="214" y="83"/>
                      <a:pt x="214" y="83"/>
                      <a:pt x="214" y="84"/>
                    </a:cubicBezTo>
                    <a:cubicBezTo>
                      <a:pt x="213" y="84"/>
                      <a:pt x="213" y="84"/>
                      <a:pt x="213" y="84"/>
                    </a:cubicBezTo>
                    <a:cubicBezTo>
                      <a:pt x="213" y="85"/>
                      <a:pt x="212" y="85"/>
                      <a:pt x="212" y="85"/>
                    </a:cubicBezTo>
                    <a:cubicBezTo>
                      <a:pt x="211" y="86"/>
                      <a:pt x="211" y="86"/>
                      <a:pt x="211" y="86"/>
                    </a:cubicBezTo>
                    <a:cubicBezTo>
                      <a:pt x="31" y="190"/>
                      <a:pt x="31" y="190"/>
                      <a:pt x="31" y="190"/>
                    </a:cubicBezTo>
                    <a:cubicBezTo>
                      <a:pt x="31" y="190"/>
                      <a:pt x="31" y="190"/>
                      <a:pt x="31" y="190"/>
                    </a:cubicBezTo>
                    <a:cubicBezTo>
                      <a:pt x="17" y="198"/>
                      <a:pt x="17" y="198"/>
                      <a:pt x="17" y="198"/>
                    </a:cubicBezTo>
                    <a:cubicBezTo>
                      <a:pt x="12" y="201"/>
                      <a:pt x="6" y="202"/>
                      <a:pt x="0" y="202"/>
                    </a:cubicBezTo>
                    <a:cubicBezTo>
                      <a:pt x="0" y="220"/>
                      <a:pt x="0" y="220"/>
                      <a:pt x="0" y="220"/>
                    </a:cubicBezTo>
                    <a:cubicBezTo>
                      <a:pt x="6" y="220"/>
                      <a:pt x="12" y="219"/>
                      <a:pt x="16" y="217"/>
                    </a:cubicBezTo>
                    <a:cubicBezTo>
                      <a:pt x="18" y="215"/>
                      <a:pt x="20" y="214"/>
                      <a:pt x="22" y="213"/>
                    </a:cubicBezTo>
                    <a:cubicBezTo>
                      <a:pt x="24" y="212"/>
                      <a:pt x="24" y="212"/>
                      <a:pt x="24" y="212"/>
                    </a:cubicBezTo>
                    <a:cubicBezTo>
                      <a:pt x="26" y="211"/>
                      <a:pt x="27" y="210"/>
                      <a:pt x="28" y="210"/>
                    </a:cubicBezTo>
                    <a:cubicBezTo>
                      <a:pt x="28" y="209"/>
                      <a:pt x="29" y="209"/>
                      <a:pt x="29" y="209"/>
                    </a:cubicBezTo>
                    <a:cubicBezTo>
                      <a:pt x="29" y="209"/>
                      <a:pt x="30" y="208"/>
                      <a:pt x="30" y="208"/>
                    </a:cubicBezTo>
                    <a:cubicBezTo>
                      <a:pt x="30" y="208"/>
                      <a:pt x="31" y="208"/>
                      <a:pt x="31" y="208"/>
                    </a:cubicBezTo>
                    <a:cubicBezTo>
                      <a:pt x="31" y="208"/>
                      <a:pt x="31" y="208"/>
                      <a:pt x="31" y="208"/>
                    </a:cubicBezTo>
                    <a:cubicBezTo>
                      <a:pt x="216" y="101"/>
                      <a:pt x="216" y="101"/>
                      <a:pt x="216" y="101"/>
                    </a:cubicBezTo>
                    <a:cubicBezTo>
                      <a:pt x="226" y="95"/>
                      <a:pt x="233" y="83"/>
                      <a:pt x="233" y="72"/>
                    </a:cubicBezTo>
                    <a:cubicBezTo>
                      <a:pt x="233" y="12"/>
                      <a:pt x="233" y="12"/>
                      <a:pt x="233" y="12"/>
                    </a:cubicBezTo>
                    <a:cubicBezTo>
                      <a:pt x="233" y="7"/>
                      <a:pt x="231" y="3"/>
                      <a:pt x="228" y="2"/>
                    </a:cubicBezTo>
                    <a:cubicBezTo>
                      <a:pt x="228" y="2"/>
                      <a:pt x="228" y="2"/>
                      <a:pt x="228" y="2"/>
                    </a:cubicBezTo>
                    <a:cubicBezTo>
                      <a:pt x="228" y="1"/>
                      <a:pt x="228" y="1"/>
                      <a:pt x="228" y="1"/>
                    </a:cubicBezTo>
                    <a:cubicBezTo>
                      <a:pt x="227" y="1"/>
                      <a:pt x="227" y="1"/>
                      <a:pt x="227" y="1"/>
                    </a:cubicBezTo>
                    <a:cubicBezTo>
                      <a:pt x="227" y="1"/>
                      <a:pt x="227" y="1"/>
                      <a:pt x="227" y="1"/>
                    </a:cubicBezTo>
                    <a:cubicBezTo>
                      <a:pt x="226" y="1"/>
                      <a:pt x="226" y="1"/>
                      <a:pt x="226" y="1"/>
                    </a:cubicBezTo>
                    <a:cubicBezTo>
                      <a:pt x="226" y="1"/>
                      <a:pt x="225" y="0"/>
                      <a:pt x="225" y="0"/>
                    </a:cubicBezTo>
                    <a:cubicBezTo>
                      <a:pt x="225" y="0"/>
                      <a:pt x="224" y="0"/>
                      <a:pt x="224" y="0"/>
                    </a:cubicBezTo>
                    <a:cubicBezTo>
                      <a:pt x="223" y="0"/>
                      <a:pt x="223" y="0"/>
                      <a:pt x="222" y="1"/>
                    </a:cubicBezTo>
                    <a:cubicBezTo>
                      <a:pt x="221" y="1"/>
                      <a:pt x="221" y="1"/>
                      <a:pt x="220" y="1"/>
                    </a:cubicBezTo>
                    <a:cubicBezTo>
                      <a:pt x="219" y="1"/>
                      <a:pt x="218" y="2"/>
                      <a:pt x="216" y="3"/>
                    </a:cubicBezTo>
                    <a:cubicBezTo>
                      <a:pt x="207" y="8"/>
                      <a:pt x="207" y="8"/>
                      <a:pt x="207" y="8"/>
                    </a:cubicBezTo>
                    <a:cubicBezTo>
                      <a:pt x="161" y="34"/>
                      <a:pt x="161" y="34"/>
                      <a:pt x="161" y="34"/>
                    </a:cubicBezTo>
                    <a:cubicBezTo>
                      <a:pt x="31" y="110"/>
                      <a:pt x="31" y="110"/>
                      <a:pt x="31" y="110"/>
                    </a:cubicBezTo>
                    <a:cubicBezTo>
                      <a:pt x="31" y="110"/>
                      <a:pt x="31" y="110"/>
                      <a:pt x="31" y="110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7" y="118"/>
                      <a:pt x="17" y="118"/>
                      <a:pt x="17" y="118"/>
                    </a:cubicBezTo>
                    <a:cubicBezTo>
                      <a:pt x="12" y="121"/>
                      <a:pt x="6" y="122"/>
                      <a:pt x="0" y="122"/>
                    </a:cubicBezTo>
                    <a:cubicBezTo>
                      <a:pt x="0" y="140"/>
                      <a:pt x="0" y="140"/>
                      <a:pt x="0" y="140"/>
                    </a:cubicBezTo>
                    <a:cubicBezTo>
                      <a:pt x="6" y="140"/>
                      <a:pt x="12" y="139"/>
                      <a:pt x="16" y="136"/>
                    </a:cubicBezTo>
                    <a:cubicBezTo>
                      <a:pt x="18" y="135"/>
                      <a:pt x="20" y="134"/>
                      <a:pt x="22" y="133"/>
                    </a:cubicBezTo>
                    <a:cubicBezTo>
                      <a:pt x="24" y="131"/>
                      <a:pt x="24" y="131"/>
                      <a:pt x="24" y="131"/>
                    </a:cubicBezTo>
                    <a:cubicBezTo>
                      <a:pt x="27" y="130"/>
                      <a:pt x="29" y="128"/>
                      <a:pt x="31" y="128"/>
                    </a:cubicBezTo>
                    <a:cubicBezTo>
                      <a:pt x="31" y="127"/>
                      <a:pt x="31" y="127"/>
                      <a:pt x="31" y="127"/>
                    </a:cubicBezTo>
                    <a:cubicBezTo>
                      <a:pt x="31" y="127"/>
                      <a:pt x="31" y="127"/>
                      <a:pt x="31" y="127"/>
                    </a:cubicBezTo>
                    <a:cubicBezTo>
                      <a:pt x="177" y="43"/>
                      <a:pt x="177" y="43"/>
                      <a:pt x="177" y="43"/>
                    </a:cubicBezTo>
                    <a:cubicBezTo>
                      <a:pt x="211" y="24"/>
                      <a:pt x="211" y="24"/>
                      <a:pt x="211" y="24"/>
                    </a:cubicBezTo>
                    <a:cubicBezTo>
                      <a:pt x="215" y="22"/>
                      <a:pt x="217" y="23"/>
                      <a:pt x="217" y="27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AB911A1A-9C47-4E76-A4EE-AEF133880ECC}"/>
                  </a:ext>
                </a:extLst>
              </p:cNvPr>
              <p:cNvSpPr/>
              <p:nvPr/>
            </p:nvSpPr>
            <p:spPr bwMode="auto">
              <a:xfrm>
                <a:off x="6550026" y="1565275"/>
                <a:ext cx="533400" cy="577850"/>
              </a:xfrm>
              <a:custGeom>
                <a:avLst/>
                <a:gdLst>
                  <a:gd name="T0" fmla="*/ 0 w 58"/>
                  <a:gd name="T1" fmla="*/ 34 h 63"/>
                  <a:gd name="T2" fmla="*/ 4 w 58"/>
                  <a:gd name="T3" fmla="*/ 25 h 63"/>
                  <a:gd name="T4" fmla="*/ 2 w 58"/>
                  <a:gd name="T5" fmla="*/ 19 h 63"/>
                  <a:gd name="T6" fmla="*/ 12 w 58"/>
                  <a:gd name="T7" fmla="*/ 9 h 63"/>
                  <a:gd name="T8" fmla="*/ 16 w 58"/>
                  <a:gd name="T9" fmla="*/ 10 h 63"/>
                  <a:gd name="T10" fmla="*/ 21 w 58"/>
                  <a:gd name="T11" fmla="*/ 4 h 63"/>
                  <a:gd name="T12" fmla="*/ 24 w 58"/>
                  <a:gd name="T13" fmla="*/ 5 h 63"/>
                  <a:gd name="T14" fmla="*/ 30 w 58"/>
                  <a:gd name="T15" fmla="*/ 2 h 63"/>
                  <a:gd name="T16" fmla="*/ 36 w 58"/>
                  <a:gd name="T17" fmla="*/ 5 h 63"/>
                  <a:gd name="T18" fmla="*/ 44 w 58"/>
                  <a:gd name="T19" fmla="*/ 0 h 63"/>
                  <a:gd name="T20" fmla="*/ 54 w 58"/>
                  <a:gd name="T21" fmla="*/ 10 h 63"/>
                  <a:gd name="T22" fmla="*/ 52 w 58"/>
                  <a:gd name="T23" fmla="*/ 15 h 63"/>
                  <a:gd name="T24" fmla="*/ 58 w 58"/>
                  <a:gd name="T25" fmla="*/ 22 h 63"/>
                  <a:gd name="T26" fmla="*/ 51 w 58"/>
                  <a:gd name="T27" fmla="*/ 28 h 63"/>
                  <a:gd name="T28" fmla="*/ 44 w 58"/>
                  <a:gd name="T29" fmla="*/ 22 h 63"/>
                  <a:gd name="T30" fmla="*/ 45 w 58"/>
                  <a:gd name="T31" fmla="*/ 19 h 63"/>
                  <a:gd name="T32" fmla="*/ 44 w 58"/>
                  <a:gd name="T33" fmla="*/ 19 h 63"/>
                  <a:gd name="T34" fmla="*/ 35 w 58"/>
                  <a:gd name="T35" fmla="*/ 12 h 63"/>
                  <a:gd name="T36" fmla="*/ 30 w 58"/>
                  <a:gd name="T37" fmla="*/ 15 h 63"/>
                  <a:gd name="T38" fmla="*/ 25 w 58"/>
                  <a:gd name="T39" fmla="*/ 13 h 63"/>
                  <a:gd name="T40" fmla="*/ 21 w 58"/>
                  <a:gd name="T41" fmla="*/ 15 h 63"/>
                  <a:gd name="T42" fmla="*/ 21 w 58"/>
                  <a:gd name="T43" fmla="*/ 15 h 63"/>
                  <a:gd name="T44" fmla="*/ 21 w 58"/>
                  <a:gd name="T45" fmla="*/ 17 h 63"/>
                  <a:gd name="T46" fmla="*/ 17 w 58"/>
                  <a:gd name="T47" fmla="*/ 24 h 63"/>
                  <a:gd name="T48" fmla="*/ 22 w 58"/>
                  <a:gd name="T49" fmla="*/ 34 h 63"/>
                  <a:gd name="T50" fmla="*/ 16 w 58"/>
                  <a:gd name="T51" fmla="*/ 43 h 63"/>
                  <a:gd name="T52" fmla="*/ 16 w 58"/>
                  <a:gd name="T53" fmla="*/ 45 h 63"/>
                  <a:gd name="T54" fmla="*/ 17 w 58"/>
                  <a:gd name="T55" fmla="*/ 45 h 63"/>
                  <a:gd name="T56" fmla="*/ 26 w 58"/>
                  <a:gd name="T57" fmla="*/ 54 h 63"/>
                  <a:gd name="T58" fmla="*/ 17 w 58"/>
                  <a:gd name="T59" fmla="*/ 63 h 63"/>
                  <a:gd name="T60" fmla="*/ 8 w 58"/>
                  <a:gd name="T61" fmla="*/ 54 h 63"/>
                  <a:gd name="T62" fmla="*/ 8 w 58"/>
                  <a:gd name="T63" fmla="*/ 52 h 63"/>
                  <a:gd name="T64" fmla="*/ 2 w 58"/>
                  <a:gd name="T65" fmla="*/ 46 h 63"/>
                  <a:gd name="T66" fmla="*/ 4 w 58"/>
                  <a:gd name="T67" fmla="*/ 42 h 63"/>
                  <a:gd name="T68" fmla="*/ 0 w 58"/>
                  <a:gd name="T69" fmla="*/ 3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8" h="63">
                    <a:moveTo>
                      <a:pt x="0" y="34"/>
                    </a:moveTo>
                    <a:cubicBezTo>
                      <a:pt x="0" y="30"/>
                      <a:pt x="2" y="27"/>
                      <a:pt x="4" y="25"/>
                    </a:cubicBezTo>
                    <a:cubicBezTo>
                      <a:pt x="3" y="24"/>
                      <a:pt x="2" y="22"/>
                      <a:pt x="2" y="19"/>
                    </a:cubicBezTo>
                    <a:cubicBezTo>
                      <a:pt x="3" y="15"/>
                      <a:pt x="6" y="10"/>
                      <a:pt x="12" y="9"/>
                    </a:cubicBezTo>
                    <a:cubicBezTo>
                      <a:pt x="13" y="9"/>
                      <a:pt x="15" y="9"/>
                      <a:pt x="16" y="10"/>
                    </a:cubicBezTo>
                    <a:cubicBezTo>
                      <a:pt x="15" y="6"/>
                      <a:pt x="18" y="4"/>
                      <a:pt x="21" y="4"/>
                    </a:cubicBezTo>
                    <a:cubicBezTo>
                      <a:pt x="22" y="4"/>
                      <a:pt x="23" y="4"/>
                      <a:pt x="24" y="5"/>
                    </a:cubicBezTo>
                    <a:cubicBezTo>
                      <a:pt x="26" y="3"/>
                      <a:pt x="28" y="2"/>
                      <a:pt x="30" y="2"/>
                    </a:cubicBezTo>
                    <a:cubicBezTo>
                      <a:pt x="32" y="2"/>
                      <a:pt x="35" y="3"/>
                      <a:pt x="36" y="5"/>
                    </a:cubicBezTo>
                    <a:cubicBezTo>
                      <a:pt x="37" y="2"/>
                      <a:pt x="40" y="0"/>
                      <a:pt x="44" y="0"/>
                    </a:cubicBezTo>
                    <a:cubicBezTo>
                      <a:pt x="49" y="0"/>
                      <a:pt x="54" y="4"/>
                      <a:pt x="54" y="10"/>
                    </a:cubicBezTo>
                    <a:cubicBezTo>
                      <a:pt x="54" y="12"/>
                      <a:pt x="53" y="14"/>
                      <a:pt x="52" y="15"/>
                    </a:cubicBezTo>
                    <a:cubicBezTo>
                      <a:pt x="55" y="16"/>
                      <a:pt x="58" y="18"/>
                      <a:pt x="58" y="22"/>
                    </a:cubicBezTo>
                    <a:cubicBezTo>
                      <a:pt x="58" y="25"/>
                      <a:pt x="55" y="28"/>
                      <a:pt x="51" y="28"/>
                    </a:cubicBezTo>
                    <a:cubicBezTo>
                      <a:pt x="47" y="28"/>
                      <a:pt x="44" y="25"/>
                      <a:pt x="44" y="22"/>
                    </a:cubicBezTo>
                    <a:cubicBezTo>
                      <a:pt x="44" y="21"/>
                      <a:pt x="45" y="20"/>
                      <a:pt x="45" y="19"/>
                    </a:cubicBezTo>
                    <a:cubicBezTo>
                      <a:pt x="44" y="19"/>
                      <a:pt x="44" y="19"/>
                      <a:pt x="44" y="19"/>
                    </a:cubicBezTo>
                    <a:cubicBezTo>
                      <a:pt x="40" y="19"/>
                      <a:pt x="36" y="16"/>
                      <a:pt x="35" y="12"/>
                    </a:cubicBezTo>
                    <a:cubicBezTo>
                      <a:pt x="34" y="14"/>
                      <a:pt x="32" y="15"/>
                      <a:pt x="30" y="15"/>
                    </a:cubicBezTo>
                    <a:cubicBezTo>
                      <a:pt x="28" y="15"/>
                      <a:pt x="26" y="14"/>
                      <a:pt x="25" y="13"/>
                    </a:cubicBezTo>
                    <a:cubicBezTo>
                      <a:pt x="24" y="14"/>
                      <a:pt x="23" y="15"/>
                      <a:pt x="21" y="15"/>
                    </a:cubicBezTo>
                    <a:cubicBezTo>
                      <a:pt x="21" y="15"/>
                      <a:pt x="21" y="15"/>
                      <a:pt x="21" y="15"/>
                    </a:cubicBezTo>
                    <a:cubicBezTo>
                      <a:pt x="21" y="15"/>
                      <a:pt x="21" y="16"/>
                      <a:pt x="21" y="17"/>
                    </a:cubicBezTo>
                    <a:cubicBezTo>
                      <a:pt x="21" y="20"/>
                      <a:pt x="19" y="23"/>
                      <a:pt x="17" y="24"/>
                    </a:cubicBezTo>
                    <a:cubicBezTo>
                      <a:pt x="20" y="26"/>
                      <a:pt x="22" y="30"/>
                      <a:pt x="22" y="34"/>
                    </a:cubicBezTo>
                    <a:cubicBezTo>
                      <a:pt x="22" y="38"/>
                      <a:pt x="19" y="41"/>
                      <a:pt x="16" y="43"/>
                    </a:cubicBezTo>
                    <a:cubicBezTo>
                      <a:pt x="16" y="44"/>
                      <a:pt x="16" y="44"/>
                      <a:pt x="16" y="45"/>
                    </a:cubicBezTo>
                    <a:cubicBezTo>
                      <a:pt x="17" y="45"/>
                      <a:pt x="17" y="45"/>
                      <a:pt x="17" y="45"/>
                    </a:cubicBezTo>
                    <a:cubicBezTo>
                      <a:pt x="22" y="45"/>
                      <a:pt x="26" y="49"/>
                      <a:pt x="26" y="54"/>
                    </a:cubicBezTo>
                    <a:cubicBezTo>
                      <a:pt x="26" y="59"/>
                      <a:pt x="22" y="63"/>
                      <a:pt x="17" y="63"/>
                    </a:cubicBezTo>
                    <a:cubicBezTo>
                      <a:pt x="12" y="63"/>
                      <a:pt x="8" y="59"/>
                      <a:pt x="8" y="54"/>
                    </a:cubicBezTo>
                    <a:cubicBezTo>
                      <a:pt x="8" y="54"/>
                      <a:pt x="8" y="53"/>
                      <a:pt x="8" y="52"/>
                    </a:cubicBezTo>
                    <a:cubicBezTo>
                      <a:pt x="5" y="52"/>
                      <a:pt x="2" y="49"/>
                      <a:pt x="2" y="46"/>
                    </a:cubicBezTo>
                    <a:cubicBezTo>
                      <a:pt x="2" y="44"/>
                      <a:pt x="3" y="43"/>
                      <a:pt x="4" y="42"/>
                    </a:cubicBezTo>
                    <a:cubicBezTo>
                      <a:pt x="1" y="40"/>
                      <a:pt x="0" y="37"/>
                      <a:pt x="0" y="34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25AC36D1-8165-41A4-8CCA-946213BC72B5}"/>
                  </a:ext>
                </a:extLst>
              </p:cNvPr>
              <p:cNvSpPr/>
              <p:nvPr/>
            </p:nvSpPr>
            <p:spPr bwMode="auto">
              <a:xfrm>
                <a:off x="6357938" y="2987675"/>
                <a:ext cx="1477963" cy="781050"/>
              </a:xfrm>
              <a:custGeom>
                <a:avLst/>
                <a:gdLst>
                  <a:gd name="T0" fmla="*/ 4 w 161"/>
                  <a:gd name="T1" fmla="*/ 85 h 85"/>
                  <a:gd name="T2" fmla="*/ 9 w 161"/>
                  <a:gd name="T3" fmla="*/ 53 h 85"/>
                  <a:gd name="T4" fmla="*/ 20 w 161"/>
                  <a:gd name="T5" fmla="*/ 24 h 85"/>
                  <a:gd name="T6" fmla="*/ 88 w 161"/>
                  <a:gd name="T7" fmla="*/ 2 h 85"/>
                  <a:gd name="T8" fmla="*/ 156 w 161"/>
                  <a:gd name="T9" fmla="*/ 13 h 85"/>
                  <a:gd name="T10" fmla="*/ 111 w 161"/>
                  <a:gd name="T11" fmla="*/ 39 h 85"/>
                  <a:gd name="T12" fmla="*/ 73 w 161"/>
                  <a:gd name="T13" fmla="*/ 41 h 85"/>
                  <a:gd name="T14" fmla="*/ 69 w 161"/>
                  <a:gd name="T15" fmla="*/ 43 h 85"/>
                  <a:gd name="T16" fmla="*/ 43 w 161"/>
                  <a:gd name="T17" fmla="*/ 76 h 85"/>
                  <a:gd name="T18" fmla="*/ 4 w 161"/>
                  <a:gd name="T19" fmla="*/ 85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1" h="85">
                    <a:moveTo>
                      <a:pt x="4" y="85"/>
                    </a:moveTo>
                    <a:cubicBezTo>
                      <a:pt x="0" y="77"/>
                      <a:pt x="3" y="67"/>
                      <a:pt x="9" y="53"/>
                    </a:cubicBezTo>
                    <a:cubicBezTo>
                      <a:pt x="14" y="39"/>
                      <a:pt x="20" y="24"/>
                      <a:pt x="20" y="24"/>
                    </a:cubicBezTo>
                    <a:cubicBezTo>
                      <a:pt x="88" y="2"/>
                      <a:pt x="88" y="2"/>
                      <a:pt x="88" y="2"/>
                    </a:cubicBezTo>
                    <a:cubicBezTo>
                      <a:pt x="88" y="2"/>
                      <a:pt x="150" y="0"/>
                      <a:pt x="156" y="13"/>
                    </a:cubicBezTo>
                    <a:cubicBezTo>
                      <a:pt x="161" y="23"/>
                      <a:pt x="117" y="38"/>
                      <a:pt x="111" y="39"/>
                    </a:cubicBezTo>
                    <a:cubicBezTo>
                      <a:pt x="73" y="41"/>
                      <a:pt x="73" y="41"/>
                      <a:pt x="73" y="41"/>
                    </a:cubicBezTo>
                    <a:cubicBezTo>
                      <a:pt x="69" y="43"/>
                      <a:pt x="69" y="43"/>
                      <a:pt x="69" y="43"/>
                    </a:cubicBezTo>
                    <a:cubicBezTo>
                      <a:pt x="43" y="76"/>
                      <a:pt x="43" y="76"/>
                      <a:pt x="43" y="76"/>
                    </a:cubicBezTo>
                    <a:lnTo>
                      <a:pt x="4" y="85"/>
                    </a:lnTo>
                    <a:close/>
                  </a:path>
                </a:pathLst>
              </a:custGeom>
              <a:solidFill>
                <a:srgbClr val="C4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4FB4D45E-1B07-40FF-B3FD-31A9E7799903}"/>
                  </a:ext>
                </a:extLst>
              </p:cNvPr>
              <p:cNvSpPr/>
              <p:nvPr/>
            </p:nvSpPr>
            <p:spPr bwMode="auto">
              <a:xfrm>
                <a:off x="6945313" y="3732213"/>
                <a:ext cx="220663" cy="485775"/>
              </a:xfrm>
              <a:custGeom>
                <a:avLst/>
                <a:gdLst>
                  <a:gd name="T0" fmla="*/ 2 w 24"/>
                  <a:gd name="T1" fmla="*/ 35 h 53"/>
                  <a:gd name="T2" fmla="*/ 7 w 24"/>
                  <a:gd name="T3" fmla="*/ 46 h 53"/>
                  <a:gd name="T4" fmla="*/ 12 w 24"/>
                  <a:gd name="T5" fmla="*/ 51 h 53"/>
                  <a:gd name="T6" fmla="*/ 19 w 24"/>
                  <a:gd name="T7" fmla="*/ 51 h 53"/>
                  <a:gd name="T8" fmla="*/ 19 w 24"/>
                  <a:gd name="T9" fmla="*/ 48 h 53"/>
                  <a:gd name="T10" fmla="*/ 19 w 24"/>
                  <a:gd name="T11" fmla="*/ 30 h 53"/>
                  <a:gd name="T12" fmla="*/ 24 w 24"/>
                  <a:gd name="T13" fmla="*/ 8 h 53"/>
                  <a:gd name="T14" fmla="*/ 13 w 24"/>
                  <a:gd name="T15" fmla="*/ 0 h 53"/>
                  <a:gd name="T16" fmla="*/ 9 w 24"/>
                  <a:gd name="T17" fmla="*/ 3 h 53"/>
                  <a:gd name="T18" fmla="*/ 6 w 24"/>
                  <a:gd name="T19" fmla="*/ 6 h 53"/>
                  <a:gd name="T20" fmla="*/ 0 w 24"/>
                  <a:gd name="T21" fmla="*/ 14 h 53"/>
                  <a:gd name="T22" fmla="*/ 2 w 24"/>
                  <a:gd name="T23" fmla="*/ 21 h 53"/>
                  <a:gd name="T24" fmla="*/ 2 w 24"/>
                  <a:gd name="T25" fmla="*/ 35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4" h="53">
                    <a:moveTo>
                      <a:pt x="2" y="35"/>
                    </a:moveTo>
                    <a:cubicBezTo>
                      <a:pt x="1" y="40"/>
                      <a:pt x="4" y="43"/>
                      <a:pt x="7" y="46"/>
                    </a:cubicBezTo>
                    <a:cubicBezTo>
                      <a:pt x="8" y="48"/>
                      <a:pt x="10" y="49"/>
                      <a:pt x="12" y="51"/>
                    </a:cubicBezTo>
                    <a:cubicBezTo>
                      <a:pt x="14" y="52"/>
                      <a:pt x="17" y="53"/>
                      <a:pt x="19" y="51"/>
                    </a:cubicBezTo>
                    <a:cubicBezTo>
                      <a:pt x="19" y="50"/>
                      <a:pt x="19" y="49"/>
                      <a:pt x="19" y="48"/>
                    </a:cubicBezTo>
                    <a:cubicBezTo>
                      <a:pt x="19" y="42"/>
                      <a:pt x="19" y="36"/>
                      <a:pt x="19" y="30"/>
                    </a:cubicBezTo>
                    <a:cubicBezTo>
                      <a:pt x="20" y="23"/>
                      <a:pt x="20" y="16"/>
                      <a:pt x="24" y="8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12" y="1"/>
                      <a:pt x="11" y="2"/>
                      <a:pt x="9" y="3"/>
                    </a:cubicBezTo>
                    <a:cubicBezTo>
                      <a:pt x="8" y="4"/>
                      <a:pt x="7" y="5"/>
                      <a:pt x="6" y="6"/>
                    </a:cubicBezTo>
                    <a:cubicBezTo>
                      <a:pt x="3" y="8"/>
                      <a:pt x="1" y="11"/>
                      <a:pt x="0" y="14"/>
                    </a:cubicBezTo>
                    <a:cubicBezTo>
                      <a:pt x="0" y="16"/>
                      <a:pt x="1" y="19"/>
                      <a:pt x="2" y="21"/>
                    </a:cubicBezTo>
                    <a:cubicBezTo>
                      <a:pt x="3" y="26"/>
                      <a:pt x="2" y="31"/>
                      <a:pt x="2" y="35"/>
                    </a:cubicBezTo>
                    <a:close/>
                  </a:path>
                </a:pathLst>
              </a:custGeom>
              <a:solidFill>
                <a:srgbClr val="2D2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20C7FFB2-46E2-4B8B-A496-80DE83CBB1B0}"/>
                  </a:ext>
                </a:extLst>
              </p:cNvPr>
              <p:cNvSpPr/>
              <p:nvPr/>
            </p:nvSpPr>
            <p:spPr bwMode="auto">
              <a:xfrm>
                <a:off x="7054851" y="3079750"/>
                <a:ext cx="790575" cy="744538"/>
              </a:xfrm>
              <a:custGeom>
                <a:avLst/>
                <a:gdLst>
                  <a:gd name="T0" fmla="*/ 42 w 86"/>
                  <a:gd name="T1" fmla="*/ 13 h 81"/>
                  <a:gd name="T2" fmla="*/ 29 w 86"/>
                  <a:gd name="T3" fmla="*/ 29 h 81"/>
                  <a:gd name="T4" fmla="*/ 0 w 86"/>
                  <a:gd name="T5" fmla="*/ 72 h 81"/>
                  <a:gd name="T6" fmla="*/ 11 w 86"/>
                  <a:gd name="T7" fmla="*/ 81 h 81"/>
                  <a:gd name="T8" fmla="*/ 74 w 86"/>
                  <a:gd name="T9" fmla="*/ 22 h 81"/>
                  <a:gd name="T10" fmla="*/ 74 w 86"/>
                  <a:gd name="T11" fmla="*/ 1 h 81"/>
                  <a:gd name="T12" fmla="*/ 42 w 86"/>
                  <a:gd name="T13" fmla="*/ 13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6" h="81">
                    <a:moveTo>
                      <a:pt x="42" y="13"/>
                    </a:moveTo>
                    <a:cubicBezTo>
                      <a:pt x="42" y="13"/>
                      <a:pt x="34" y="22"/>
                      <a:pt x="29" y="29"/>
                    </a:cubicBezTo>
                    <a:cubicBezTo>
                      <a:pt x="18" y="44"/>
                      <a:pt x="0" y="72"/>
                      <a:pt x="0" y="72"/>
                    </a:cubicBezTo>
                    <a:cubicBezTo>
                      <a:pt x="0" y="72"/>
                      <a:pt x="3" y="81"/>
                      <a:pt x="11" y="81"/>
                    </a:cubicBezTo>
                    <a:cubicBezTo>
                      <a:pt x="11" y="81"/>
                      <a:pt x="69" y="27"/>
                      <a:pt x="74" y="22"/>
                    </a:cubicBezTo>
                    <a:cubicBezTo>
                      <a:pt x="81" y="14"/>
                      <a:pt x="86" y="2"/>
                      <a:pt x="74" y="1"/>
                    </a:cubicBezTo>
                    <a:cubicBezTo>
                      <a:pt x="62" y="0"/>
                      <a:pt x="47" y="8"/>
                      <a:pt x="42" y="13"/>
                    </a:cubicBezTo>
                    <a:close/>
                  </a:path>
                </a:pathLst>
              </a:custGeom>
              <a:solidFill>
                <a:srgbClr val="C4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976BDBB4-B8CB-4262-9616-43546EF111B8}"/>
                  </a:ext>
                </a:extLst>
              </p:cNvPr>
              <p:cNvSpPr/>
              <p:nvPr/>
            </p:nvSpPr>
            <p:spPr bwMode="auto">
              <a:xfrm>
                <a:off x="6964363" y="2116138"/>
                <a:ext cx="815975" cy="1111250"/>
              </a:xfrm>
              <a:custGeom>
                <a:avLst/>
                <a:gdLst>
                  <a:gd name="T0" fmla="*/ 79 w 89"/>
                  <a:gd name="T1" fmla="*/ 94 h 121"/>
                  <a:gd name="T2" fmla="*/ 69 w 89"/>
                  <a:gd name="T3" fmla="*/ 93 h 121"/>
                  <a:gd name="T4" fmla="*/ 58 w 89"/>
                  <a:gd name="T5" fmla="*/ 91 h 121"/>
                  <a:gd name="T6" fmla="*/ 30 w 89"/>
                  <a:gd name="T7" fmla="*/ 54 h 121"/>
                  <a:gd name="T8" fmla="*/ 21 w 89"/>
                  <a:gd name="T9" fmla="*/ 13 h 121"/>
                  <a:gd name="T10" fmla="*/ 11 w 89"/>
                  <a:gd name="T11" fmla="*/ 2 h 121"/>
                  <a:gd name="T12" fmla="*/ 2 w 89"/>
                  <a:gd name="T13" fmla="*/ 16 h 121"/>
                  <a:gd name="T14" fmla="*/ 13 w 89"/>
                  <a:gd name="T15" fmla="*/ 60 h 121"/>
                  <a:gd name="T16" fmla="*/ 49 w 89"/>
                  <a:gd name="T17" fmla="*/ 103 h 121"/>
                  <a:gd name="T18" fmla="*/ 58 w 89"/>
                  <a:gd name="T19" fmla="*/ 111 h 121"/>
                  <a:gd name="T20" fmla="*/ 73 w 89"/>
                  <a:gd name="T21" fmla="*/ 120 h 121"/>
                  <a:gd name="T22" fmla="*/ 80 w 89"/>
                  <a:gd name="T23" fmla="*/ 119 h 121"/>
                  <a:gd name="T24" fmla="*/ 78 w 89"/>
                  <a:gd name="T25" fmla="*/ 117 h 121"/>
                  <a:gd name="T26" fmla="*/ 69 w 89"/>
                  <a:gd name="T27" fmla="*/ 112 h 121"/>
                  <a:gd name="T28" fmla="*/ 76 w 89"/>
                  <a:gd name="T29" fmla="*/ 115 h 121"/>
                  <a:gd name="T30" fmla="*/ 84 w 89"/>
                  <a:gd name="T31" fmla="*/ 116 h 121"/>
                  <a:gd name="T32" fmla="*/ 86 w 89"/>
                  <a:gd name="T33" fmla="*/ 112 h 121"/>
                  <a:gd name="T34" fmla="*/ 78 w 89"/>
                  <a:gd name="T35" fmla="*/ 110 h 121"/>
                  <a:gd name="T36" fmla="*/ 72 w 89"/>
                  <a:gd name="T37" fmla="*/ 107 h 121"/>
                  <a:gd name="T38" fmla="*/ 80 w 89"/>
                  <a:gd name="T39" fmla="*/ 109 h 121"/>
                  <a:gd name="T40" fmla="*/ 87 w 89"/>
                  <a:gd name="T41" fmla="*/ 108 h 121"/>
                  <a:gd name="T42" fmla="*/ 86 w 89"/>
                  <a:gd name="T43" fmla="*/ 105 h 121"/>
                  <a:gd name="T44" fmla="*/ 76 w 89"/>
                  <a:gd name="T45" fmla="*/ 103 h 121"/>
                  <a:gd name="T46" fmla="*/ 71 w 89"/>
                  <a:gd name="T47" fmla="*/ 100 h 121"/>
                  <a:gd name="T48" fmla="*/ 77 w 89"/>
                  <a:gd name="T49" fmla="*/ 100 h 121"/>
                  <a:gd name="T50" fmla="*/ 82 w 89"/>
                  <a:gd name="T51" fmla="*/ 96 h 121"/>
                  <a:gd name="T52" fmla="*/ 79 w 89"/>
                  <a:gd name="T53" fmla="*/ 94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9" h="121">
                    <a:moveTo>
                      <a:pt x="79" y="94"/>
                    </a:moveTo>
                    <a:cubicBezTo>
                      <a:pt x="76" y="94"/>
                      <a:pt x="73" y="93"/>
                      <a:pt x="69" y="93"/>
                    </a:cubicBezTo>
                    <a:cubicBezTo>
                      <a:pt x="65" y="93"/>
                      <a:pt x="61" y="93"/>
                      <a:pt x="58" y="91"/>
                    </a:cubicBezTo>
                    <a:cubicBezTo>
                      <a:pt x="39" y="78"/>
                      <a:pt x="32" y="60"/>
                      <a:pt x="30" y="54"/>
                    </a:cubicBezTo>
                    <a:cubicBezTo>
                      <a:pt x="26" y="40"/>
                      <a:pt x="23" y="21"/>
                      <a:pt x="21" y="13"/>
                    </a:cubicBezTo>
                    <a:cubicBezTo>
                      <a:pt x="19" y="5"/>
                      <a:pt x="15" y="3"/>
                      <a:pt x="11" y="2"/>
                    </a:cubicBezTo>
                    <a:cubicBezTo>
                      <a:pt x="5" y="0"/>
                      <a:pt x="0" y="4"/>
                      <a:pt x="2" y="16"/>
                    </a:cubicBezTo>
                    <a:cubicBezTo>
                      <a:pt x="3" y="27"/>
                      <a:pt x="7" y="45"/>
                      <a:pt x="13" y="60"/>
                    </a:cubicBezTo>
                    <a:cubicBezTo>
                      <a:pt x="16" y="67"/>
                      <a:pt x="27" y="87"/>
                      <a:pt x="49" y="103"/>
                    </a:cubicBezTo>
                    <a:cubicBezTo>
                      <a:pt x="51" y="105"/>
                      <a:pt x="54" y="107"/>
                      <a:pt x="58" y="111"/>
                    </a:cubicBezTo>
                    <a:cubicBezTo>
                      <a:pt x="62" y="115"/>
                      <a:pt x="68" y="119"/>
                      <a:pt x="73" y="120"/>
                    </a:cubicBezTo>
                    <a:cubicBezTo>
                      <a:pt x="78" y="121"/>
                      <a:pt x="80" y="120"/>
                      <a:pt x="80" y="119"/>
                    </a:cubicBezTo>
                    <a:cubicBezTo>
                      <a:pt x="81" y="118"/>
                      <a:pt x="80" y="117"/>
                      <a:pt x="78" y="117"/>
                    </a:cubicBezTo>
                    <a:cubicBezTo>
                      <a:pt x="76" y="116"/>
                      <a:pt x="73" y="115"/>
                      <a:pt x="69" y="112"/>
                    </a:cubicBezTo>
                    <a:cubicBezTo>
                      <a:pt x="69" y="112"/>
                      <a:pt x="73" y="114"/>
                      <a:pt x="76" y="115"/>
                    </a:cubicBezTo>
                    <a:cubicBezTo>
                      <a:pt x="79" y="116"/>
                      <a:pt x="82" y="116"/>
                      <a:pt x="84" y="116"/>
                    </a:cubicBezTo>
                    <a:cubicBezTo>
                      <a:pt x="86" y="116"/>
                      <a:pt x="88" y="113"/>
                      <a:pt x="86" y="112"/>
                    </a:cubicBezTo>
                    <a:cubicBezTo>
                      <a:pt x="84" y="112"/>
                      <a:pt x="82" y="111"/>
                      <a:pt x="78" y="110"/>
                    </a:cubicBezTo>
                    <a:cubicBezTo>
                      <a:pt x="74" y="109"/>
                      <a:pt x="72" y="107"/>
                      <a:pt x="72" y="107"/>
                    </a:cubicBezTo>
                    <a:cubicBezTo>
                      <a:pt x="72" y="107"/>
                      <a:pt x="76" y="109"/>
                      <a:pt x="80" y="109"/>
                    </a:cubicBezTo>
                    <a:cubicBezTo>
                      <a:pt x="84" y="109"/>
                      <a:pt x="86" y="108"/>
                      <a:pt x="87" y="108"/>
                    </a:cubicBezTo>
                    <a:cubicBezTo>
                      <a:pt x="88" y="107"/>
                      <a:pt x="89" y="105"/>
                      <a:pt x="86" y="105"/>
                    </a:cubicBezTo>
                    <a:cubicBezTo>
                      <a:pt x="84" y="104"/>
                      <a:pt x="80" y="104"/>
                      <a:pt x="76" y="103"/>
                    </a:cubicBezTo>
                    <a:cubicBezTo>
                      <a:pt x="73" y="101"/>
                      <a:pt x="71" y="100"/>
                      <a:pt x="71" y="100"/>
                    </a:cubicBezTo>
                    <a:cubicBezTo>
                      <a:pt x="72" y="99"/>
                      <a:pt x="74" y="100"/>
                      <a:pt x="77" y="100"/>
                    </a:cubicBezTo>
                    <a:cubicBezTo>
                      <a:pt x="80" y="100"/>
                      <a:pt x="82" y="98"/>
                      <a:pt x="82" y="96"/>
                    </a:cubicBezTo>
                    <a:cubicBezTo>
                      <a:pt x="82" y="94"/>
                      <a:pt x="82" y="95"/>
                      <a:pt x="79" y="94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9F2400CD-5E92-463F-8F50-08F5C843EBB2}"/>
                  </a:ext>
                </a:extLst>
              </p:cNvPr>
              <p:cNvSpPr/>
              <p:nvPr/>
            </p:nvSpPr>
            <p:spPr bwMode="auto">
              <a:xfrm>
                <a:off x="6972301" y="2106613"/>
                <a:ext cx="257175" cy="495300"/>
              </a:xfrm>
              <a:custGeom>
                <a:avLst/>
                <a:gdLst>
                  <a:gd name="T0" fmla="*/ 7 w 28"/>
                  <a:gd name="T1" fmla="*/ 2 h 54"/>
                  <a:gd name="T2" fmla="*/ 20 w 28"/>
                  <a:gd name="T3" fmla="*/ 11 h 54"/>
                  <a:gd name="T4" fmla="*/ 28 w 28"/>
                  <a:gd name="T5" fmla="*/ 44 h 54"/>
                  <a:gd name="T6" fmla="*/ 6 w 28"/>
                  <a:gd name="T7" fmla="*/ 48 h 54"/>
                  <a:gd name="T8" fmla="*/ 0 w 28"/>
                  <a:gd name="T9" fmla="*/ 17 h 54"/>
                  <a:gd name="T10" fmla="*/ 7 w 28"/>
                  <a:gd name="T11" fmla="*/ 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54">
                    <a:moveTo>
                      <a:pt x="7" y="2"/>
                    </a:moveTo>
                    <a:cubicBezTo>
                      <a:pt x="10" y="0"/>
                      <a:pt x="16" y="3"/>
                      <a:pt x="20" y="11"/>
                    </a:cubicBezTo>
                    <a:cubicBezTo>
                      <a:pt x="24" y="20"/>
                      <a:pt x="26" y="38"/>
                      <a:pt x="28" y="44"/>
                    </a:cubicBezTo>
                    <a:cubicBezTo>
                      <a:pt x="28" y="44"/>
                      <a:pt x="16" y="54"/>
                      <a:pt x="6" y="48"/>
                    </a:cubicBezTo>
                    <a:cubicBezTo>
                      <a:pt x="6" y="48"/>
                      <a:pt x="0" y="25"/>
                      <a:pt x="0" y="17"/>
                    </a:cubicBezTo>
                    <a:cubicBezTo>
                      <a:pt x="0" y="9"/>
                      <a:pt x="0" y="4"/>
                      <a:pt x="7" y="2"/>
                    </a:cubicBezTo>
                    <a:close/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77731D2B-62EE-4662-A8A9-5E8B5BABADFB}"/>
                  </a:ext>
                </a:extLst>
              </p:cNvPr>
              <p:cNvSpPr/>
              <p:nvPr/>
            </p:nvSpPr>
            <p:spPr bwMode="auto">
              <a:xfrm>
                <a:off x="7265988" y="3152775"/>
                <a:ext cx="239713" cy="193675"/>
              </a:xfrm>
              <a:custGeom>
                <a:avLst/>
                <a:gdLst>
                  <a:gd name="T0" fmla="*/ 5 w 26"/>
                  <a:gd name="T1" fmla="*/ 21 h 21"/>
                  <a:gd name="T2" fmla="*/ 26 w 26"/>
                  <a:gd name="T3" fmla="*/ 0 h 21"/>
                  <a:gd name="T4" fmla="*/ 0 w 26"/>
                  <a:gd name="T5" fmla="*/ 21 h 21"/>
                  <a:gd name="T6" fmla="*/ 5 w 26"/>
                  <a:gd name="T7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6" h="21">
                    <a:moveTo>
                      <a:pt x="5" y="21"/>
                    </a:moveTo>
                    <a:cubicBezTo>
                      <a:pt x="5" y="21"/>
                      <a:pt x="16" y="6"/>
                      <a:pt x="26" y="0"/>
                    </a:cubicBezTo>
                    <a:cubicBezTo>
                      <a:pt x="26" y="0"/>
                      <a:pt x="16" y="2"/>
                      <a:pt x="0" y="21"/>
                    </a:cubicBezTo>
                    <a:lnTo>
                      <a:pt x="5" y="21"/>
                    </a:lnTo>
                    <a:close/>
                  </a:path>
                </a:pathLst>
              </a:custGeom>
              <a:solidFill>
                <a:srgbClr val="AAC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E7415CBB-FC2F-4ADE-B74A-F7CE239C68A1}"/>
                  </a:ext>
                </a:extLst>
              </p:cNvPr>
              <p:cNvSpPr/>
              <p:nvPr/>
            </p:nvSpPr>
            <p:spPr bwMode="auto">
              <a:xfrm>
                <a:off x="7073901" y="3676650"/>
                <a:ext cx="238125" cy="147638"/>
              </a:xfrm>
              <a:custGeom>
                <a:avLst/>
                <a:gdLst>
                  <a:gd name="T0" fmla="*/ 0 w 26"/>
                  <a:gd name="T1" fmla="*/ 10 h 16"/>
                  <a:gd name="T2" fmla="*/ 26 w 26"/>
                  <a:gd name="T3" fmla="*/ 0 h 16"/>
                  <a:gd name="T4" fmla="*/ 9 w 26"/>
                  <a:gd name="T5" fmla="*/ 16 h 16"/>
                  <a:gd name="T6" fmla="*/ 3 w 26"/>
                  <a:gd name="T7" fmla="*/ 14 h 16"/>
                  <a:gd name="T8" fmla="*/ 0 w 26"/>
                  <a:gd name="T9" fmla="*/ 1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" h="16">
                    <a:moveTo>
                      <a:pt x="0" y="10"/>
                    </a:moveTo>
                    <a:cubicBezTo>
                      <a:pt x="26" y="0"/>
                      <a:pt x="26" y="0"/>
                      <a:pt x="26" y="0"/>
                    </a:cubicBezTo>
                    <a:cubicBezTo>
                      <a:pt x="9" y="16"/>
                      <a:pt x="9" y="16"/>
                      <a:pt x="9" y="16"/>
                    </a:cubicBezTo>
                    <a:cubicBezTo>
                      <a:pt x="9" y="16"/>
                      <a:pt x="6" y="16"/>
                      <a:pt x="3" y="14"/>
                    </a:cubicBezTo>
                    <a:cubicBezTo>
                      <a:pt x="0" y="12"/>
                      <a:pt x="0" y="10"/>
                      <a:pt x="0" y="10"/>
                    </a:cubicBezTo>
                    <a:close/>
                  </a:path>
                </a:pathLst>
              </a:custGeom>
              <a:solidFill>
                <a:srgbClr val="AAC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C6834BEB-EB04-4947-B075-A7810E461B34}"/>
                  </a:ext>
                </a:extLst>
              </p:cNvPr>
              <p:cNvSpPr/>
              <p:nvPr/>
            </p:nvSpPr>
            <p:spPr bwMode="auto">
              <a:xfrm>
                <a:off x="6605588" y="2070100"/>
                <a:ext cx="412750" cy="403225"/>
              </a:xfrm>
              <a:custGeom>
                <a:avLst/>
                <a:gdLst>
                  <a:gd name="T0" fmla="*/ 11 w 45"/>
                  <a:gd name="T1" fmla="*/ 0 h 44"/>
                  <a:gd name="T2" fmla="*/ 11 w 45"/>
                  <a:gd name="T3" fmla="*/ 17 h 44"/>
                  <a:gd name="T4" fmla="*/ 2 w 45"/>
                  <a:gd name="T5" fmla="*/ 25 h 44"/>
                  <a:gd name="T6" fmla="*/ 19 w 45"/>
                  <a:gd name="T7" fmla="*/ 41 h 44"/>
                  <a:gd name="T8" fmla="*/ 45 w 45"/>
                  <a:gd name="T9" fmla="*/ 27 h 44"/>
                  <a:gd name="T10" fmla="*/ 39 w 45"/>
                  <a:gd name="T11" fmla="*/ 9 h 44"/>
                  <a:gd name="T12" fmla="*/ 11 w 45"/>
                  <a:gd name="T13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5" h="44">
                    <a:moveTo>
                      <a:pt x="11" y="0"/>
                    </a:moveTo>
                    <a:cubicBezTo>
                      <a:pt x="11" y="0"/>
                      <a:pt x="12" y="16"/>
                      <a:pt x="11" y="17"/>
                    </a:cubicBezTo>
                    <a:cubicBezTo>
                      <a:pt x="11" y="18"/>
                      <a:pt x="4" y="23"/>
                      <a:pt x="2" y="25"/>
                    </a:cubicBezTo>
                    <a:cubicBezTo>
                      <a:pt x="0" y="26"/>
                      <a:pt x="13" y="39"/>
                      <a:pt x="19" y="41"/>
                    </a:cubicBezTo>
                    <a:cubicBezTo>
                      <a:pt x="25" y="44"/>
                      <a:pt x="45" y="37"/>
                      <a:pt x="45" y="27"/>
                    </a:cubicBezTo>
                    <a:cubicBezTo>
                      <a:pt x="45" y="18"/>
                      <a:pt x="42" y="10"/>
                      <a:pt x="39" y="9"/>
                    </a:cubicBezTo>
                    <a:cubicBezTo>
                      <a:pt x="36" y="9"/>
                      <a:pt x="11" y="0"/>
                      <a:pt x="11" y="0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094E99C4-F7F0-4BAF-A9D4-3B53D0FCD124}"/>
                  </a:ext>
                </a:extLst>
              </p:cNvPr>
              <p:cNvSpPr/>
              <p:nvPr/>
            </p:nvSpPr>
            <p:spPr bwMode="auto">
              <a:xfrm>
                <a:off x="6707188" y="2070100"/>
                <a:ext cx="247650" cy="201613"/>
              </a:xfrm>
              <a:custGeom>
                <a:avLst/>
                <a:gdLst>
                  <a:gd name="T0" fmla="*/ 25 w 27"/>
                  <a:gd name="T1" fmla="*/ 18 h 22"/>
                  <a:gd name="T2" fmla="*/ 23 w 27"/>
                  <a:gd name="T3" fmla="*/ 9 h 22"/>
                  <a:gd name="T4" fmla="*/ 0 w 27"/>
                  <a:gd name="T5" fmla="*/ 0 h 22"/>
                  <a:gd name="T6" fmla="*/ 0 w 27"/>
                  <a:gd name="T7" fmla="*/ 6 h 22"/>
                  <a:gd name="T8" fmla="*/ 4 w 27"/>
                  <a:gd name="T9" fmla="*/ 14 h 22"/>
                  <a:gd name="T10" fmla="*/ 11 w 27"/>
                  <a:gd name="T11" fmla="*/ 18 h 22"/>
                  <a:gd name="T12" fmla="*/ 25 w 27"/>
                  <a:gd name="T13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22">
                    <a:moveTo>
                      <a:pt x="25" y="18"/>
                    </a:moveTo>
                    <a:cubicBezTo>
                      <a:pt x="27" y="16"/>
                      <a:pt x="25" y="12"/>
                      <a:pt x="23" y="9"/>
                    </a:cubicBezTo>
                    <a:cubicBezTo>
                      <a:pt x="17" y="7"/>
                      <a:pt x="0" y="0"/>
                      <a:pt x="0" y="0"/>
                    </a:cubicBezTo>
                    <a:cubicBezTo>
                      <a:pt x="0" y="0"/>
                      <a:pt x="0" y="4"/>
                      <a:pt x="0" y="6"/>
                    </a:cubicBezTo>
                    <a:cubicBezTo>
                      <a:pt x="0" y="9"/>
                      <a:pt x="2" y="12"/>
                      <a:pt x="4" y="14"/>
                    </a:cubicBezTo>
                    <a:cubicBezTo>
                      <a:pt x="6" y="15"/>
                      <a:pt x="8" y="17"/>
                      <a:pt x="11" y="18"/>
                    </a:cubicBezTo>
                    <a:cubicBezTo>
                      <a:pt x="14" y="19"/>
                      <a:pt x="21" y="22"/>
                      <a:pt x="25" y="18"/>
                    </a:cubicBezTo>
                    <a:close/>
                  </a:path>
                </a:pathLst>
              </a:custGeom>
              <a:solidFill>
                <a:srgbClr val="F28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03BAC169-5C09-489F-B968-1065BF134AEC}"/>
                  </a:ext>
                </a:extLst>
              </p:cNvPr>
              <p:cNvSpPr/>
              <p:nvPr/>
            </p:nvSpPr>
            <p:spPr bwMode="auto">
              <a:xfrm>
                <a:off x="6513513" y="2116138"/>
                <a:ext cx="669925" cy="1230313"/>
              </a:xfrm>
              <a:custGeom>
                <a:avLst/>
                <a:gdLst>
                  <a:gd name="T0" fmla="*/ 19 w 73"/>
                  <a:gd name="T1" fmla="*/ 14 h 134"/>
                  <a:gd name="T2" fmla="*/ 43 w 73"/>
                  <a:gd name="T3" fmla="*/ 22 h 134"/>
                  <a:gd name="T4" fmla="*/ 44 w 73"/>
                  <a:gd name="T5" fmla="*/ 5 h 134"/>
                  <a:gd name="T6" fmla="*/ 55 w 73"/>
                  <a:gd name="T7" fmla="*/ 1 h 134"/>
                  <a:gd name="T8" fmla="*/ 65 w 73"/>
                  <a:gd name="T9" fmla="*/ 13 h 134"/>
                  <a:gd name="T10" fmla="*/ 70 w 73"/>
                  <a:gd name="T11" fmla="*/ 49 h 134"/>
                  <a:gd name="T12" fmla="*/ 71 w 73"/>
                  <a:gd name="T13" fmla="*/ 106 h 134"/>
                  <a:gd name="T14" fmla="*/ 54 w 73"/>
                  <a:gd name="T15" fmla="*/ 127 h 134"/>
                  <a:gd name="T16" fmla="*/ 19 w 73"/>
                  <a:gd name="T17" fmla="*/ 132 h 134"/>
                  <a:gd name="T18" fmla="*/ 3 w 73"/>
                  <a:gd name="T19" fmla="*/ 119 h 134"/>
                  <a:gd name="T20" fmla="*/ 4 w 73"/>
                  <a:gd name="T21" fmla="*/ 75 h 134"/>
                  <a:gd name="T22" fmla="*/ 1 w 73"/>
                  <a:gd name="T23" fmla="*/ 37 h 134"/>
                  <a:gd name="T24" fmla="*/ 8 w 73"/>
                  <a:gd name="T25" fmla="*/ 21 h 134"/>
                  <a:gd name="T26" fmla="*/ 19 w 73"/>
                  <a:gd name="T27" fmla="*/ 1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73" h="134">
                    <a:moveTo>
                      <a:pt x="19" y="14"/>
                    </a:moveTo>
                    <a:cubicBezTo>
                      <a:pt x="19" y="14"/>
                      <a:pt x="31" y="27"/>
                      <a:pt x="43" y="22"/>
                    </a:cubicBezTo>
                    <a:cubicBezTo>
                      <a:pt x="49" y="19"/>
                      <a:pt x="50" y="11"/>
                      <a:pt x="44" y="5"/>
                    </a:cubicBezTo>
                    <a:cubicBezTo>
                      <a:pt x="44" y="5"/>
                      <a:pt x="51" y="0"/>
                      <a:pt x="55" y="1"/>
                    </a:cubicBezTo>
                    <a:cubicBezTo>
                      <a:pt x="55" y="1"/>
                      <a:pt x="62" y="4"/>
                      <a:pt x="65" y="13"/>
                    </a:cubicBezTo>
                    <a:cubicBezTo>
                      <a:pt x="68" y="22"/>
                      <a:pt x="70" y="32"/>
                      <a:pt x="70" y="49"/>
                    </a:cubicBezTo>
                    <a:cubicBezTo>
                      <a:pt x="70" y="65"/>
                      <a:pt x="71" y="106"/>
                      <a:pt x="71" y="106"/>
                    </a:cubicBezTo>
                    <a:cubicBezTo>
                      <a:pt x="71" y="106"/>
                      <a:pt x="73" y="118"/>
                      <a:pt x="54" y="127"/>
                    </a:cubicBezTo>
                    <a:cubicBezTo>
                      <a:pt x="41" y="133"/>
                      <a:pt x="29" y="134"/>
                      <a:pt x="19" y="132"/>
                    </a:cubicBezTo>
                    <a:cubicBezTo>
                      <a:pt x="11" y="130"/>
                      <a:pt x="5" y="123"/>
                      <a:pt x="3" y="119"/>
                    </a:cubicBezTo>
                    <a:cubicBezTo>
                      <a:pt x="5" y="106"/>
                      <a:pt x="5" y="89"/>
                      <a:pt x="4" y="75"/>
                    </a:cubicBezTo>
                    <a:cubicBezTo>
                      <a:pt x="3" y="61"/>
                      <a:pt x="2" y="49"/>
                      <a:pt x="1" y="37"/>
                    </a:cubicBezTo>
                    <a:cubicBezTo>
                      <a:pt x="0" y="25"/>
                      <a:pt x="2" y="26"/>
                      <a:pt x="8" y="21"/>
                    </a:cubicBezTo>
                    <a:cubicBezTo>
                      <a:pt x="16" y="16"/>
                      <a:pt x="19" y="14"/>
                      <a:pt x="19" y="14"/>
                    </a:cubicBezTo>
                    <a:close/>
                  </a:path>
                </a:pathLst>
              </a:custGeom>
              <a:solidFill>
                <a:srgbClr val="F5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811269B7-0E25-49BD-A81C-BA4E0235EA2E}"/>
                  </a:ext>
                </a:extLst>
              </p:cNvPr>
              <p:cNvSpPr/>
              <p:nvPr/>
            </p:nvSpPr>
            <p:spPr bwMode="auto">
              <a:xfrm>
                <a:off x="6669088" y="2152650"/>
                <a:ext cx="322263" cy="201613"/>
              </a:xfrm>
              <a:custGeom>
                <a:avLst/>
                <a:gdLst>
                  <a:gd name="T0" fmla="*/ 3 w 35"/>
                  <a:gd name="T1" fmla="*/ 9 h 22"/>
                  <a:gd name="T2" fmla="*/ 0 w 35"/>
                  <a:gd name="T3" fmla="*/ 11 h 22"/>
                  <a:gd name="T4" fmla="*/ 11 w 35"/>
                  <a:gd name="T5" fmla="*/ 19 h 22"/>
                  <a:gd name="T6" fmla="*/ 29 w 35"/>
                  <a:gd name="T7" fmla="*/ 18 h 22"/>
                  <a:gd name="T8" fmla="*/ 29 w 35"/>
                  <a:gd name="T9" fmla="*/ 0 h 22"/>
                  <a:gd name="T10" fmla="*/ 26 w 35"/>
                  <a:gd name="T11" fmla="*/ 2 h 22"/>
                  <a:gd name="T12" fmla="*/ 29 w 35"/>
                  <a:gd name="T13" fmla="*/ 10 h 22"/>
                  <a:gd name="T14" fmla="*/ 20 w 35"/>
                  <a:gd name="T15" fmla="*/ 17 h 22"/>
                  <a:gd name="T16" fmla="*/ 3 w 35"/>
                  <a:gd name="T17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" h="22">
                    <a:moveTo>
                      <a:pt x="3" y="9"/>
                    </a:moveTo>
                    <a:cubicBezTo>
                      <a:pt x="0" y="11"/>
                      <a:pt x="0" y="11"/>
                      <a:pt x="0" y="11"/>
                    </a:cubicBezTo>
                    <a:cubicBezTo>
                      <a:pt x="0" y="11"/>
                      <a:pt x="5" y="16"/>
                      <a:pt x="11" y="19"/>
                    </a:cubicBezTo>
                    <a:cubicBezTo>
                      <a:pt x="18" y="21"/>
                      <a:pt x="24" y="22"/>
                      <a:pt x="29" y="18"/>
                    </a:cubicBezTo>
                    <a:cubicBezTo>
                      <a:pt x="35" y="14"/>
                      <a:pt x="34" y="5"/>
                      <a:pt x="29" y="0"/>
                    </a:cubicBezTo>
                    <a:cubicBezTo>
                      <a:pt x="26" y="2"/>
                      <a:pt x="26" y="2"/>
                      <a:pt x="26" y="2"/>
                    </a:cubicBezTo>
                    <a:cubicBezTo>
                      <a:pt x="26" y="2"/>
                      <a:pt x="29" y="7"/>
                      <a:pt x="29" y="10"/>
                    </a:cubicBezTo>
                    <a:cubicBezTo>
                      <a:pt x="29" y="13"/>
                      <a:pt x="25" y="17"/>
                      <a:pt x="20" y="17"/>
                    </a:cubicBezTo>
                    <a:cubicBezTo>
                      <a:pt x="14" y="17"/>
                      <a:pt x="6" y="12"/>
                      <a:pt x="3" y="9"/>
                    </a:cubicBezTo>
                    <a:close/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25DB4889-5D0D-4244-B8AC-81EFF4478471}"/>
                  </a:ext>
                </a:extLst>
              </p:cNvPr>
              <p:cNvSpPr/>
              <p:nvPr/>
            </p:nvSpPr>
            <p:spPr bwMode="auto">
              <a:xfrm>
                <a:off x="6605588" y="1665288"/>
                <a:ext cx="441325" cy="533400"/>
              </a:xfrm>
              <a:custGeom>
                <a:avLst/>
                <a:gdLst>
                  <a:gd name="T0" fmla="*/ 46 w 48"/>
                  <a:gd name="T1" fmla="*/ 21 h 58"/>
                  <a:gd name="T2" fmla="*/ 46 w 48"/>
                  <a:gd name="T3" fmla="*/ 21 h 58"/>
                  <a:gd name="T4" fmla="*/ 23 w 48"/>
                  <a:gd name="T5" fmla="*/ 1 h 58"/>
                  <a:gd name="T6" fmla="*/ 1 w 48"/>
                  <a:gd name="T7" fmla="*/ 26 h 58"/>
                  <a:gd name="T8" fmla="*/ 11 w 48"/>
                  <a:gd name="T9" fmla="*/ 44 h 58"/>
                  <a:gd name="T10" fmla="*/ 13 w 48"/>
                  <a:gd name="T11" fmla="*/ 49 h 58"/>
                  <a:gd name="T12" fmla="*/ 34 w 48"/>
                  <a:gd name="T13" fmla="*/ 57 h 58"/>
                  <a:gd name="T14" fmla="*/ 44 w 48"/>
                  <a:gd name="T15" fmla="*/ 49 h 58"/>
                  <a:gd name="T16" fmla="*/ 46 w 48"/>
                  <a:gd name="T17" fmla="*/ 21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58">
                    <a:moveTo>
                      <a:pt x="46" y="21"/>
                    </a:moveTo>
                    <a:cubicBezTo>
                      <a:pt x="46" y="21"/>
                      <a:pt x="46" y="21"/>
                      <a:pt x="46" y="21"/>
                    </a:cubicBezTo>
                    <a:cubicBezTo>
                      <a:pt x="44" y="9"/>
                      <a:pt x="35" y="0"/>
                      <a:pt x="23" y="1"/>
                    </a:cubicBezTo>
                    <a:cubicBezTo>
                      <a:pt x="10" y="2"/>
                      <a:pt x="0" y="13"/>
                      <a:pt x="1" y="26"/>
                    </a:cubicBezTo>
                    <a:cubicBezTo>
                      <a:pt x="1" y="34"/>
                      <a:pt x="5" y="40"/>
                      <a:pt x="11" y="44"/>
                    </a:cubicBezTo>
                    <a:cubicBezTo>
                      <a:pt x="11" y="44"/>
                      <a:pt x="12" y="49"/>
                      <a:pt x="13" y="49"/>
                    </a:cubicBezTo>
                    <a:cubicBezTo>
                      <a:pt x="17" y="55"/>
                      <a:pt x="30" y="58"/>
                      <a:pt x="34" y="57"/>
                    </a:cubicBezTo>
                    <a:cubicBezTo>
                      <a:pt x="39" y="56"/>
                      <a:pt x="42" y="54"/>
                      <a:pt x="44" y="49"/>
                    </a:cubicBezTo>
                    <a:cubicBezTo>
                      <a:pt x="48" y="40"/>
                      <a:pt x="47" y="27"/>
                      <a:pt x="46" y="21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89E30FF0-DBDB-43A3-84AE-F1F9958C7DD4}"/>
                  </a:ext>
                </a:extLst>
              </p:cNvPr>
              <p:cNvSpPr/>
              <p:nvPr/>
            </p:nvSpPr>
            <p:spPr bwMode="auto">
              <a:xfrm>
                <a:off x="6596063" y="1657350"/>
                <a:ext cx="412750" cy="412750"/>
              </a:xfrm>
              <a:custGeom>
                <a:avLst/>
                <a:gdLst>
                  <a:gd name="T0" fmla="*/ 45 w 45"/>
                  <a:gd name="T1" fmla="*/ 13 h 45"/>
                  <a:gd name="T2" fmla="*/ 20 w 45"/>
                  <a:gd name="T3" fmla="*/ 2 h 45"/>
                  <a:gd name="T4" fmla="*/ 1 w 45"/>
                  <a:gd name="T5" fmla="*/ 23 h 45"/>
                  <a:gd name="T6" fmla="*/ 12 w 45"/>
                  <a:gd name="T7" fmla="*/ 45 h 45"/>
                  <a:gd name="T8" fmla="*/ 12 w 45"/>
                  <a:gd name="T9" fmla="*/ 33 h 45"/>
                  <a:gd name="T10" fmla="*/ 13 w 45"/>
                  <a:gd name="T11" fmla="*/ 38 h 45"/>
                  <a:gd name="T12" fmla="*/ 16 w 45"/>
                  <a:gd name="T13" fmla="*/ 34 h 45"/>
                  <a:gd name="T14" fmla="*/ 15 w 45"/>
                  <a:gd name="T15" fmla="*/ 31 h 45"/>
                  <a:gd name="T16" fmla="*/ 17 w 45"/>
                  <a:gd name="T17" fmla="*/ 23 h 45"/>
                  <a:gd name="T18" fmla="*/ 19 w 45"/>
                  <a:gd name="T19" fmla="*/ 15 h 45"/>
                  <a:gd name="T20" fmla="*/ 37 w 45"/>
                  <a:gd name="T21" fmla="*/ 16 h 45"/>
                  <a:gd name="T22" fmla="*/ 45 w 45"/>
                  <a:gd name="T23" fmla="*/ 13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5" h="45">
                    <a:moveTo>
                      <a:pt x="45" y="13"/>
                    </a:moveTo>
                    <a:cubicBezTo>
                      <a:pt x="40" y="5"/>
                      <a:pt x="31" y="0"/>
                      <a:pt x="20" y="2"/>
                    </a:cubicBezTo>
                    <a:cubicBezTo>
                      <a:pt x="10" y="5"/>
                      <a:pt x="2" y="13"/>
                      <a:pt x="1" y="23"/>
                    </a:cubicBezTo>
                    <a:cubicBezTo>
                      <a:pt x="0" y="32"/>
                      <a:pt x="5" y="41"/>
                      <a:pt x="12" y="45"/>
                    </a:cubicBezTo>
                    <a:cubicBezTo>
                      <a:pt x="12" y="44"/>
                      <a:pt x="5" y="35"/>
                      <a:pt x="12" y="33"/>
                    </a:cubicBezTo>
                    <a:cubicBezTo>
                      <a:pt x="13" y="34"/>
                      <a:pt x="13" y="36"/>
                      <a:pt x="13" y="38"/>
                    </a:cubicBezTo>
                    <a:cubicBezTo>
                      <a:pt x="13" y="38"/>
                      <a:pt x="16" y="38"/>
                      <a:pt x="16" y="34"/>
                    </a:cubicBezTo>
                    <a:cubicBezTo>
                      <a:pt x="15" y="33"/>
                      <a:pt x="15" y="32"/>
                      <a:pt x="15" y="31"/>
                    </a:cubicBezTo>
                    <a:cubicBezTo>
                      <a:pt x="14" y="28"/>
                      <a:pt x="15" y="25"/>
                      <a:pt x="17" y="23"/>
                    </a:cubicBezTo>
                    <a:cubicBezTo>
                      <a:pt x="18" y="21"/>
                      <a:pt x="19" y="18"/>
                      <a:pt x="19" y="15"/>
                    </a:cubicBezTo>
                    <a:cubicBezTo>
                      <a:pt x="19" y="15"/>
                      <a:pt x="26" y="19"/>
                      <a:pt x="37" y="16"/>
                    </a:cubicBezTo>
                    <a:cubicBezTo>
                      <a:pt x="41" y="16"/>
                      <a:pt x="44" y="14"/>
                      <a:pt x="45" y="13"/>
                    </a:cubicBezTo>
                    <a:close/>
                  </a:path>
                </a:pathLst>
              </a:custGeom>
              <a:solidFill>
                <a:srgbClr val="3A2C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F7D97195-9E67-45D6-9001-E4E2713676B0}"/>
                  </a:ext>
                </a:extLst>
              </p:cNvPr>
              <p:cNvSpPr/>
              <p:nvPr/>
            </p:nvSpPr>
            <p:spPr bwMode="auto">
              <a:xfrm>
                <a:off x="6596063" y="1931988"/>
                <a:ext cx="111125" cy="155575"/>
              </a:xfrm>
              <a:custGeom>
                <a:avLst/>
                <a:gdLst>
                  <a:gd name="T0" fmla="*/ 12 w 12"/>
                  <a:gd name="T1" fmla="*/ 15 h 17"/>
                  <a:gd name="T2" fmla="*/ 9 w 12"/>
                  <a:gd name="T3" fmla="*/ 17 h 17"/>
                  <a:gd name="T4" fmla="*/ 3 w 12"/>
                  <a:gd name="T5" fmla="*/ 3 h 17"/>
                  <a:gd name="T6" fmla="*/ 12 w 12"/>
                  <a:gd name="T7" fmla="*/ 3 h 17"/>
                  <a:gd name="T8" fmla="*/ 12 w 12"/>
                  <a:gd name="T9" fmla="*/ 1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7">
                    <a:moveTo>
                      <a:pt x="12" y="15"/>
                    </a:moveTo>
                    <a:cubicBezTo>
                      <a:pt x="12" y="15"/>
                      <a:pt x="11" y="16"/>
                      <a:pt x="9" y="17"/>
                    </a:cubicBezTo>
                    <a:cubicBezTo>
                      <a:pt x="5" y="17"/>
                      <a:pt x="0" y="9"/>
                      <a:pt x="3" y="3"/>
                    </a:cubicBezTo>
                    <a:cubicBezTo>
                      <a:pt x="5" y="0"/>
                      <a:pt x="10" y="1"/>
                      <a:pt x="12" y="3"/>
                    </a:cubicBezTo>
                    <a:lnTo>
                      <a:pt x="12" y="15"/>
                    </a:ln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68314FD-14A9-485A-9760-022B6773A56B}"/>
                  </a:ext>
                </a:extLst>
              </p:cNvPr>
              <p:cNvSpPr/>
              <p:nvPr/>
            </p:nvSpPr>
            <p:spPr bwMode="auto">
              <a:xfrm>
                <a:off x="7331076" y="3465513"/>
                <a:ext cx="449263" cy="284163"/>
              </a:xfrm>
              <a:custGeom>
                <a:avLst/>
                <a:gdLst>
                  <a:gd name="T0" fmla="*/ 37 w 49"/>
                  <a:gd name="T1" fmla="*/ 9 h 31"/>
                  <a:gd name="T2" fmla="*/ 46 w 49"/>
                  <a:gd name="T3" fmla="*/ 18 h 31"/>
                  <a:gd name="T4" fmla="*/ 48 w 49"/>
                  <a:gd name="T5" fmla="*/ 24 h 31"/>
                  <a:gd name="T6" fmla="*/ 45 w 49"/>
                  <a:gd name="T7" fmla="*/ 31 h 31"/>
                  <a:gd name="T8" fmla="*/ 43 w 49"/>
                  <a:gd name="T9" fmla="*/ 30 h 31"/>
                  <a:gd name="T10" fmla="*/ 26 w 49"/>
                  <a:gd name="T11" fmla="*/ 24 h 31"/>
                  <a:gd name="T12" fmla="*/ 4 w 49"/>
                  <a:gd name="T13" fmla="*/ 21 h 31"/>
                  <a:gd name="T14" fmla="*/ 0 w 49"/>
                  <a:gd name="T15" fmla="*/ 7 h 31"/>
                  <a:gd name="T16" fmla="*/ 4 w 49"/>
                  <a:gd name="T17" fmla="*/ 5 h 31"/>
                  <a:gd name="T18" fmla="*/ 9 w 49"/>
                  <a:gd name="T19" fmla="*/ 3 h 31"/>
                  <a:gd name="T20" fmla="*/ 18 w 49"/>
                  <a:gd name="T21" fmla="*/ 0 h 31"/>
                  <a:gd name="T22" fmla="*/ 24 w 49"/>
                  <a:gd name="T23" fmla="*/ 4 h 31"/>
                  <a:gd name="T24" fmla="*/ 37 w 49"/>
                  <a:gd name="T25" fmla="*/ 9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9" h="31">
                    <a:moveTo>
                      <a:pt x="37" y="9"/>
                    </a:moveTo>
                    <a:cubicBezTo>
                      <a:pt x="41" y="11"/>
                      <a:pt x="44" y="14"/>
                      <a:pt x="46" y="18"/>
                    </a:cubicBezTo>
                    <a:cubicBezTo>
                      <a:pt x="47" y="20"/>
                      <a:pt x="47" y="22"/>
                      <a:pt x="48" y="24"/>
                    </a:cubicBezTo>
                    <a:cubicBezTo>
                      <a:pt x="49" y="26"/>
                      <a:pt x="48" y="30"/>
                      <a:pt x="45" y="31"/>
                    </a:cubicBezTo>
                    <a:cubicBezTo>
                      <a:pt x="44" y="31"/>
                      <a:pt x="44" y="31"/>
                      <a:pt x="43" y="30"/>
                    </a:cubicBezTo>
                    <a:cubicBezTo>
                      <a:pt x="37" y="28"/>
                      <a:pt x="31" y="26"/>
                      <a:pt x="26" y="24"/>
                    </a:cubicBezTo>
                    <a:cubicBezTo>
                      <a:pt x="19" y="22"/>
                      <a:pt x="13" y="19"/>
                      <a:pt x="4" y="21"/>
                    </a:cubicBezTo>
                    <a:cubicBezTo>
                      <a:pt x="0" y="7"/>
                      <a:pt x="0" y="7"/>
                      <a:pt x="0" y="7"/>
                    </a:cubicBezTo>
                    <a:cubicBezTo>
                      <a:pt x="1" y="6"/>
                      <a:pt x="3" y="6"/>
                      <a:pt x="4" y="5"/>
                    </a:cubicBezTo>
                    <a:cubicBezTo>
                      <a:pt x="6" y="4"/>
                      <a:pt x="7" y="3"/>
                      <a:pt x="9" y="3"/>
                    </a:cubicBezTo>
                    <a:cubicBezTo>
                      <a:pt x="11" y="1"/>
                      <a:pt x="14" y="0"/>
                      <a:pt x="18" y="0"/>
                    </a:cubicBezTo>
                    <a:cubicBezTo>
                      <a:pt x="20" y="1"/>
                      <a:pt x="22" y="3"/>
                      <a:pt x="24" y="4"/>
                    </a:cubicBezTo>
                    <a:cubicBezTo>
                      <a:pt x="28" y="7"/>
                      <a:pt x="33" y="8"/>
                      <a:pt x="37" y="9"/>
                    </a:cubicBezTo>
                    <a:close/>
                  </a:path>
                </a:pathLst>
              </a:custGeom>
              <a:solidFill>
                <a:srgbClr val="2D2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0D34B212-1701-4671-BCE0-92A46934DAA4}"/>
                  </a:ext>
                </a:extLst>
              </p:cNvPr>
              <p:cNvSpPr/>
              <p:nvPr/>
            </p:nvSpPr>
            <p:spPr bwMode="auto">
              <a:xfrm>
                <a:off x="6329363" y="3529013"/>
                <a:ext cx="1057275" cy="358775"/>
              </a:xfrm>
              <a:custGeom>
                <a:avLst/>
                <a:gdLst>
                  <a:gd name="T0" fmla="*/ 17 w 115"/>
                  <a:gd name="T1" fmla="*/ 14 h 39"/>
                  <a:gd name="T2" fmla="*/ 53 w 115"/>
                  <a:gd name="T3" fmla="*/ 6 h 39"/>
                  <a:gd name="T4" fmla="*/ 109 w 115"/>
                  <a:gd name="T5" fmla="*/ 0 h 39"/>
                  <a:gd name="T6" fmla="*/ 113 w 115"/>
                  <a:gd name="T7" fmla="*/ 14 h 39"/>
                  <a:gd name="T8" fmla="*/ 56 w 115"/>
                  <a:gd name="T9" fmla="*/ 34 h 39"/>
                  <a:gd name="T10" fmla="*/ 16 w 115"/>
                  <a:gd name="T11" fmla="*/ 34 h 39"/>
                  <a:gd name="T12" fmla="*/ 17 w 115"/>
                  <a:gd name="T13" fmla="*/ 14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5" h="39">
                    <a:moveTo>
                      <a:pt x="17" y="14"/>
                    </a:moveTo>
                    <a:cubicBezTo>
                      <a:pt x="22" y="13"/>
                      <a:pt x="28" y="8"/>
                      <a:pt x="53" y="6"/>
                    </a:cubicBezTo>
                    <a:cubicBezTo>
                      <a:pt x="77" y="5"/>
                      <a:pt x="109" y="0"/>
                      <a:pt x="109" y="0"/>
                    </a:cubicBezTo>
                    <a:cubicBezTo>
                      <a:pt x="115" y="5"/>
                      <a:pt x="113" y="14"/>
                      <a:pt x="113" y="14"/>
                    </a:cubicBezTo>
                    <a:cubicBezTo>
                      <a:pt x="113" y="14"/>
                      <a:pt x="70" y="31"/>
                      <a:pt x="56" y="34"/>
                    </a:cubicBezTo>
                    <a:cubicBezTo>
                      <a:pt x="34" y="39"/>
                      <a:pt x="27" y="38"/>
                      <a:pt x="16" y="34"/>
                    </a:cubicBezTo>
                    <a:cubicBezTo>
                      <a:pt x="6" y="29"/>
                      <a:pt x="0" y="20"/>
                      <a:pt x="17" y="14"/>
                    </a:cubicBezTo>
                    <a:close/>
                  </a:path>
                </a:pathLst>
              </a:custGeom>
              <a:solidFill>
                <a:srgbClr val="C4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257049B3-2D95-4B18-BDF9-0B8A7DE47D0A}"/>
                  </a:ext>
                </a:extLst>
              </p:cNvPr>
              <p:cNvSpPr/>
              <p:nvPr/>
            </p:nvSpPr>
            <p:spPr bwMode="auto">
              <a:xfrm>
                <a:off x="6826251" y="3062288"/>
                <a:ext cx="762000" cy="311150"/>
              </a:xfrm>
              <a:custGeom>
                <a:avLst/>
                <a:gdLst>
                  <a:gd name="T0" fmla="*/ 468 w 480"/>
                  <a:gd name="T1" fmla="*/ 196 h 196"/>
                  <a:gd name="T2" fmla="*/ 480 w 480"/>
                  <a:gd name="T3" fmla="*/ 185 h 196"/>
                  <a:gd name="T4" fmla="*/ 318 w 480"/>
                  <a:gd name="T5" fmla="*/ 0 h 196"/>
                  <a:gd name="T6" fmla="*/ 6 w 480"/>
                  <a:gd name="T7" fmla="*/ 179 h 196"/>
                  <a:gd name="T8" fmla="*/ 0 w 480"/>
                  <a:gd name="T9" fmla="*/ 196 h 196"/>
                  <a:gd name="T10" fmla="*/ 468 w 480"/>
                  <a:gd name="T11" fmla="*/ 196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196">
                    <a:moveTo>
                      <a:pt x="468" y="196"/>
                    </a:moveTo>
                    <a:lnTo>
                      <a:pt x="480" y="185"/>
                    </a:lnTo>
                    <a:lnTo>
                      <a:pt x="318" y="0"/>
                    </a:lnTo>
                    <a:lnTo>
                      <a:pt x="6" y="179"/>
                    </a:lnTo>
                    <a:lnTo>
                      <a:pt x="0" y="196"/>
                    </a:lnTo>
                    <a:lnTo>
                      <a:pt x="468" y="196"/>
                    </a:lnTo>
                    <a:close/>
                  </a:path>
                </a:pathLst>
              </a:custGeom>
              <a:solidFill>
                <a:srgbClr val="FF66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1CB8C0BD-86AB-4F01-AB14-1913FA59DF68}"/>
                  </a:ext>
                </a:extLst>
              </p:cNvPr>
              <p:cNvSpPr/>
              <p:nvPr/>
            </p:nvSpPr>
            <p:spPr bwMode="auto">
              <a:xfrm>
                <a:off x="6826251" y="3079750"/>
                <a:ext cx="742950" cy="504825"/>
              </a:xfrm>
              <a:custGeom>
                <a:avLst/>
                <a:gdLst>
                  <a:gd name="T0" fmla="*/ 0 w 468"/>
                  <a:gd name="T1" fmla="*/ 185 h 318"/>
                  <a:gd name="T2" fmla="*/ 312 w 468"/>
                  <a:gd name="T3" fmla="*/ 0 h 318"/>
                  <a:gd name="T4" fmla="*/ 468 w 468"/>
                  <a:gd name="T5" fmla="*/ 185 h 318"/>
                  <a:gd name="T6" fmla="*/ 167 w 468"/>
                  <a:gd name="T7" fmla="*/ 318 h 318"/>
                  <a:gd name="T8" fmla="*/ 0 w 468"/>
                  <a:gd name="T9" fmla="*/ 185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8" h="318">
                    <a:moveTo>
                      <a:pt x="0" y="185"/>
                    </a:moveTo>
                    <a:lnTo>
                      <a:pt x="312" y="0"/>
                    </a:lnTo>
                    <a:lnTo>
                      <a:pt x="468" y="185"/>
                    </a:lnTo>
                    <a:lnTo>
                      <a:pt x="167" y="318"/>
                    </a:lnTo>
                    <a:lnTo>
                      <a:pt x="0" y="185"/>
                    </a:lnTo>
                    <a:close/>
                  </a:path>
                </a:pathLst>
              </a:custGeom>
              <a:solidFill>
                <a:srgbClr val="BF28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B02694B3-35D3-46B7-BE67-F39F01340BB7}"/>
                  </a:ext>
                </a:extLst>
              </p:cNvPr>
              <p:cNvSpPr/>
              <p:nvPr/>
            </p:nvSpPr>
            <p:spPr bwMode="auto">
              <a:xfrm>
                <a:off x="7569201" y="2951163"/>
                <a:ext cx="74613" cy="422275"/>
              </a:xfrm>
              <a:custGeom>
                <a:avLst/>
                <a:gdLst>
                  <a:gd name="T0" fmla="*/ 0 w 8"/>
                  <a:gd name="T1" fmla="*/ 46 h 46"/>
                  <a:gd name="T2" fmla="*/ 5 w 8"/>
                  <a:gd name="T3" fmla="*/ 42 h 46"/>
                  <a:gd name="T4" fmla="*/ 8 w 8"/>
                  <a:gd name="T5" fmla="*/ 39 h 46"/>
                  <a:gd name="T6" fmla="*/ 8 w 8"/>
                  <a:gd name="T7" fmla="*/ 1 h 46"/>
                  <a:gd name="T8" fmla="*/ 7 w 8"/>
                  <a:gd name="T9" fmla="*/ 0 h 46"/>
                  <a:gd name="T10" fmla="*/ 6 w 8"/>
                  <a:gd name="T11" fmla="*/ 40 h 46"/>
                  <a:gd name="T12" fmla="*/ 0 w 8"/>
                  <a:gd name="T13" fmla="*/ 44 h 46"/>
                  <a:gd name="T14" fmla="*/ 0 w 8"/>
                  <a:gd name="T15" fmla="*/ 4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46">
                    <a:moveTo>
                      <a:pt x="0" y="46"/>
                    </a:moveTo>
                    <a:cubicBezTo>
                      <a:pt x="5" y="42"/>
                      <a:pt x="5" y="42"/>
                      <a:pt x="5" y="42"/>
                    </a:cubicBezTo>
                    <a:cubicBezTo>
                      <a:pt x="7" y="42"/>
                      <a:pt x="7" y="40"/>
                      <a:pt x="8" y="39"/>
                    </a:cubicBezTo>
                    <a:cubicBezTo>
                      <a:pt x="8" y="1"/>
                      <a:pt x="8" y="1"/>
                      <a:pt x="8" y="1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6" y="40"/>
                      <a:pt x="6" y="40"/>
                      <a:pt x="6" y="40"/>
                    </a:cubicBezTo>
                    <a:cubicBezTo>
                      <a:pt x="0" y="44"/>
                      <a:pt x="0" y="44"/>
                      <a:pt x="0" y="44"/>
                    </a:cubicBezTo>
                    <a:lnTo>
                      <a:pt x="0" y="46"/>
                    </a:lnTo>
                    <a:close/>
                  </a:path>
                </a:pathLst>
              </a:custGeom>
              <a:solidFill>
                <a:srgbClr val="FF66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59D7B2A4-3C6B-4814-92FA-F7E5E1F5B38C}"/>
                  </a:ext>
                </a:extLst>
              </p:cNvPr>
              <p:cNvSpPr/>
              <p:nvPr/>
            </p:nvSpPr>
            <p:spPr bwMode="auto">
              <a:xfrm>
                <a:off x="7367588" y="2951163"/>
                <a:ext cx="266700" cy="395288"/>
              </a:xfrm>
              <a:custGeom>
                <a:avLst/>
                <a:gdLst>
                  <a:gd name="T0" fmla="*/ 168 w 168"/>
                  <a:gd name="T1" fmla="*/ 0 h 249"/>
                  <a:gd name="T2" fmla="*/ 0 w 168"/>
                  <a:gd name="T3" fmla="*/ 98 h 249"/>
                  <a:gd name="T4" fmla="*/ 133 w 168"/>
                  <a:gd name="T5" fmla="*/ 249 h 249"/>
                  <a:gd name="T6" fmla="*/ 162 w 168"/>
                  <a:gd name="T7" fmla="*/ 231 h 249"/>
                  <a:gd name="T8" fmla="*/ 168 w 168"/>
                  <a:gd name="T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249">
                    <a:moveTo>
                      <a:pt x="168" y="0"/>
                    </a:moveTo>
                    <a:lnTo>
                      <a:pt x="0" y="98"/>
                    </a:lnTo>
                    <a:lnTo>
                      <a:pt x="133" y="249"/>
                    </a:lnTo>
                    <a:lnTo>
                      <a:pt x="162" y="231"/>
                    </a:lnTo>
                    <a:lnTo>
                      <a:pt x="168" y="0"/>
                    </a:lnTo>
                    <a:close/>
                  </a:path>
                </a:pathLst>
              </a:custGeom>
              <a:solidFill>
                <a:srgbClr val="E747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B97FBC85-FE5F-4078-BD87-B56B22F05D15}"/>
                  </a:ext>
                </a:extLst>
              </p:cNvPr>
              <p:cNvSpPr/>
              <p:nvPr/>
            </p:nvSpPr>
            <p:spPr bwMode="auto">
              <a:xfrm>
                <a:off x="7423151" y="2987675"/>
                <a:ext cx="192088" cy="349250"/>
              </a:xfrm>
              <a:custGeom>
                <a:avLst/>
                <a:gdLst>
                  <a:gd name="T0" fmla="*/ 121 w 121"/>
                  <a:gd name="T1" fmla="*/ 0 h 220"/>
                  <a:gd name="T2" fmla="*/ 115 w 121"/>
                  <a:gd name="T3" fmla="*/ 208 h 220"/>
                  <a:gd name="T4" fmla="*/ 92 w 121"/>
                  <a:gd name="T5" fmla="*/ 220 h 220"/>
                  <a:gd name="T6" fmla="*/ 0 w 121"/>
                  <a:gd name="T7" fmla="*/ 122 h 220"/>
                  <a:gd name="T8" fmla="*/ 121 w 121"/>
                  <a:gd name="T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20">
                    <a:moveTo>
                      <a:pt x="121" y="0"/>
                    </a:moveTo>
                    <a:lnTo>
                      <a:pt x="115" y="208"/>
                    </a:lnTo>
                    <a:lnTo>
                      <a:pt x="92" y="220"/>
                    </a:lnTo>
                    <a:lnTo>
                      <a:pt x="0" y="122"/>
                    </a:lnTo>
                    <a:lnTo>
                      <a:pt x="121" y="0"/>
                    </a:lnTo>
                    <a:close/>
                  </a:path>
                </a:pathLst>
              </a:custGeom>
              <a:solidFill>
                <a:srgbClr val="DFE2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7BB6D2EF-0E79-486E-B55B-D1D74C2BF232}"/>
                  </a:ext>
                </a:extLst>
              </p:cNvPr>
              <p:cNvSpPr/>
              <p:nvPr/>
            </p:nvSpPr>
            <p:spPr bwMode="auto">
              <a:xfrm>
                <a:off x="7386638" y="2987675"/>
                <a:ext cx="228600" cy="312738"/>
              </a:xfrm>
              <a:custGeom>
                <a:avLst/>
                <a:gdLst>
                  <a:gd name="T0" fmla="*/ 21 w 25"/>
                  <a:gd name="T1" fmla="*/ 34 h 34"/>
                  <a:gd name="T2" fmla="*/ 21 w 25"/>
                  <a:gd name="T3" fmla="*/ 15 h 34"/>
                  <a:gd name="T4" fmla="*/ 25 w 25"/>
                  <a:gd name="T5" fmla="*/ 0 h 34"/>
                  <a:gd name="T6" fmla="*/ 0 w 25"/>
                  <a:gd name="T7" fmla="*/ 15 h 34"/>
                  <a:gd name="T8" fmla="*/ 4 w 25"/>
                  <a:gd name="T9" fmla="*/ 21 h 34"/>
                  <a:gd name="T10" fmla="*/ 21 w 25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34">
                    <a:moveTo>
                      <a:pt x="21" y="34"/>
                    </a:moveTo>
                    <a:cubicBezTo>
                      <a:pt x="21" y="34"/>
                      <a:pt x="19" y="25"/>
                      <a:pt x="21" y="15"/>
                    </a:cubicBezTo>
                    <a:cubicBezTo>
                      <a:pt x="24" y="5"/>
                      <a:pt x="25" y="0"/>
                      <a:pt x="25" y="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4" y="21"/>
                      <a:pt x="4" y="21"/>
                      <a:pt x="4" y="21"/>
                    </a:cubicBezTo>
                    <a:cubicBezTo>
                      <a:pt x="16" y="28"/>
                      <a:pt x="20" y="31"/>
                      <a:pt x="21" y="34"/>
                    </a:cubicBezTo>
                    <a:close/>
                  </a:path>
                </a:pathLst>
              </a:custGeom>
              <a:solidFill>
                <a:srgbClr val="FBFB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CCB79FEA-878A-4269-B755-3391F0F9696F}"/>
                  </a:ext>
                </a:extLst>
              </p:cNvPr>
              <p:cNvSpPr/>
              <p:nvPr/>
            </p:nvSpPr>
            <p:spPr bwMode="auto">
              <a:xfrm>
                <a:off x="6477001" y="2336800"/>
                <a:ext cx="742950" cy="1155700"/>
              </a:xfrm>
              <a:custGeom>
                <a:avLst/>
                <a:gdLst>
                  <a:gd name="T0" fmla="*/ 72 w 81"/>
                  <a:gd name="T1" fmla="*/ 100 h 126"/>
                  <a:gd name="T2" fmla="*/ 62 w 81"/>
                  <a:gd name="T3" fmla="*/ 98 h 126"/>
                  <a:gd name="T4" fmla="*/ 52 w 81"/>
                  <a:gd name="T5" fmla="*/ 94 h 126"/>
                  <a:gd name="T6" fmla="*/ 27 w 81"/>
                  <a:gd name="T7" fmla="*/ 55 h 126"/>
                  <a:gd name="T8" fmla="*/ 20 w 81"/>
                  <a:gd name="T9" fmla="*/ 14 h 126"/>
                  <a:gd name="T10" fmla="*/ 11 w 81"/>
                  <a:gd name="T11" fmla="*/ 2 h 126"/>
                  <a:gd name="T12" fmla="*/ 1 w 81"/>
                  <a:gd name="T13" fmla="*/ 15 h 126"/>
                  <a:gd name="T14" fmla="*/ 9 w 81"/>
                  <a:gd name="T15" fmla="*/ 61 h 126"/>
                  <a:gd name="T16" fmla="*/ 42 w 81"/>
                  <a:gd name="T17" fmla="*/ 106 h 126"/>
                  <a:gd name="T18" fmla="*/ 50 w 81"/>
                  <a:gd name="T19" fmla="*/ 115 h 126"/>
                  <a:gd name="T20" fmla="*/ 64 w 81"/>
                  <a:gd name="T21" fmla="*/ 124 h 126"/>
                  <a:gd name="T22" fmla="*/ 72 w 81"/>
                  <a:gd name="T23" fmla="*/ 125 h 126"/>
                  <a:gd name="T24" fmla="*/ 70 w 81"/>
                  <a:gd name="T25" fmla="*/ 122 h 126"/>
                  <a:gd name="T26" fmla="*/ 61 w 81"/>
                  <a:gd name="T27" fmla="*/ 117 h 126"/>
                  <a:gd name="T28" fmla="*/ 68 w 81"/>
                  <a:gd name="T29" fmla="*/ 120 h 126"/>
                  <a:gd name="T30" fmla="*/ 75 w 81"/>
                  <a:gd name="T31" fmla="*/ 121 h 126"/>
                  <a:gd name="T32" fmla="*/ 78 w 81"/>
                  <a:gd name="T33" fmla="*/ 118 h 126"/>
                  <a:gd name="T34" fmla="*/ 70 w 81"/>
                  <a:gd name="T35" fmla="*/ 115 h 126"/>
                  <a:gd name="T36" fmla="*/ 64 w 81"/>
                  <a:gd name="T37" fmla="*/ 112 h 126"/>
                  <a:gd name="T38" fmla="*/ 73 w 81"/>
                  <a:gd name="T39" fmla="*/ 114 h 126"/>
                  <a:gd name="T40" fmla="*/ 79 w 81"/>
                  <a:gd name="T41" fmla="*/ 114 h 126"/>
                  <a:gd name="T42" fmla="*/ 79 w 81"/>
                  <a:gd name="T43" fmla="*/ 110 h 126"/>
                  <a:gd name="T44" fmla="*/ 69 w 81"/>
                  <a:gd name="T45" fmla="*/ 107 h 126"/>
                  <a:gd name="T46" fmla="*/ 64 w 81"/>
                  <a:gd name="T47" fmla="*/ 104 h 126"/>
                  <a:gd name="T48" fmla="*/ 70 w 81"/>
                  <a:gd name="T49" fmla="*/ 105 h 126"/>
                  <a:gd name="T50" fmla="*/ 75 w 81"/>
                  <a:gd name="T51" fmla="*/ 101 h 126"/>
                  <a:gd name="T52" fmla="*/ 72 w 81"/>
                  <a:gd name="T53" fmla="*/ 10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81" h="126">
                    <a:moveTo>
                      <a:pt x="72" y="100"/>
                    </a:moveTo>
                    <a:cubicBezTo>
                      <a:pt x="69" y="99"/>
                      <a:pt x="66" y="98"/>
                      <a:pt x="62" y="98"/>
                    </a:cubicBezTo>
                    <a:cubicBezTo>
                      <a:pt x="58" y="98"/>
                      <a:pt x="55" y="96"/>
                      <a:pt x="52" y="94"/>
                    </a:cubicBezTo>
                    <a:cubicBezTo>
                      <a:pt x="34" y="80"/>
                      <a:pt x="28" y="62"/>
                      <a:pt x="27" y="55"/>
                    </a:cubicBezTo>
                    <a:cubicBezTo>
                      <a:pt x="23" y="42"/>
                      <a:pt x="22" y="22"/>
                      <a:pt x="20" y="14"/>
                    </a:cubicBezTo>
                    <a:cubicBezTo>
                      <a:pt x="19" y="6"/>
                      <a:pt x="15" y="4"/>
                      <a:pt x="11" y="2"/>
                    </a:cubicBezTo>
                    <a:cubicBezTo>
                      <a:pt x="5" y="0"/>
                      <a:pt x="0" y="4"/>
                      <a:pt x="1" y="15"/>
                    </a:cubicBezTo>
                    <a:cubicBezTo>
                      <a:pt x="2" y="27"/>
                      <a:pt x="4" y="46"/>
                      <a:pt x="9" y="61"/>
                    </a:cubicBezTo>
                    <a:cubicBezTo>
                      <a:pt x="12" y="68"/>
                      <a:pt x="21" y="88"/>
                      <a:pt x="42" y="106"/>
                    </a:cubicBezTo>
                    <a:cubicBezTo>
                      <a:pt x="44" y="108"/>
                      <a:pt x="46" y="111"/>
                      <a:pt x="50" y="115"/>
                    </a:cubicBezTo>
                    <a:cubicBezTo>
                      <a:pt x="54" y="119"/>
                      <a:pt x="60" y="123"/>
                      <a:pt x="64" y="124"/>
                    </a:cubicBezTo>
                    <a:cubicBezTo>
                      <a:pt x="69" y="126"/>
                      <a:pt x="71" y="125"/>
                      <a:pt x="72" y="125"/>
                    </a:cubicBezTo>
                    <a:cubicBezTo>
                      <a:pt x="73" y="124"/>
                      <a:pt x="72" y="123"/>
                      <a:pt x="70" y="122"/>
                    </a:cubicBezTo>
                    <a:cubicBezTo>
                      <a:pt x="68" y="121"/>
                      <a:pt x="64" y="120"/>
                      <a:pt x="61" y="117"/>
                    </a:cubicBezTo>
                    <a:cubicBezTo>
                      <a:pt x="61" y="117"/>
                      <a:pt x="65" y="119"/>
                      <a:pt x="68" y="120"/>
                    </a:cubicBezTo>
                    <a:cubicBezTo>
                      <a:pt x="71" y="121"/>
                      <a:pt x="73" y="121"/>
                      <a:pt x="75" y="121"/>
                    </a:cubicBezTo>
                    <a:cubicBezTo>
                      <a:pt x="78" y="122"/>
                      <a:pt x="80" y="119"/>
                      <a:pt x="78" y="118"/>
                    </a:cubicBezTo>
                    <a:cubicBezTo>
                      <a:pt x="76" y="117"/>
                      <a:pt x="74" y="117"/>
                      <a:pt x="70" y="115"/>
                    </a:cubicBezTo>
                    <a:cubicBezTo>
                      <a:pt x="67" y="114"/>
                      <a:pt x="64" y="112"/>
                      <a:pt x="64" y="112"/>
                    </a:cubicBezTo>
                    <a:cubicBezTo>
                      <a:pt x="64" y="112"/>
                      <a:pt x="69" y="113"/>
                      <a:pt x="73" y="114"/>
                    </a:cubicBezTo>
                    <a:cubicBezTo>
                      <a:pt x="77" y="115"/>
                      <a:pt x="78" y="114"/>
                      <a:pt x="79" y="114"/>
                    </a:cubicBezTo>
                    <a:cubicBezTo>
                      <a:pt x="81" y="113"/>
                      <a:pt x="81" y="111"/>
                      <a:pt x="79" y="110"/>
                    </a:cubicBezTo>
                    <a:cubicBezTo>
                      <a:pt x="76" y="109"/>
                      <a:pt x="73" y="110"/>
                      <a:pt x="69" y="107"/>
                    </a:cubicBezTo>
                    <a:cubicBezTo>
                      <a:pt x="65" y="106"/>
                      <a:pt x="63" y="104"/>
                      <a:pt x="64" y="104"/>
                    </a:cubicBezTo>
                    <a:cubicBezTo>
                      <a:pt x="65" y="104"/>
                      <a:pt x="67" y="105"/>
                      <a:pt x="70" y="105"/>
                    </a:cubicBezTo>
                    <a:cubicBezTo>
                      <a:pt x="73" y="105"/>
                      <a:pt x="75" y="103"/>
                      <a:pt x="75" y="101"/>
                    </a:cubicBezTo>
                    <a:cubicBezTo>
                      <a:pt x="75" y="100"/>
                      <a:pt x="75" y="100"/>
                      <a:pt x="72" y="100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25173DDE-63B1-4EC1-8EDF-A8BCBF47099F}"/>
                  </a:ext>
                </a:extLst>
              </p:cNvPr>
              <p:cNvSpPr/>
              <p:nvPr/>
            </p:nvSpPr>
            <p:spPr bwMode="auto">
              <a:xfrm>
                <a:off x="6477001" y="2336800"/>
                <a:ext cx="247650" cy="495300"/>
              </a:xfrm>
              <a:custGeom>
                <a:avLst/>
                <a:gdLst>
                  <a:gd name="T0" fmla="*/ 8 w 27"/>
                  <a:gd name="T1" fmla="*/ 1 h 54"/>
                  <a:gd name="T2" fmla="*/ 20 w 27"/>
                  <a:gd name="T3" fmla="*/ 11 h 54"/>
                  <a:gd name="T4" fmla="*/ 27 w 27"/>
                  <a:gd name="T5" fmla="*/ 44 h 54"/>
                  <a:gd name="T6" fmla="*/ 4 w 27"/>
                  <a:gd name="T7" fmla="*/ 46 h 54"/>
                  <a:gd name="T8" fmla="*/ 0 w 27"/>
                  <a:gd name="T9" fmla="*/ 16 h 54"/>
                  <a:gd name="T10" fmla="*/ 8 w 27"/>
                  <a:gd name="T11" fmla="*/ 1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7" h="54">
                    <a:moveTo>
                      <a:pt x="8" y="1"/>
                    </a:moveTo>
                    <a:cubicBezTo>
                      <a:pt x="12" y="0"/>
                      <a:pt x="17" y="3"/>
                      <a:pt x="20" y="11"/>
                    </a:cubicBezTo>
                    <a:cubicBezTo>
                      <a:pt x="23" y="20"/>
                      <a:pt x="27" y="41"/>
                      <a:pt x="27" y="44"/>
                    </a:cubicBezTo>
                    <a:cubicBezTo>
                      <a:pt x="27" y="44"/>
                      <a:pt x="15" y="54"/>
                      <a:pt x="4" y="46"/>
                    </a:cubicBezTo>
                    <a:cubicBezTo>
                      <a:pt x="4" y="46"/>
                      <a:pt x="0" y="24"/>
                      <a:pt x="0" y="16"/>
                    </a:cubicBezTo>
                    <a:cubicBezTo>
                      <a:pt x="0" y="7"/>
                      <a:pt x="1" y="2"/>
                      <a:pt x="8" y="1"/>
                    </a:cubicBezTo>
                    <a:close/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350B83BA-AF5C-45B4-ACFC-5AD0C5E27443}"/>
                  </a:ext>
                </a:extLst>
              </p:cNvPr>
              <p:cNvSpPr/>
              <p:nvPr/>
            </p:nvSpPr>
            <p:spPr bwMode="auto">
              <a:xfrm>
                <a:off x="4052888" y="2024063"/>
                <a:ext cx="762000" cy="1065213"/>
              </a:xfrm>
              <a:custGeom>
                <a:avLst/>
                <a:gdLst>
                  <a:gd name="T0" fmla="*/ 54 w 83"/>
                  <a:gd name="T1" fmla="*/ 80 h 116"/>
                  <a:gd name="T2" fmla="*/ 35 w 83"/>
                  <a:gd name="T3" fmla="*/ 100 h 116"/>
                  <a:gd name="T4" fmla="*/ 29 w 83"/>
                  <a:gd name="T5" fmla="*/ 107 h 116"/>
                  <a:gd name="T6" fmla="*/ 16 w 83"/>
                  <a:gd name="T7" fmla="*/ 115 h 116"/>
                  <a:gd name="T8" fmla="*/ 10 w 83"/>
                  <a:gd name="T9" fmla="*/ 115 h 116"/>
                  <a:gd name="T10" fmla="*/ 11 w 83"/>
                  <a:gd name="T11" fmla="*/ 113 h 116"/>
                  <a:gd name="T12" fmla="*/ 19 w 83"/>
                  <a:gd name="T13" fmla="*/ 108 h 116"/>
                  <a:gd name="T14" fmla="*/ 13 w 83"/>
                  <a:gd name="T15" fmla="*/ 111 h 116"/>
                  <a:gd name="T16" fmla="*/ 6 w 83"/>
                  <a:gd name="T17" fmla="*/ 112 h 116"/>
                  <a:gd name="T18" fmla="*/ 3 w 83"/>
                  <a:gd name="T19" fmla="*/ 109 h 116"/>
                  <a:gd name="T20" fmla="*/ 10 w 83"/>
                  <a:gd name="T21" fmla="*/ 107 h 116"/>
                  <a:gd name="T22" fmla="*/ 16 w 83"/>
                  <a:gd name="T23" fmla="*/ 104 h 116"/>
                  <a:gd name="T24" fmla="*/ 8 w 83"/>
                  <a:gd name="T25" fmla="*/ 105 h 116"/>
                  <a:gd name="T26" fmla="*/ 2 w 83"/>
                  <a:gd name="T27" fmla="*/ 105 h 116"/>
                  <a:gd name="T28" fmla="*/ 2 w 83"/>
                  <a:gd name="T29" fmla="*/ 102 h 116"/>
                  <a:gd name="T30" fmla="*/ 11 w 83"/>
                  <a:gd name="T31" fmla="*/ 99 h 116"/>
                  <a:gd name="T32" fmla="*/ 15 w 83"/>
                  <a:gd name="T33" fmla="*/ 97 h 116"/>
                  <a:gd name="T34" fmla="*/ 10 w 83"/>
                  <a:gd name="T35" fmla="*/ 97 h 116"/>
                  <a:gd name="T36" fmla="*/ 5 w 83"/>
                  <a:gd name="T37" fmla="*/ 93 h 116"/>
                  <a:gd name="T38" fmla="*/ 8 w 83"/>
                  <a:gd name="T39" fmla="*/ 92 h 116"/>
                  <a:gd name="T40" fmla="*/ 17 w 83"/>
                  <a:gd name="T41" fmla="*/ 91 h 116"/>
                  <a:gd name="T42" fmla="*/ 26 w 83"/>
                  <a:gd name="T43" fmla="*/ 90 h 116"/>
                  <a:gd name="T44" fmla="*/ 41 w 83"/>
                  <a:gd name="T45" fmla="*/ 73 h 116"/>
                  <a:gd name="T46" fmla="*/ 54 w 83"/>
                  <a:gd name="T47" fmla="*/ 46 h 116"/>
                  <a:gd name="T48" fmla="*/ 64 w 83"/>
                  <a:gd name="T49" fmla="*/ 10 h 116"/>
                  <a:gd name="T50" fmla="*/ 75 w 83"/>
                  <a:gd name="T51" fmla="*/ 0 h 116"/>
                  <a:gd name="T52" fmla="*/ 81 w 83"/>
                  <a:gd name="T53" fmla="*/ 13 h 116"/>
                  <a:gd name="T54" fmla="*/ 54 w 83"/>
                  <a:gd name="T55" fmla="*/ 80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83" h="116">
                    <a:moveTo>
                      <a:pt x="54" y="80"/>
                    </a:moveTo>
                    <a:cubicBezTo>
                      <a:pt x="48" y="88"/>
                      <a:pt x="43" y="93"/>
                      <a:pt x="35" y="100"/>
                    </a:cubicBezTo>
                    <a:cubicBezTo>
                      <a:pt x="33" y="101"/>
                      <a:pt x="32" y="103"/>
                      <a:pt x="29" y="107"/>
                    </a:cubicBezTo>
                    <a:cubicBezTo>
                      <a:pt x="26" y="111"/>
                      <a:pt x="21" y="114"/>
                      <a:pt x="16" y="115"/>
                    </a:cubicBezTo>
                    <a:cubicBezTo>
                      <a:pt x="12" y="116"/>
                      <a:pt x="10" y="116"/>
                      <a:pt x="10" y="115"/>
                    </a:cubicBezTo>
                    <a:cubicBezTo>
                      <a:pt x="9" y="114"/>
                      <a:pt x="9" y="113"/>
                      <a:pt x="11" y="113"/>
                    </a:cubicBezTo>
                    <a:cubicBezTo>
                      <a:pt x="13" y="112"/>
                      <a:pt x="16" y="111"/>
                      <a:pt x="19" y="108"/>
                    </a:cubicBezTo>
                    <a:cubicBezTo>
                      <a:pt x="19" y="108"/>
                      <a:pt x="15" y="110"/>
                      <a:pt x="13" y="111"/>
                    </a:cubicBezTo>
                    <a:cubicBezTo>
                      <a:pt x="11" y="112"/>
                      <a:pt x="8" y="112"/>
                      <a:pt x="6" y="112"/>
                    </a:cubicBezTo>
                    <a:cubicBezTo>
                      <a:pt x="4" y="112"/>
                      <a:pt x="1" y="110"/>
                      <a:pt x="3" y="109"/>
                    </a:cubicBezTo>
                    <a:cubicBezTo>
                      <a:pt x="5" y="108"/>
                      <a:pt x="7" y="108"/>
                      <a:pt x="10" y="107"/>
                    </a:cubicBezTo>
                    <a:cubicBezTo>
                      <a:pt x="14" y="105"/>
                      <a:pt x="16" y="104"/>
                      <a:pt x="16" y="104"/>
                    </a:cubicBezTo>
                    <a:cubicBezTo>
                      <a:pt x="16" y="104"/>
                      <a:pt x="12" y="105"/>
                      <a:pt x="8" y="105"/>
                    </a:cubicBezTo>
                    <a:cubicBezTo>
                      <a:pt x="4" y="106"/>
                      <a:pt x="3" y="105"/>
                      <a:pt x="2" y="105"/>
                    </a:cubicBezTo>
                    <a:cubicBezTo>
                      <a:pt x="1" y="104"/>
                      <a:pt x="0" y="102"/>
                      <a:pt x="2" y="102"/>
                    </a:cubicBezTo>
                    <a:cubicBezTo>
                      <a:pt x="4" y="101"/>
                      <a:pt x="7" y="101"/>
                      <a:pt x="11" y="99"/>
                    </a:cubicBezTo>
                    <a:cubicBezTo>
                      <a:pt x="14" y="98"/>
                      <a:pt x="16" y="97"/>
                      <a:pt x="15" y="97"/>
                    </a:cubicBezTo>
                    <a:cubicBezTo>
                      <a:pt x="15" y="96"/>
                      <a:pt x="13" y="97"/>
                      <a:pt x="10" y="97"/>
                    </a:cubicBezTo>
                    <a:cubicBezTo>
                      <a:pt x="7" y="97"/>
                      <a:pt x="5" y="95"/>
                      <a:pt x="5" y="93"/>
                    </a:cubicBezTo>
                    <a:cubicBezTo>
                      <a:pt x="5" y="92"/>
                      <a:pt x="5" y="93"/>
                      <a:pt x="8" y="92"/>
                    </a:cubicBezTo>
                    <a:cubicBezTo>
                      <a:pt x="11" y="92"/>
                      <a:pt x="13" y="91"/>
                      <a:pt x="17" y="91"/>
                    </a:cubicBezTo>
                    <a:cubicBezTo>
                      <a:pt x="21" y="91"/>
                      <a:pt x="23" y="91"/>
                      <a:pt x="26" y="90"/>
                    </a:cubicBezTo>
                    <a:cubicBezTo>
                      <a:pt x="29" y="89"/>
                      <a:pt x="36" y="81"/>
                      <a:pt x="41" y="73"/>
                    </a:cubicBezTo>
                    <a:cubicBezTo>
                      <a:pt x="48" y="64"/>
                      <a:pt x="53" y="52"/>
                      <a:pt x="54" y="46"/>
                    </a:cubicBezTo>
                    <a:cubicBezTo>
                      <a:pt x="57" y="36"/>
                      <a:pt x="61" y="17"/>
                      <a:pt x="64" y="10"/>
                    </a:cubicBezTo>
                    <a:cubicBezTo>
                      <a:pt x="67" y="3"/>
                      <a:pt x="71" y="0"/>
                      <a:pt x="75" y="0"/>
                    </a:cubicBezTo>
                    <a:cubicBezTo>
                      <a:pt x="81" y="0"/>
                      <a:pt x="83" y="7"/>
                      <a:pt x="81" y="13"/>
                    </a:cubicBezTo>
                    <a:cubicBezTo>
                      <a:pt x="79" y="23"/>
                      <a:pt x="68" y="62"/>
                      <a:pt x="54" y="80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CFB972D7-17C6-4218-A196-C0D1D37C579A}"/>
                  </a:ext>
                </a:extLst>
              </p:cNvPr>
              <p:cNvSpPr/>
              <p:nvPr/>
            </p:nvSpPr>
            <p:spPr bwMode="auto">
              <a:xfrm>
                <a:off x="4548188" y="2014538"/>
                <a:ext cx="285750" cy="514350"/>
              </a:xfrm>
              <a:custGeom>
                <a:avLst/>
                <a:gdLst>
                  <a:gd name="T0" fmla="*/ 24 w 31"/>
                  <a:gd name="T1" fmla="*/ 1 h 56"/>
                  <a:gd name="T2" fmla="*/ 11 w 31"/>
                  <a:gd name="T3" fmla="*/ 7 h 56"/>
                  <a:gd name="T4" fmla="*/ 2 w 31"/>
                  <a:gd name="T5" fmla="*/ 37 h 56"/>
                  <a:gd name="T6" fmla="*/ 0 w 31"/>
                  <a:gd name="T7" fmla="*/ 48 h 56"/>
                  <a:gd name="T8" fmla="*/ 16 w 31"/>
                  <a:gd name="T9" fmla="*/ 56 h 56"/>
                  <a:gd name="T10" fmla="*/ 23 w 31"/>
                  <a:gd name="T11" fmla="*/ 34 h 56"/>
                  <a:gd name="T12" fmla="*/ 24 w 31"/>
                  <a:gd name="T13" fmla="*/ 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56">
                    <a:moveTo>
                      <a:pt x="24" y="1"/>
                    </a:moveTo>
                    <a:cubicBezTo>
                      <a:pt x="21" y="0"/>
                      <a:pt x="15" y="0"/>
                      <a:pt x="11" y="7"/>
                    </a:cubicBezTo>
                    <a:cubicBezTo>
                      <a:pt x="6" y="14"/>
                      <a:pt x="3" y="33"/>
                      <a:pt x="2" y="37"/>
                    </a:cubicBezTo>
                    <a:cubicBezTo>
                      <a:pt x="1" y="44"/>
                      <a:pt x="0" y="48"/>
                      <a:pt x="0" y="48"/>
                    </a:cubicBezTo>
                    <a:cubicBezTo>
                      <a:pt x="0" y="48"/>
                      <a:pt x="5" y="56"/>
                      <a:pt x="16" y="56"/>
                    </a:cubicBezTo>
                    <a:cubicBezTo>
                      <a:pt x="16" y="56"/>
                      <a:pt x="19" y="49"/>
                      <a:pt x="23" y="34"/>
                    </a:cubicBezTo>
                    <a:cubicBezTo>
                      <a:pt x="27" y="19"/>
                      <a:pt x="31" y="3"/>
                      <a:pt x="24" y="1"/>
                    </a:cubicBezTo>
                    <a:close/>
                  </a:path>
                </a:pathLst>
              </a:custGeom>
              <a:solidFill>
                <a:srgbClr val="D830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8EC781A1-3270-4CC5-9E71-4C954BDFF886}"/>
                  </a:ext>
                </a:extLst>
              </p:cNvPr>
              <p:cNvSpPr/>
              <p:nvPr/>
            </p:nvSpPr>
            <p:spPr bwMode="auto">
              <a:xfrm>
                <a:off x="4540251" y="2336800"/>
                <a:ext cx="293688" cy="587375"/>
              </a:xfrm>
              <a:custGeom>
                <a:avLst/>
                <a:gdLst>
                  <a:gd name="T0" fmla="*/ 8 w 32"/>
                  <a:gd name="T1" fmla="*/ 0 h 64"/>
                  <a:gd name="T2" fmla="*/ 9 w 32"/>
                  <a:gd name="T3" fmla="*/ 29 h 64"/>
                  <a:gd name="T4" fmla="*/ 0 w 32"/>
                  <a:gd name="T5" fmla="*/ 56 h 64"/>
                  <a:gd name="T6" fmla="*/ 17 w 32"/>
                  <a:gd name="T7" fmla="*/ 61 h 64"/>
                  <a:gd name="T8" fmla="*/ 30 w 32"/>
                  <a:gd name="T9" fmla="*/ 23 h 64"/>
                  <a:gd name="T10" fmla="*/ 8 w 32"/>
                  <a:gd name="T11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2" h="64">
                    <a:moveTo>
                      <a:pt x="8" y="0"/>
                    </a:moveTo>
                    <a:cubicBezTo>
                      <a:pt x="7" y="11"/>
                      <a:pt x="11" y="18"/>
                      <a:pt x="9" y="29"/>
                    </a:cubicBezTo>
                    <a:cubicBezTo>
                      <a:pt x="7" y="43"/>
                      <a:pt x="2" y="52"/>
                      <a:pt x="0" y="56"/>
                    </a:cubicBezTo>
                    <a:cubicBezTo>
                      <a:pt x="0" y="56"/>
                      <a:pt x="6" y="64"/>
                      <a:pt x="17" y="61"/>
                    </a:cubicBezTo>
                    <a:cubicBezTo>
                      <a:pt x="29" y="59"/>
                      <a:pt x="32" y="38"/>
                      <a:pt x="30" y="23"/>
                    </a:cubicBezTo>
                    <a:cubicBezTo>
                      <a:pt x="28" y="8"/>
                      <a:pt x="8" y="0"/>
                      <a:pt x="8" y="0"/>
                    </a:cubicBezTo>
                    <a:close/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457D682F-1CF4-4E9F-B706-AE4E78F5E512}"/>
                  </a:ext>
                </a:extLst>
              </p:cNvPr>
              <p:cNvSpPr/>
              <p:nvPr/>
            </p:nvSpPr>
            <p:spPr bwMode="auto">
              <a:xfrm>
                <a:off x="4043363" y="3979863"/>
                <a:ext cx="422275" cy="284163"/>
              </a:xfrm>
              <a:custGeom>
                <a:avLst/>
                <a:gdLst>
                  <a:gd name="T0" fmla="*/ 44 w 46"/>
                  <a:gd name="T1" fmla="*/ 0 h 31"/>
                  <a:gd name="T2" fmla="*/ 45 w 46"/>
                  <a:gd name="T3" fmla="*/ 5 h 31"/>
                  <a:gd name="T4" fmla="*/ 46 w 46"/>
                  <a:gd name="T5" fmla="*/ 14 h 31"/>
                  <a:gd name="T6" fmla="*/ 36 w 46"/>
                  <a:gd name="T7" fmla="*/ 19 h 31"/>
                  <a:gd name="T8" fmla="*/ 26 w 46"/>
                  <a:gd name="T9" fmla="*/ 26 h 31"/>
                  <a:gd name="T10" fmla="*/ 12 w 46"/>
                  <a:gd name="T11" fmla="*/ 31 h 31"/>
                  <a:gd name="T12" fmla="*/ 1 w 46"/>
                  <a:gd name="T13" fmla="*/ 28 h 31"/>
                  <a:gd name="T14" fmla="*/ 11 w 46"/>
                  <a:gd name="T15" fmla="*/ 17 h 31"/>
                  <a:gd name="T16" fmla="*/ 30 w 46"/>
                  <a:gd name="T17" fmla="*/ 0 h 31"/>
                  <a:gd name="T18" fmla="*/ 44 w 46"/>
                  <a:gd name="T19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6" h="31">
                    <a:moveTo>
                      <a:pt x="44" y="0"/>
                    </a:moveTo>
                    <a:cubicBezTo>
                      <a:pt x="44" y="0"/>
                      <a:pt x="44" y="3"/>
                      <a:pt x="45" y="5"/>
                    </a:cubicBezTo>
                    <a:cubicBezTo>
                      <a:pt x="45" y="8"/>
                      <a:pt x="46" y="12"/>
                      <a:pt x="46" y="14"/>
                    </a:cubicBezTo>
                    <a:cubicBezTo>
                      <a:pt x="45" y="16"/>
                      <a:pt x="39" y="19"/>
                      <a:pt x="36" y="19"/>
                    </a:cubicBezTo>
                    <a:cubicBezTo>
                      <a:pt x="33" y="20"/>
                      <a:pt x="28" y="23"/>
                      <a:pt x="26" y="26"/>
                    </a:cubicBezTo>
                    <a:cubicBezTo>
                      <a:pt x="23" y="29"/>
                      <a:pt x="16" y="31"/>
                      <a:pt x="12" y="31"/>
                    </a:cubicBezTo>
                    <a:cubicBezTo>
                      <a:pt x="7" y="30"/>
                      <a:pt x="2" y="29"/>
                      <a:pt x="1" y="28"/>
                    </a:cubicBezTo>
                    <a:cubicBezTo>
                      <a:pt x="0" y="26"/>
                      <a:pt x="1" y="24"/>
                      <a:pt x="11" y="17"/>
                    </a:cubicBezTo>
                    <a:cubicBezTo>
                      <a:pt x="20" y="10"/>
                      <a:pt x="27" y="6"/>
                      <a:pt x="30" y="0"/>
                    </a:cubicBez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2D2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A1B3C016-93B4-44C7-9217-058FB00ED8F5}"/>
                  </a:ext>
                </a:extLst>
              </p:cNvPr>
              <p:cNvSpPr/>
              <p:nvPr/>
            </p:nvSpPr>
            <p:spPr bwMode="auto">
              <a:xfrm>
                <a:off x="4327526" y="4191000"/>
                <a:ext cx="349250" cy="376238"/>
              </a:xfrm>
              <a:custGeom>
                <a:avLst/>
                <a:gdLst>
                  <a:gd name="T0" fmla="*/ 23 w 38"/>
                  <a:gd name="T1" fmla="*/ 35 h 41"/>
                  <a:gd name="T2" fmla="*/ 12 w 38"/>
                  <a:gd name="T3" fmla="*/ 41 h 41"/>
                  <a:gd name="T4" fmla="*/ 6 w 38"/>
                  <a:gd name="T5" fmla="*/ 41 h 41"/>
                  <a:gd name="T6" fmla="*/ 0 w 38"/>
                  <a:gd name="T7" fmla="*/ 37 h 41"/>
                  <a:gd name="T8" fmla="*/ 1 w 38"/>
                  <a:gd name="T9" fmla="*/ 34 h 41"/>
                  <a:gd name="T10" fmla="*/ 12 w 38"/>
                  <a:gd name="T11" fmla="*/ 20 h 41"/>
                  <a:gd name="T12" fmla="*/ 21 w 38"/>
                  <a:gd name="T13" fmla="*/ 0 h 41"/>
                  <a:gd name="T14" fmla="*/ 36 w 38"/>
                  <a:gd name="T15" fmla="*/ 0 h 41"/>
                  <a:gd name="T16" fmla="*/ 36 w 38"/>
                  <a:gd name="T17" fmla="*/ 5 h 41"/>
                  <a:gd name="T18" fmla="*/ 37 w 38"/>
                  <a:gd name="T19" fmla="*/ 9 h 41"/>
                  <a:gd name="T20" fmla="*/ 37 w 38"/>
                  <a:gd name="T21" fmla="*/ 19 h 41"/>
                  <a:gd name="T22" fmla="*/ 31 w 38"/>
                  <a:gd name="T23" fmla="*/ 24 h 41"/>
                  <a:gd name="T24" fmla="*/ 23 w 38"/>
                  <a:gd name="T25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8" h="41">
                    <a:moveTo>
                      <a:pt x="23" y="35"/>
                    </a:moveTo>
                    <a:cubicBezTo>
                      <a:pt x="20" y="38"/>
                      <a:pt x="16" y="40"/>
                      <a:pt x="12" y="41"/>
                    </a:cubicBezTo>
                    <a:cubicBezTo>
                      <a:pt x="10" y="41"/>
                      <a:pt x="8" y="41"/>
                      <a:pt x="6" y="41"/>
                    </a:cubicBezTo>
                    <a:cubicBezTo>
                      <a:pt x="3" y="41"/>
                      <a:pt x="0" y="40"/>
                      <a:pt x="0" y="37"/>
                    </a:cubicBezTo>
                    <a:cubicBezTo>
                      <a:pt x="0" y="36"/>
                      <a:pt x="1" y="35"/>
                      <a:pt x="1" y="34"/>
                    </a:cubicBezTo>
                    <a:cubicBezTo>
                      <a:pt x="5" y="29"/>
                      <a:pt x="9" y="25"/>
                      <a:pt x="12" y="20"/>
                    </a:cubicBezTo>
                    <a:cubicBezTo>
                      <a:pt x="16" y="14"/>
                      <a:pt x="20" y="9"/>
                      <a:pt x="21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6" y="1"/>
                      <a:pt x="36" y="3"/>
                      <a:pt x="36" y="5"/>
                    </a:cubicBezTo>
                    <a:cubicBezTo>
                      <a:pt x="36" y="6"/>
                      <a:pt x="37" y="8"/>
                      <a:pt x="37" y="9"/>
                    </a:cubicBezTo>
                    <a:cubicBezTo>
                      <a:pt x="38" y="12"/>
                      <a:pt x="38" y="16"/>
                      <a:pt x="37" y="19"/>
                    </a:cubicBezTo>
                    <a:cubicBezTo>
                      <a:pt x="36" y="21"/>
                      <a:pt x="33" y="22"/>
                      <a:pt x="31" y="24"/>
                    </a:cubicBezTo>
                    <a:cubicBezTo>
                      <a:pt x="28" y="27"/>
                      <a:pt x="26" y="31"/>
                      <a:pt x="23" y="35"/>
                    </a:cubicBezTo>
                    <a:close/>
                  </a:path>
                </a:pathLst>
              </a:custGeom>
              <a:solidFill>
                <a:srgbClr val="2D297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E4B85E8C-D7B6-41A9-9139-BFB4C15162F7}"/>
                  </a:ext>
                </a:extLst>
              </p:cNvPr>
              <p:cNvSpPr/>
              <p:nvPr/>
            </p:nvSpPr>
            <p:spPr bwMode="auto">
              <a:xfrm>
                <a:off x="4062413" y="2767013"/>
                <a:ext cx="1147763" cy="1460500"/>
              </a:xfrm>
              <a:custGeom>
                <a:avLst/>
                <a:gdLst>
                  <a:gd name="T0" fmla="*/ 119 w 125"/>
                  <a:gd name="T1" fmla="*/ 16 h 159"/>
                  <a:gd name="T2" fmla="*/ 102 w 125"/>
                  <a:gd name="T3" fmla="*/ 60 h 159"/>
                  <a:gd name="T4" fmla="*/ 66 w 125"/>
                  <a:gd name="T5" fmla="*/ 76 h 159"/>
                  <a:gd name="T6" fmla="*/ 70 w 125"/>
                  <a:gd name="T7" fmla="*/ 102 h 159"/>
                  <a:gd name="T8" fmla="*/ 65 w 125"/>
                  <a:gd name="T9" fmla="*/ 155 h 159"/>
                  <a:gd name="T10" fmla="*/ 50 w 125"/>
                  <a:gd name="T11" fmla="*/ 155 h 159"/>
                  <a:gd name="T12" fmla="*/ 45 w 125"/>
                  <a:gd name="T13" fmla="*/ 108 h 159"/>
                  <a:gd name="T14" fmla="*/ 41 w 125"/>
                  <a:gd name="T15" fmla="*/ 65 h 159"/>
                  <a:gd name="T16" fmla="*/ 73 w 125"/>
                  <a:gd name="T17" fmla="*/ 37 h 159"/>
                  <a:gd name="T18" fmla="*/ 72 w 125"/>
                  <a:gd name="T19" fmla="*/ 37 h 159"/>
                  <a:gd name="T20" fmla="*/ 30 w 125"/>
                  <a:gd name="T21" fmla="*/ 57 h 159"/>
                  <a:gd name="T22" fmla="*/ 37 w 125"/>
                  <a:gd name="T23" fmla="*/ 78 h 159"/>
                  <a:gd name="T24" fmla="*/ 42 w 125"/>
                  <a:gd name="T25" fmla="*/ 132 h 159"/>
                  <a:gd name="T26" fmla="*/ 28 w 125"/>
                  <a:gd name="T27" fmla="*/ 132 h 159"/>
                  <a:gd name="T28" fmla="*/ 4 w 125"/>
                  <a:gd name="T29" fmla="*/ 44 h 159"/>
                  <a:gd name="T30" fmla="*/ 66 w 125"/>
                  <a:gd name="T31" fmla="*/ 0 h 159"/>
                  <a:gd name="T32" fmla="*/ 119 w 125"/>
                  <a:gd name="T33" fmla="*/ 16 h 1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5" h="159">
                    <a:moveTo>
                      <a:pt x="119" y="16"/>
                    </a:moveTo>
                    <a:cubicBezTo>
                      <a:pt x="125" y="33"/>
                      <a:pt x="124" y="47"/>
                      <a:pt x="102" y="60"/>
                    </a:cubicBezTo>
                    <a:cubicBezTo>
                      <a:pt x="90" y="66"/>
                      <a:pt x="66" y="76"/>
                      <a:pt x="66" y="76"/>
                    </a:cubicBezTo>
                    <a:cubicBezTo>
                      <a:pt x="66" y="76"/>
                      <a:pt x="70" y="86"/>
                      <a:pt x="70" y="102"/>
                    </a:cubicBezTo>
                    <a:cubicBezTo>
                      <a:pt x="70" y="116"/>
                      <a:pt x="65" y="155"/>
                      <a:pt x="65" y="155"/>
                    </a:cubicBezTo>
                    <a:cubicBezTo>
                      <a:pt x="65" y="155"/>
                      <a:pt x="57" y="159"/>
                      <a:pt x="50" y="155"/>
                    </a:cubicBezTo>
                    <a:cubicBezTo>
                      <a:pt x="50" y="155"/>
                      <a:pt x="47" y="128"/>
                      <a:pt x="45" y="108"/>
                    </a:cubicBezTo>
                    <a:cubicBezTo>
                      <a:pt x="43" y="85"/>
                      <a:pt x="40" y="70"/>
                      <a:pt x="41" y="65"/>
                    </a:cubicBezTo>
                    <a:cubicBezTo>
                      <a:pt x="43" y="61"/>
                      <a:pt x="66" y="45"/>
                      <a:pt x="73" y="37"/>
                    </a:cubicBezTo>
                    <a:cubicBezTo>
                      <a:pt x="72" y="37"/>
                      <a:pt x="72" y="37"/>
                      <a:pt x="72" y="37"/>
                    </a:cubicBezTo>
                    <a:cubicBezTo>
                      <a:pt x="30" y="57"/>
                      <a:pt x="30" y="57"/>
                      <a:pt x="30" y="57"/>
                    </a:cubicBezTo>
                    <a:cubicBezTo>
                      <a:pt x="30" y="57"/>
                      <a:pt x="35" y="65"/>
                      <a:pt x="37" y="78"/>
                    </a:cubicBezTo>
                    <a:cubicBezTo>
                      <a:pt x="39" y="97"/>
                      <a:pt x="42" y="132"/>
                      <a:pt x="42" y="132"/>
                    </a:cubicBezTo>
                    <a:cubicBezTo>
                      <a:pt x="42" y="132"/>
                      <a:pt x="34" y="137"/>
                      <a:pt x="28" y="132"/>
                    </a:cubicBezTo>
                    <a:cubicBezTo>
                      <a:pt x="28" y="132"/>
                      <a:pt x="0" y="53"/>
                      <a:pt x="4" y="44"/>
                    </a:cubicBezTo>
                    <a:cubicBezTo>
                      <a:pt x="9" y="32"/>
                      <a:pt x="63" y="5"/>
                      <a:pt x="66" y="0"/>
                    </a:cubicBezTo>
                    <a:lnTo>
                      <a:pt x="119" y="16"/>
                    </a:lnTo>
                    <a:close/>
                  </a:path>
                </a:pathLst>
              </a:custGeom>
              <a:solidFill>
                <a:srgbClr val="C4D9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FFE13A17-911C-4F7A-96E7-8A90C8E571FA}"/>
                  </a:ext>
                </a:extLst>
              </p:cNvPr>
              <p:cNvSpPr/>
              <p:nvPr/>
            </p:nvSpPr>
            <p:spPr bwMode="auto">
              <a:xfrm>
                <a:off x="4365626" y="2941638"/>
                <a:ext cx="366713" cy="339725"/>
              </a:xfrm>
              <a:custGeom>
                <a:avLst/>
                <a:gdLst>
                  <a:gd name="T0" fmla="*/ 40 w 40"/>
                  <a:gd name="T1" fmla="*/ 18 h 37"/>
                  <a:gd name="T2" fmla="*/ 30 w 40"/>
                  <a:gd name="T3" fmla="*/ 0 h 37"/>
                  <a:gd name="T4" fmla="*/ 32 w 40"/>
                  <a:gd name="T5" fmla="*/ 13 h 37"/>
                  <a:gd name="T6" fmla="*/ 0 w 40"/>
                  <a:gd name="T7" fmla="*/ 37 h 37"/>
                  <a:gd name="T8" fmla="*/ 39 w 40"/>
                  <a:gd name="T9" fmla="*/ 18 h 37"/>
                  <a:gd name="T10" fmla="*/ 40 w 40"/>
                  <a:gd name="T11" fmla="*/ 18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37">
                    <a:moveTo>
                      <a:pt x="40" y="18"/>
                    </a:moveTo>
                    <a:cubicBezTo>
                      <a:pt x="40" y="18"/>
                      <a:pt x="33" y="11"/>
                      <a:pt x="30" y="0"/>
                    </a:cubicBezTo>
                    <a:cubicBezTo>
                      <a:pt x="30" y="0"/>
                      <a:pt x="30" y="7"/>
                      <a:pt x="32" y="13"/>
                    </a:cubicBezTo>
                    <a:cubicBezTo>
                      <a:pt x="34" y="18"/>
                      <a:pt x="0" y="37"/>
                      <a:pt x="0" y="37"/>
                    </a:cubicBezTo>
                    <a:cubicBezTo>
                      <a:pt x="39" y="18"/>
                      <a:pt x="39" y="18"/>
                      <a:pt x="39" y="18"/>
                    </a:cubicBezTo>
                    <a:lnTo>
                      <a:pt x="40" y="18"/>
                    </a:lnTo>
                    <a:close/>
                  </a:path>
                </a:pathLst>
              </a:custGeom>
              <a:solidFill>
                <a:srgbClr val="AACAF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C4F92425-6232-42B8-84FA-9CB1CE3CB10A}"/>
                  </a:ext>
                </a:extLst>
              </p:cNvPr>
              <p:cNvSpPr/>
              <p:nvPr/>
            </p:nvSpPr>
            <p:spPr bwMode="auto">
              <a:xfrm>
                <a:off x="4705351" y="1876425"/>
                <a:ext cx="422275" cy="460375"/>
              </a:xfrm>
              <a:custGeom>
                <a:avLst/>
                <a:gdLst>
                  <a:gd name="T0" fmla="*/ 35 w 46"/>
                  <a:gd name="T1" fmla="*/ 0 h 50"/>
                  <a:gd name="T2" fmla="*/ 35 w 46"/>
                  <a:gd name="T3" fmla="*/ 20 h 50"/>
                  <a:gd name="T4" fmla="*/ 44 w 46"/>
                  <a:gd name="T5" fmla="*/ 24 h 50"/>
                  <a:gd name="T6" fmla="*/ 28 w 46"/>
                  <a:gd name="T7" fmla="*/ 47 h 50"/>
                  <a:gd name="T8" fmla="*/ 1 w 46"/>
                  <a:gd name="T9" fmla="*/ 33 h 50"/>
                  <a:gd name="T10" fmla="*/ 9 w 46"/>
                  <a:gd name="T11" fmla="*/ 16 h 50"/>
                  <a:gd name="T12" fmla="*/ 15 w 46"/>
                  <a:gd name="T13" fmla="*/ 15 h 50"/>
                  <a:gd name="T14" fmla="*/ 15 w 46"/>
                  <a:gd name="T15" fmla="*/ 6 h 50"/>
                  <a:gd name="T16" fmla="*/ 35 w 46"/>
                  <a:gd name="T17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6" h="50">
                    <a:moveTo>
                      <a:pt x="35" y="0"/>
                    </a:moveTo>
                    <a:cubicBezTo>
                      <a:pt x="35" y="0"/>
                      <a:pt x="34" y="18"/>
                      <a:pt x="35" y="20"/>
                    </a:cubicBezTo>
                    <a:cubicBezTo>
                      <a:pt x="35" y="21"/>
                      <a:pt x="42" y="22"/>
                      <a:pt x="44" y="24"/>
                    </a:cubicBezTo>
                    <a:cubicBezTo>
                      <a:pt x="46" y="25"/>
                      <a:pt x="34" y="44"/>
                      <a:pt x="28" y="47"/>
                    </a:cubicBezTo>
                    <a:cubicBezTo>
                      <a:pt x="22" y="50"/>
                      <a:pt x="3" y="43"/>
                      <a:pt x="1" y="33"/>
                    </a:cubicBezTo>
                    <a:cubicBezTo>
                      <a:pt x="0" y="25"/>
                      <a:pt x="7" y="18"/>
                      <a:pt x="9" y="16"/>
                    </a:cubicBezTo>
                    <a:cubicBezTo>
                      <a:pt x="11" y="15"/>
                      <a:pt x="14" y="16"/>
                      <a:pt x="15" y="1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23" y="4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10D96D1-A755-494F-A572-E755595EB97A}"/>
                  </a:ext>
                </a:extLst>
              </p:cNvPr>
              <p:cNvSpPr/>
              <p:nvPr/>
            </p:nvSpPr>
            <p:spPr bwMode="auto">
              <a:xfrm>
                <a:off x="4521201" y="2014538"/>
                <a:ext cx="669925" cy="688975"/>
              </a:xfrm>
              <a:custGeom>
                <a:avLst/>
                <a:gdLst>
                  <a:gd name="T0" fmla="*/ 58 w 73"/>
                  <a:gd name="T1" fmla="*/ 6 h 75"/>
                  <a:gd name="T2" fmla="*/ 70 w 73"/>
                  <a:gd name="T3" fmla="*/ 13 h 75"/>
                  <a:gd name="T4" fmla="*/ 69 w 73"/>
                  <a:gd name="T5" fmla="*/ 44 h 75"/>
                  <a:gd name="T6" fmla="*/ 57 w 73"/>
                  <a:gd name="T7" fmla="*/ 69 h 75"/>
                  <a:gd name="T8" fmla="*/ 18 w 73"/>
                  <a:gd name="T9" fmla="*/ 64 h 75"/>
                  <a:gd name="T10" fmla="*/ 16 w 73"/>
                  <a:gd name="T11" fmla="*/ 47 h 75"/>
                  <a:gd name="T12" fmla="*/ 26 w 73"/>
                  <a:gd name="T13" fmla="*/ 2 h 75"/>
                  <a:gd name="T14" fmla="*/ 31 w 73"/>
                  <a:gd name="T15" fmla="*/ 0 h 75"/>
                  <a:gd name="T16" fmla="*/ 33 w 73"/>
                  <a:gd name="T17" fmla="*/ 0 h 75"/>
                  <a:gd name="T18" fmla="*/ 25 w 73"/>
                  <a:gd name="T19" fmla="*/ 11 h 75"/>
                  <a:gd name="T20" fmla="*/ 29 w 73"/>
                  <a:gd name="T21" fmla="*/ 24 h 75"/>
                  <a:gd name="T22" fmla="*/ 46 w 73"/>
                  <a:gd name="T23" fmla="*/ 19 h 75"/>
                  <a:gd name="T24" fmla="*/ 58 w 73"/>
                  <a:gd name="T25" fmla="*/ 6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3" h="75">
                    <a:moveTo>
                      <a:pt x="58" y="6"/>
                    </a:moveTo>
                    <a:cubicBezTo>
                      <a:pt x="63" y="7"/>
                      <a:pt x="69" y="10"/>
                      <a:pt x="70" y="13"/>
                    </a:cubicBezTo>
                    <a:cubicBezTo>
                      <a:pt x="71" y="16"/>
                      <a:pt x="73" y="32"/>
                      <a:pt x="69" y="44"/>
                    </a:cubicBezTo>
                    <a:cubicBezTo>
                      <a:pt x="64" y="56"/>
                      <a:pt x="60" y="64"/>
                      <a:pt x="57" y="69"/>
                    </a:cubicBezTo>
                    <a:cubicBezTo>
                      <a:pt x="57" y="69"/>
                      <a:pt x="37" y="75"/>
                      <a:pt x="18" y="64"/>
                    </a:cubicBezTo>
                    <a:cubicBezTo>
                      <a:pt x="18" y="64"/>
                      <a:pt x="16" y="54"/>
                      <a:pt x="16" y="47"/>
                    </a:cubicBezTo>
                    <a:cubicBezTo>
                      <a:pt x="0" y="33"/>
                      <a:pt x="13" y="16"/>
                      <a:pt x="26" y="2"/>
                    </a:cubicBezTo>
                    <a:cubicBezTo>
                      <a:pt x="28" y="1"/>
                      <a:pt x="29" y="0"/>
                      <a:pt x="31" y="0"/>
                    </a:cubicBezTo>
                    <a:cubicBezTo>
                      <a:pt x="31" y="0"/>
                      <a:pt x="32" y="0"/>
                      <a:pt x="33" y="0"/>
                    </a:cubicBezTo>
                    <a:cubicBezTo>
                      <a:pt x="33" y="0"/>
                      <a:pt x="28" y="5"/>
                      <a:pt x="25" y="11"/>
                    </a:cubicBezTo>
                    <a:cubicBezTo>
                      <a:pt x="23" y="16"/>
                      <a:pt x="25" y="22"/>
                      <a:pt x="29" y="24"/>
                    </a:cubicBezTo>
                    <a:cubicBezTo>
                      <a:pt x="36" y="27"/>
                      <a:pt x="41" y="25"/>
                      <a:pt x="46" y="19"/>
                    </a:cubicBezTo>
                    <a:cubicBezTo>
                      <a:pt x="50" y="15"/>
                      <a:pt x="52" y="10"/>
                      <a:pt x="58" y="6"/>
                    </a:cubicBezTo>
                    <a:close/>
                  </a:path>
                </a:pathLst>
              </a:custGeom>
              <a:solidFill>
                <a:srgbClr val="F5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E5730B4-0D0E-4264-BA54-112C6E67966E}"/>
                  </a:ext>
                </a:extLst>
              </p:cNvPr>
              <p:cNvSpPr/>
              <p:nvPr/>
            </p:nvSpPr>
            <p:spPr bwMode="auto">
              <a:xfrm>
                <a:off x="4841876" y="1876425"/>
                <a:ext cx="184150" cy="166688"/>
              </a:xfrm>
              <a:custGeom>
                <a:avLst/>
                <a:gdLst>
                  <a:gd name="T0" fmla="*/ 0 w 20"/>
                  <a:gd name="T1" fmla="*/ 14 h 18"/>
                  <a:gd name="T2" fmla="*/ 0 w 20"/>
                  <a:gd name="T3" fmla="*/ 6 h 18"/>
                  <a:gd name="T4" fmla="*/ 6 w 20"/>
                  <a:gd name="T5" fmla="*/ 5 h 18"/>
                  <a:gd name="T6" fmla="*/ 20 w 20"/>
                  <a:gd name="T7" fmla="*/ 0 h 18"/>
                  <a:gd name="T8" fmla="*/ 20 w 20"/>
                  <a:gd name="T9" fmla="*/ 5 h 18"/>
                  <a:gd name="T10" fmla="*/ 9 w 20"/>
                  <a:gd name="T11" fmla="*/ 17 h 18"/>
                  <a:gd name="T12" fmla="*/ 0 w 20"/>
                  <a:gd name="T13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8">
                    <a:moveTo>
                      <a:pt x="0" y="14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20" y="0"/>
                      <a:pt x="20" y="0"/>
                      <a:pt x="20" y="0"/>
                    </a:cubicBezTo>
                    <a:cubicBezTo>
                      <a:pt x="20" y="0"/>
                      <a:pt x="20" y="3"/>
                      <a:pt x="20" y="5"/>
                    </a:cubicBezTo>
                    <a:cubicBezTo>
                      <a:pt x="20" y="5"/>
                      <a:pt x="20" y="12"/>
                      <a:pt x="9" y="17"/>
                    </a:cubicBezTo>
                    <a:cubicBezTo>
                      <a:pt x="7" y="18"/>
                      <a:pt x="0" y="18"/>
                      <a:pt x="0" y="14"/>
                    </a:cubicBezTo>
                    <a:close/>
                  </a:path>
                </a:pathLst>
              </a:custGeom>
              <a:solidFill>
                <a:srgbClr val="F28F8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403926BD-D436-49AD-B3E6-1517C78E35D8}"/>
                  </a:ext>
                </a:extLst>
              </p:cNvPr>
              <p:cNvSpPr/>
              <p:nvPr/>
            </p:nvSpPr>
            <p:spPr bwMode="auto">
              <a:xfrm>
                <a:off x="4695826" y="1473200"/>
                <a:ext cx="439738" cy="523875"/>
              </a:xfrm>
              <a:custGeom>
                <a:avLst/>
                <a:gdLst>
                  <a:gd name="T0" fmla="*/ 1 w 48"/>
                  <a:gd name="T1" fmla="*/ 20 h 57"/>
                  <a:gd name="T2" fmla="*/ 1 w 48"/>
                  <a:gd name="T3" fmla="*/ 20 h 57"/>
                  <a:gd name="T4" fmla="*/ 24 w 48"/>
                  <a:gd name="T5" fmla="*/ 0 h 57"/>
                  <a:gd name="T6" fmla="*/ 47 w 48"/>
                  <a:gd name="T7" fmla="*/ 25 h 57"/>
                  <a:gd name="T8" fmla="*/ 36 w 48"/>
                  <a:gd name="T9" fmla="*/ 44 h 57"/>
                  <a:gd name="T10" fmla="*/ 35 w 48"/>
                  <a:gd name="T11" fmla="*/ 48 h 57"/>
                  <a:gd name="T12" fmla="*/ 15 w 48"/>
                  <a:gd name="T13" fmla="*/ 57 h 57"/>
                  <a:gd name="T14" fmla="*/ 5 w 48"/>
                  <a:gd name="T15" fmla="*/ 49 h 57"/>
                  <a:gd name="T16" fmla="*/ 1 w 48"/>
                  <a:gd name="T17" fmla="*/ 2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57">
                    <a:moveTo>
                      <a:pt x="1" y="20"/>
                    </a:moveTo>
                    <a:cubicBezTo>
                      <a:pt x="1" y="20"/>
                      <a:pt x="1" y="20"/>
                      <a:pt x="1" y="20"/>
                    </a:cubicBezTo>
                    <a:cubicBezTo>
                      <a:pt x="3" y="9"/>
                      <a:pt x="12" y="0"/>
                      <a:pt x="24" y="0"/>
                    </a:cubicBezTo>
                    <a:cubicBezTo>
                      <a:pt x="37" y="1"/>
                      <a:pt x="48" y="12"/>
                      <a:pt x="47" y="25"/>
                    </a:cubicBezTo>
                    <a:cubicBezTo>
                      <a:pt x="46" y="33"/>
                      <a:pt x="42" y="40"/>
                      <a:pt x="36" y="44"/>
                    </a:cubicBezTo>
                    <a:cubicBezTo>
                      <a:pt x="36" y="44"/>
                      <a:pt x="35" y="47"/>
                      <a:pt x="35" y="48"/>
                    </a:cubicBezTo>
                    <a:cubicBezTo>
                      <a:pt x="30" y="54"/>
                      <a:pt x="19" y="57"/>
                      <a:pt x="15" y="57"/>
                    </a:cubicBezTo>
                    <a:cubicBezTo>
                      <a:pt x="11" y="57"/>
                      <a:pt x="8" y="54"/>
                      <a:pt x="5" y="49"/>
                    </a:cubicBezTo>
                    <a:cubicBezTo>
                      <a:pt x="0" y="38"/>
                      <a:pt x="0" y="26"/>
                      <a:pt x="1" y="20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52BC448A-EED7-4D99-B12C-7B7161D2717E}"/>
                  </a:ext>
                </a:extLst>
              </p:cNvPr>
              <p:cNvSpPr/>
              <p:nvPr/>
            </p:nvSpPr>
            <p:spPr bwMode="auto">
              <a:xfrm>
                <a:off x="4722813" y="1463675"/>
                <a:ext cx="412750" cy="412750"/>
              </a:xfrm>
              <a:custGeom>
                <a:avLst/>
                <a:gdLst>
                  <a:gd name="T0" fmla="*/ 0 w 45"/>
                  <a:gd name="T1" fmla="*/ 12 h 45"/>
                  <a:gd name="T2" fmla="*/ 25 w 45"/>
                  <a:gd name="T3" fmla="*/ 2 h 45"/>
                  <a:gd name="T4" fmla="*/ 44 w 45"/>
                  <a:gd name="T5" fmla="*/ 23 h 45"/>
                  <a:gd name="T6" fmla="*/ 33 w 45"/>
                  <a:gd name="T7" fmla="*/ 45 h 45"/>
                  <a:gd name="T8" fmla="*/ 34 w 45"/>
                  <a:gd name="T9" fmla="*/ 32 h 45"/>
                  <a:gd name="T10" fmla="*/ 32 w 45"/>
                  <a:gd name="T11" fmla="*/ 37 h 45"/>
                  <a:gd name="T12" fmla="*/ 30 w 45"/>
                  <a:gd name="T13" fmla="*/ 33 h 45"/>
                  <a:gd name="T14" fmla="*/ 30 w 45"/>
                  <a:gd name="T15" fmla="*/ 30 h 45"/>
                  <a:gd name="T16" fmla="*/ 28 w 45"/>
                  <a:gd name="T17" fmla="*/ 22 h 45"/>
                  <a:gd name="T18" fmla="*/ 27 w 45"/>
                  <a:gd name="T19" fmla="*/ 14 h 45"/>
                  <a:gd name="T20" fmla="*/ 9 w 45"/>
                  <a:gd name="T21" fmla="*/ 16 h 45"/>
                  <a:gd name="T22" fmla="*/ 0 w 45"/>
                  <a:gd name="T23" fmla="*/ 12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5" h="45">
                    <a:moveTo>
                      <a:pt x="0" y="12"/>
                    </a:moveTo>
                    <a:cubicBezTo>
                      <a:pt x="5" y="4"/>
                      <a:pt x="15" y="0"/>
                      <a:pt x="25" y="2"/>
                    </a:cubicBezTo>
                    <a:cubicBezTo>
                      <a:pt x="35" y="4"/>
                      <a:pt x="43" y="13"/>
                      <a:pt x="44" y="23"/>
                    </a:cubicBezTo>
                    <a:cubicBezTo>
                      <a:pt x="45" y="32"/>
                      <a:pt x="40" y="40"/>
                      <a:pt x="33" y="45"/>
                    </a:cubicBezTo>
                    <a:cubicBezTo>
                      <a:pt x="34" y="44"/>
                      <a:pt x="40" y="34"/>
                      <a:pt x="34" y="32"/>
                    </a:cubicBezTo>
                    <a:cubicBezTo>
                      <a:pt x="33" y="34"/>
                      <a:pt x="32" y="35"/>
                      <a:pt x="32" y="37"/>
                    </a:cubicBezTo>
                    <a:cubicBezTo>
                      <a:pt x="32" y="37"/>
                      <a:pt x="29" y="37"/>
                      <a:pt x="30" y="33"/>
                    </a:cubicBezTo>
                    <a:cubicBezTo>
                      <a:pt x="30" y="32"/>
                      <a:pt x="30" y="31"/>
                      <a:pt x="30" y="30"/>
                    </a:cubicBezTo>
                    <a:cubicBezTo>
                      <a:pt x="31" y="28"/>
                      <a:pt x="30" y="25"/>
                      <a:pt x="28" y="22"/>
                    </a:cubicBezTo>
                    <a:cubicBezTo>
                      <a:pt x="27" y="20"/>
                      <a:pt x="26" y="18"/>
                      <a:pt x="27" y="14"/>
                    </a:cubicBezTo>
                    <a:cubicBezTo>
                      <a:pt x="27" y="14"/>
                      <a:pt x="19" y="18"/>
                      <a:pt x="9" y="16"/>
                    </a:cubicBezTo>
                    <a:cubicBezTo>
                      <a:pt x="4" y="15"/>
                      <a:pt x="2" y="13"/>
                      <a:pt x="0" y="12"/>
                    </a:cubicBezTo>
                    <a:close/>
                  </a:path>
                </a:pathLst>
              </a:custGeom>
              <a:solidFill>
                <a:srgbClr val="FFDE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465B1055-7808-40E2-8CBC-58076E0D172E}"/>
                  </a:ext>
                </a:extLst>
              </p:cNvPr>
              <p:cNvSpPr/>
              <p:nvPr/>
            </p:nvSpPr>
            <p:spPr bwMode="auto">
              <a:xfrm>
                <a:off x="5026026" y="1730375"/>
                <a:ext cx="119063" cy="155575"/>
              </a:xfrm>
              <a:custGeom>
                <a:avLst/>
                <a:gdLst>
                  <a:gd name="T0" fmla="*/ 0 w 13"/>
                  <a:gd name="T1" fmla="*/ 16 h 17"/>
                  <a:gd name="T2" fmla="*/ 3 w 13"/>
                  <a:gd name="T3" fmla="*/ 17 h 17"/>
                  <a:gd name="T4" fmla="*/ 9 w 13"/>
                  <a:gd name="T5" fmla="*/ 4 h 17"/>
                  <a:gd name="T6" fmla="*/ 1 w 13"/>
                  <a:gd name="T7" fmla="*/ 3 h 17"/>
                  <a:gd name="T8" fmla="*/ 0 w 13"/>
                  <a:gd name="T9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7">
                    <a:moveTo>
                      <a:pt x="0" y="16"/>
                    </a:moveTo>
                    <a:cubicBezTo>
                      <a:pt x="0" y="16"/>
                      <a:pt x="1" y="17"/>
                      <a:pt x="3" y="17"/>
                    </a:cubicBezTo>
                    <a:cubicBezTo>
                      <a:pt x="8" y="17"/>
                      <a:pt x="13" y="9"/>
                      <a:pt x="9" y="4"/>
                    </a:cubicBezTo>
                    <a:cubicBezTo>
                      <a:pt x="7" y="0"/>
                      <a:pt x="2" y="1"/>
                      <a:pt x="1" y="3"/>
                    </a:cubicBez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20CDD5B5-49A0-49CB-AF22-DF676E1AEA41}"/>
                  </a:ext>
                </a:extLst>
              </p:cNvPr>
              <p:cNvSpPr/>
              <p:nvPr/>
            </p:nvSpPr>
            <p:spPr bwMode="auto">
              <a:xfrm>
                <a:off x="4622801" y="2538413"/>
                <a:ext cx="550863" cy="495300"/>
              </a:xfrm>
              <a:custGeom>
                <a:avLst/>
                <a:gdLst>
                  <a:gd name="T0" fmla="*/ 47 w 60"/>
                  <a:gd name="T1" fmla="*/ 10 h 54"/>
                  <a:gd name="T2" fmla="*/ 49 w 60"/>
                  <a:gd name="T3" fmla="*/ 21 h 54"/>
                  <a:gd name="T4" fmla="*/ 60 w 60"/>
                  <a:gd name="T5" fmla="*/ 45 h 54"/>
                  <a:gd name="T6" fmla="*/ 41 w 60"/>
                  <a:gd name="T7" fmla="*/ 52 h 54"/>
                  <a:gd name="T8" fmla="*/ 2 w 60"/>
                  <a:gd name="T9" fmla="*/ 28 h 54"/>
                  <a:gd name="T10" fmla="*/ 7 w 60"/>
                  <a:gd name="T11" fmla="*/ 7 h 54"/>
                  <a:gd name="T12" fmla="*/ 47 w 60"/>
                  <a:gd name="T13" fmla="*/ 10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" h="54">
                    <a:moveTo>
                      <a:pt x="47" y="10"/>
                    </a:moveTo>
                    <a:cubicBezTo>
                      <a:pt x="46" y="12"/>
                      <a:pt x="47" y="15"/>
                      <a:pt x="49" y="21"/>
                    </a:cubicBezTo>
                    <a:cubicBezTo>
                      <a:pt x="53" y="28"/>
                      <a:pt x="56" y="35"/>
                      <a:pt x="60" y="45"/>
                    </a:cubicBezTo>
                    <a:cubicBezTo>
                      <a:pt x="59" y="47"/>
                      <a:pt x="56" y="50"/>
                      <a:pt x="41" y="52"/>
                    </a:cubicBezTo>
                    <a:cubicBezTo>
                      <a:pt x="23" y="54"/>
                      <a:pt x="0" y="43"/>
                      <a:pt x="2" y="28"/>
                    </a:cubicBezTo>
                    <a:cubicBezTo>
                      <a:pt x="4" y="21"/>
                      <a:pt x="6" y="15"/>
                      <a:pt x="7" y="7"/>
                    </a:cubicBezTo>
                    <a:cubicBezTo>
                      <a:pt x="8" y="0"/>
                      <a:pt x="47" y="10"/>
                      <a:pt x="47" y="10"/>
                    </a:cubicBezTo>
                    <a:close/>
                  </a:path>
                </a:pathLst>
              </a:custGeom>
              <a:solidFill>
                <a:srgbClr val="F5FBF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71E46E23-D9C5-4107-A64D-542104CAF743}"/>
                  </a:ext>
                </a:extLst>
              </p:cNvPr>
              <p:cNvSpPr/>
              <p:nvPr/>
            </p:nvSpPr>
            <p:spPr bwMode="auto">
              <a:xfrm>
                <a:off x="4649788" y="1446213"/>
                <a:ext cx="431800" cy="311150"/>
              </a:xfrm>
              <a:custGeom>
                <a:avLst/>
                <a:gdLst>
                  <a:gd name="T0" fmla="*/ 47 w 47"/>
                  <a:gd name="T1" fmla="*/ 12 h 34"/>
                  <a:gd name="T2" fmla="*/ 35 w 47"/>
                  <a:gd name="T3" fmla="*/ 2 h 34"/>
                  <a:gd name="T4" fmla="*/ 5 w 47"/>
                  <a:gd name="T5" fmla="*/ 13 h 34"/>
                  <a:gd name="T6" fmla="*/ 2 w 47"/>
                  <a:gd name="T7" fmla="*/ 29 h 34"/>
                  <a:gd name="T8" fmla="*/ 35 w 47"/>
                  <a:gd name="T9" fmla="*/ 16 h 34"/>
                  <a:gd name="T10" fmla="*/ 47 w 47"/>
                  <a:gd name="T11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" h="34">
                    <a:moveTo>
                      <a:pt x="47" y="12"/>
                    </a:moveTo>
                    <a:cubicBezTo>
                      <a:pt x="47" y="12"/>
                      <a:pt x="44" y="4"/>
                      <a:pt x="35" y="2"/>
                    </a:cubicBezTo>
                    <a:cubicBezTo>
                      <a:pt x="27" y="0"/>
                      <a:pt x="13" y="2"/>
                      <a:pt x="5" y="13"/>
                    </a:cubicBezTo>
                    <a:cubicBezTo>
                      <a:pt x="0" y="22"/>
                      <a:pt x="2" y="29"/>
                      <a:pt x="2" y="29"/>
                    </a:cubicBezTo>
                    <a:cubicBezTo>
                      <a:pt x="2" y="29"/>
                      <a:pt x="22" y="34"/>
                      <a:pt x="35" y="16"/>
                    </a:cubicBezTo>
                    <a:lnTo>
                      <a:pt x="47" y="12"/>
                    </a:lnTo>
                    <a:close/>
                  </a:path>
                </a:pathLst>
              </a:custGeom>
              <a:solidFill>
                <a:srgbClr val="FFDE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E462D32A-37D4-4523-A95E-CEC80BC7C12B}"/>
                  </a:ext>
                </a:extLst>
              </p:cNvPr>
              <p:cNvSpPr/>
              <p:nvPr/>
            </p:nvSpPr>
            <p:spPr bwMode="auto">
              <a:xfrm>
                <a:off x="4970463" y="1417638"/>
                <a:ext cx="211138" cy="193675"/>
              </a:xfrm>
              <a:custGeom>
                <a:avLst/>
                <a:gdLst>
                  <a:gd name="T0" fmla="*/ 20 w 23"/>
                  <a:gd name="T1" fmla="*/ 16 h 21"/>
                  <a:gd name="T2" fmla="*/ 7 w 23"/>
                  <a:gd name="T3" fmla="*/ 18 h 21"/>
                  <a:gd name="T4" fmla="*/ 3 w 23"/>
                  <a:gd name="T5" fmla="*/ 5 h 21"/>
                  <a:gd name="T6" fmla="*/ 17 w 23"/>
                  <a:gd name="T7" fmla="*/ 3 h 21"/>
                  <a:gd name="T8" fmla="*/ 20 w 23"/>
                  <a:gd name="T9" fmla="*/ 1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1">
                    <a:moveTo>
                      <a:pt x="20" y="16"/>
                    </a:moveTo>
                    <a:cubicBezTo>
                      <a:pt x="17" y="20"/>
                      <a:pt x="11" y="21"/>
                      <a:pt x="7" y="18"/>
                    </a:cubicBezTo>
                    <a:cubicBezTo>
                      <a:pt x="2" y="15"/>
                      <a:pt x="0" y="9"/>
                      <a:pt x="3" y="5"/>
                    </a:cubicBezTo>
                    <a:cubicBezTo>
                      <a:pt x="6" y="1"/>
                      <a:pt x="12" y="0"/>
                      <a:pt x="17" y="3"/>
                    </a:cubicBezTo>
                    <a:cubicBezTo>
                      <a:pt x="21" y="6"/>
                      <a:pt x="23" y="12"/>
                      <a:pt x="20" y="16"/>
                    </a:cubicBezTo>
                    <a:close/>
                  </a:path>
                </a:pathLst>
              </a:custGeom>
              <a:solidFill>
                <a:srgbClr val="FFDE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4F205F21-A1A4-4947-9425-DF6624FCCC1E}"/>
                  </a:ext>
                </a:extLst>
              </p:cNvPr>
              <p:cNvSpPr/>
              <p:nvPr/>
            </p:nvSpPr>
            <p:spPr bwMode="auto">
              <a:xfrm>
                <a:off x="4668838" y="1381125"/>
                <a:ext cx="211138" cy="193675"/>
              </a:xfrm>
              <a:custGeom>
                <a:avLst/>
                <a:gdLst>
                  <a:gd name="T0" fmla="*/ 21 w 23"/>
                  <a:gd name="T1" fmla="*/ 7 h 21"/>
                  <a:gd name="T2" fmla="*/ 15 w 23"/>
                  <a:gd name="T3" fmla="*/ 18 h 21"/>
                  <a:gd name="T4" fmla="*/ 2 w 23"/>
                  <a:gd name="T5" fmla="*/ 14 h 21"/>
                  <a:gd name="T6" fmla="*/ 8 w 23"/>
                  <a:gd name="T7" fmla="*/ 2 h 21"/>
                  <a:gd name="T8" fmla="*/ 21 w 23"/>
                  <a:gd name="T9" fmla="*/ 7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1">
                    <a:moveTo>
                      <a:pt x="21" y="7"/>
                    </a:moveTo>
                    <a:cubicBezTo>
                      <a:pt x="23" y="11"/>
                      <a:pt x="20" y="16"/>
                      <a:pt x="15" y="18"/>
                    </a:cubicBezTo>
                    <a:cubicBezTo>
                      <a:pt x="9" y="21"/>
                      <a:pt x="4" y="19"/>
                      <a:pt x="2" y="14"/>
                    </a:cubicBezTo>
                    <a:cubicBezTo>
                      <a:pt x="0" y="10"/>
                      <a:pt x="3" y="4"/>
                      <a:pt x="8" y="2"/>
                    </a:cubicBezTo>
                    <a:cubicBezTo>
                      <a:pt x="13" y="0"/>
                      <a:pt x="19" y="2"/>
                      <a:pt x="21" y="7"/>
                    </a:cubicBezTo>
                    <a:close/>
                  </a:path>
                </a:pathLst>
              </a:custGeom>
              <a:solidFill>
                <a:srgbClr val="FFDE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3142F163-1A00-495D-9ECA-AE875F8345FB}"/>
                  </a:ext>
                </a:extLst>
              </p:cNvPr>
              <p:cNvSpPr/>
              <p:nvPr/>
            </p:nvSpPr>
            <p:spPr bwMode="auto">
              <a:xfrm>
                <a:off x="4916488" y="2060575"/>
                <a:ext cx="293688" cy="1046163"/>
              </a:xfrm>
              <a:custGeom>
                <a:avLst/>
                <a:gdLst>
                  <a:gd name="T0" fmla="*/ 12 w 32"/>
                  <a:gd name="T1" fmla="*/ 0 h 114"/>
                  <a:gd name="T2" fmla="*/ 2 w 32"/>
                  <a:gd name="T3" fmla="*/ 24 h 114"/>
                  <a:gd name="T4" fmla="*/ 2 w 32"/>
                  <a:gd name="T5" fmla="*/ 70 h 114"/>
                  <a:gd name="T6" fmla="*/ 6 w 32"/>
                  <a:gd name="T7" fmla="*/ 112 h 114"/>
                  <a:gd name="T8" fmla="*/ 21 w 32"/>
                  <a:gd name="T9" fmla="*/ 111 h 114"/>
                  <a:gd name="T10" fmla="*/ 31 w 32"/>
                  <a:gd name="T11" fmla="*/ 101 h 114"/>
                  <a:gd name="T12" fmla="*/ 22 w 32"/>
                  <a:gd name="T13" fmla="*/ 77 h 114"/>
                  <a:gd name="T14" fmla="*/ 28 w 32"/>
                  <a:gd name="T15" fmla="*/ 38 h 114"/>
                  <a:gd name="T16" fmla="*/ 26 w 32"/>
                  <a:gd name="T17" fmla="*/ 5 h 114"/>
                  <a:gd name="T18" fmla="*/ 12 w 32"/>
                  <a:gd name="T19" fmla="*/ 0 h 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2" h="114">
                    <a:moveTo>
                      <a:pt x="12" y="0"/>
                    </a:moveTo>
                    <a:cubicBezTo>
                      <a:pt x="12" y="4"/>
                      <a:pt x="4" y="14"/>
                      <a:pt x="2" y="24"/>
                    </a:cubicBezTo>
                    <a:cubicBezTo>
                      <a:pt x="0" y="35"/>
                      <a:pt x="0" y="56"/>
                      <a:pt x="2" y="70"/>
                    </a:cubicBezTo>
                    <a:cubicBezTo>
                      <a:pt x="4" y="84"/>
                      <a:pt x="7" y="106"/>
                      <a:pt x="6" y="112"/>
                    </a:cubicBezTo>
                    <a:cubicBezTo>
                      <a:pt x="6" y="112"/>
                      <a:pt x="13" y="114"/>
                      <a:pt x="21" y="111"/>
                    </a:cubicBezTo>
                    <a:cubicBezTo>
                      <a:pt x="29" y="108"/>
                      <a:pt x="31" y="101"/>
                      <a:pt x="31" y="101"/>
                    </a:cubicBezTo>
                    <a:cubicBezTo>
                      <a:pt x="31" y="101"/>
                      <a:pt x="27" y="88"/>
                      <a:pt x="22" y="77"/>
                    </a:cubicBezTo>
                    <a:cubicBezTo>
                      <a:pt x="17" y="65"/>
                      <a:pt x="24" y="52"/>
                      <a:pt x="28" y="38"/>
                    </a:cubicBezTo>
                    <a:cubicBezTo>
                      <a:pt x="32" y="25"/>
                      <a:pt x="30" y="8"/>
                      <a:pt x="26" y="5"/>
                    </a:cubicBezTo>
                    <a:cubicBezTo>
                      <a:pt x="22" y="1"/>
                      <a:pt x="12" y="0"/>
                      <a:pt x="12" y="0"/>
                    </a:cubicBezTo>
                    <a:close/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BFC46DFF-C295-4FB6-AC33-BB21B61438F7}"/>
                  </a:ext>
                </a:extLst>
              </p:cNvPr>
              <p:cNvSpPr/>
              <p:nvPr/>
            </p:nvSpPr>
            <p:spPr bwMode="auto">
              <a:xfrm>
                <a:off x="4622801" y="2014538"/>
                <a:ext cx="201613" cy="201613"/>
              </a:xfrm>
              <a:custGeom>
                <a:avLst/>
                <a:gdLst>
                  <a:gd name="T0" fmla="*/ 22 w 22"/>
                  <a:gd name="T1" fmla="*/ 0 h 22"/>
                  <a:gd name="T2" fmla="*/ 7 w 22"/>
                  <a:gd name="T3" fmla="*/ 13 h 22"/>
                  <a:gd name="T4" fmla="*/ 0 w 22"/>
                  <a:gd name="T5" fmla="*/ 22 h 22"/>
                  <a:gd name="T6" fmla="*/ 11 w 22"/>
                  <a:gd name="T7" fmla="*/ 3 h 22"/>
                  <a:gd name="T8" fmla="*/ 22 w 22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" h="22">
                    <a:moveTo>
                      <a:pt x="22" y="0"/>
                    </a:moveTo>
                    <a:cubicBezTo>
                      <a:pt x="18" y="3"/>
                      <a:pt x="11" y="8"/>
                      <a:pt x="7" y="13"/>
                    </a:cubicBezTo>
                    <a:cubicBezTo>
                      <a:pt x="4" y="16"/>
                      <a:pt x="0" y="22"/>
                      <a:pt x="0" y="22"/>
                    </a:cubicBezTo>
                    <a:cubicBezTo>
                      <a:pt x="0" y="22"/>
                      <a:pt x="6" y="7"/>
                      <a:pt x="11" y="3"/>
                    </a:cubicBezTo>
                    <a:cubicBezTo>
                      <a:pt x="15" y="0"/>
                      <a:pt x="22" y="0"/>
                      <a:pt x="22" y="0"/>
                    </a:cubicBezTo>
                  </a:path>
                </a:pathLst>
              </a:custGeom>
              <a:solidFill>
                <a:srgbClr val="E9437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39" name="任意多边形: 形状 138">
                <a:extLst>
                  <a:ext uri="{FF2B5EF4-FFF2-40B4-BE49-F238E27FC236}">
                    <a16:creationId xmlns:a16="http://schemas.microsoft.com/office/drawing/2014/main" id="{84183E89-B59C-4FD1-89F4-F087AC601EA4}"/>
                  </a:ext>
                </a:extLst>
              </p:cNvPr>
              <p:cNvSpPr/>
              <p:nvPr/>
            </p:nvSpPr>
            <p:spPr bwMode="auto">
              <a:xfrm>
                <a:off x="4043363" y="2759075"/>
                <a:ext cx="762000" cy="303213"/>
              </a:xfrm>
              <a:custGeom>
                <a:avLst/>
                <a:gdLst>
                  <a:gd name="T0" fmla="*/ 12 w 480"/>
                  <a:gd name="T1" fmla="*/ 191 h 191"/>
                  <a:gd name="T2" fmla="*/ 0 w 480"/>
                  <a:gd name="T3" fmla="*/ 185 h 191"/>
                  <a:gd name="T4" fmla="*/ 162 w 480"/>
                  <a:gd name="T5" fmla="*/ 0 h 191"/>
                  <a:gd name="T6" fmla="*/ 469 w 480"/>
                  <a:gd name="T7" fmla="*/ 173 h 191"/>
                  <a:gd name="T8" fmla="*/ 480 w 480"/>
                  <a:gd name="T9" fmla="*/ 191 h 191"/>
                  <a:gd name="T10" fmla="*/ 12 w 480"/>
                  <a:gd name="T11" fmla="*/ 191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80" h="191">
                    <a:moveTo>
                      <a:pt x="12" y="191"/>
                    </a:moveTo>
                    <a:lnTo>
                      <a:pt x="0" y="185"/>
                    </a:lnTo>
                    <a:lnTo>
                      <a:pt x="162" y="0"/>
                    </a:lnTo>
                    <a:lnTo>
                      <a:pt x="469" y="173"/>
                    </a:lnTo>
                    <a:lnTo>
                      <a:pt x="480" y="191"/>
                    </a:lnTo>
                    <a:lnTo>
                      <a:pt x="12" y="191"/>
                    </a:lnTo>
                    <a:close/>
                  </a:path>
                </a:pathLst>
              </a:custGeom>
              <a:solidFill>
                <a:srgbClr val="FF66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0" name="任意多边形: 形状 139">
                <a:extLst>
                  <a:ext uri="{FF2B5EF4-FFF2-40B4-BE49-F238E27FC236}">
                    <a16:creationId xmlns:a16="http://schemas.microsoft.com/office/drawing/2014/main" id="{DE99F3FD-EF7E-4D6C-AA96-D21D69385C43}"/>
                  </a:ext>
                </a:extLst>
              </p:cNvPr>
              <p:cNvSpPr/>
              <p:nvPr/>
            </p:nvSpPr>
            <p:spPr bwMode="auto">
              <a:xfrm>
                <a:off x="4062413" y="2776538"/>
                <a:ext cx="742950" cy="504825"/>
              </a:xfrm>
              <a:custGeom>
                <a:avLst/>
                <a:gdLst>
                  <a:gd name="T0" fmla="*/ 468 w 468"/>
                  <a:gd name="T1" fmla="*/ 180 h 318"/>
                  <a:gd name="T2" fmla="*/ 156 w 468"/>
                  <a:gd name="T3" fmla="*/ 0 h 318"/>
                  <a:gd name="T4" fmla="*/ 0 w 468"/>
                  <a:gd name="T5" fmla="*/ 180 h 318"/>
                  <a:gd name="T6" fmla="*/ 295 w 468"/>
                  <a:gd name="T7" fmla="*/ 318 h 318"/>
                  <a:gd name="T8" fmla="*/ 468 w 468"/>
                  <a:gd name="T9" fmla="*/ 1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8" h="318">
                    <a:moveTo>
                      <a:pt x="468" y="180"/>
                    </a:moveTo>
                    <a:lnTo>
                      <a:pt x="156" y="0"/>
                    </a:lnTo>
                    <a:lnTo>
                      <a:pt x="0" y="180"/>
                    </a:lnTo>
                    <a:lnTo>
                      <a:pt x="295" y="318"/>
                    </a:lnTo>
                    <a:lnTo>
                      <a:pt x="468" y="180"/>
                    </a:lnTo>
                    <a:close/>
                  </a:path>
                </a:pathLst>
              </a:custGeom>
              <a:solidFill>
                <a:srgbClr val="BF28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1" name="任意多边形: 形状 140">
                <a:extLst>
                  <a:ext uri="{FF2B5EF4-FFF2-40B4-BE49-F238E27FC236}">
                    <a16:creationId xmlns:a16="http://schemas.microsoft.com/office/drawing/2014/main" id="{4AFA6056-223F-4E42-B0BA-0B2D9A2BEB98}"/>
                  </a:ext>
                </a:extLst>
              </p:cNvPr>
              <p:cNvSpPr/>
              <p:nvPr/>
            </p:nvSpPr>
            <p:spPr bwMode="auto">
              <a:xfrm>
                <a:off x="3979863" y="2647950"/>
                <a:ext cx="82550" cy="414338"/>
              </a:xfrm>
              <a:custGeom>
                <a:avLst/>
                <a:gdLst>
                  <a:gd name="T0" fmla="*/ 9 w 9"/>
                  <a:gd name="T1" fmla="*/ 45 h 45"/>
                  <a:gd name="T2" fmla="*/ 3 w 9"/>
                  <a:gd name="T3" fmla="*/ 42 h 45"/>
                  <a:gd name="T4" fmla="*/ 1 w 9"/>
                  <a:gd name="T5" fmla="*/ 38 h 45"/>
                  <a:gd name="T6" fmla="*/ 0 w 9"/>
                  <a:gd name="T7" fmla="*/ 1 h 45"/>
                  <a:gd name="T8" fmla="*/ 2 w 9"/>
                  <a:gd name="T9" fmla="*/ 0 h 45"/>
                  <a:gd name="T10" fmla="*/ 3 w 9"/>
                  <a:gd name="T11" fmla="*/ 40 h 45"/>
                  <a:gd name="T12" fmla="*/ 9 w 9"/>
                  <a:gd name="T13" fmla="*/ 43 h 45"/>
                  <a:gd name="T14" fmla="*/ 9 w 9"/>
                  <a:gd name="T15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45">
                    <a:moveTo>
                      <a:pt x="9" y="45"/>
                    </a:moveTo>
                    <a:cubicBezTo>
                      <a:pt x="3" y="42"/>
                      <a:pt x="3" y="42"/>
                      <a:pt x="3" y="42"/>
                    </a:cubicBezTo>
                    <a:cubicBezTo>
                      <a:pt x="2" y="41"/>
                      <a:pt x="1" y="40"/>
                      <a:pt x="1" y="38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3" y="40"/>
                      <a:pt x="3" y="40"/>
                      <a:pt x="3" y="40"/>
                    </a:cubicBezTo>
                    <a:cubicBezTo>
                      <a:pt x="9" y="43"/>
                      <a:pt x="9" y="43"/>
                      <a:pt x="9" y="43"/>
                    </a:cubicBezTo>
                    <a:lnTo>
                      <a:pt x="9" y="45"/>
                    </a:lnTo>
                    <a:close/>
                  </a:path>
                </a:pathLst>
              </a:custGeom>
              <a:solidFill>
                <a:srgbClr val="FF66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2" name="任意多边形: 形状 141">
                <a:extLst>
                  <a:ext uri="{FF2B5EF4-FFF2-40B4-BE49-F238E27FC236}">
                    <a16:creationId xmlns:a16="http://schemas.microsoft.com/office/drawing/2014/main" id="{B4715335-320C-4762-AAAC-88FD3F7DF1F6}"/>
                  </a:ext>
                </a:extLst>
              </p:cNvPr>
              <p:cNvSpPr/>
              <p:nvPr/>
            </p:nvSpPr>
            <p:spPr bwMode="auto">
              <a:xfrm>
                <a:off x="3997326" y="2647950"/>
                <a:ext cx="266700" cy="395288"/>
              </a:xfrm>
              <a:custGeom>
                <a:avLst/>
                <a:gdLst>
                  <a:gd name="T0" fmla="*/ 0 w 168"/>
                  <a:gd name="T1" fmla="*/ 0 h 249"/>
                  <a:gd name="T2" fmla="*/ 168 w 168"/>
                  <a:gd name="T3" fmla="*/ 99 h 249"/>
                  <a:gd name="T4" fmla="*/ 35 w 168"/>
                  <a:gd name="T5" fmla="*/ 249 h 249"/>
                  <a:gd name="T6" fmla="*/ 6 w 168"/>
                  <a:gd name="T7" fmla="*/ 232 h 249"/>
                  <a:gd name="T8" fmla="*/ 0 w 168"/>
                  <a:gd name="T9" fmla="*/ 0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249">
                    <a:moveTo>
                      <a:pt x="0" y="0"/>
                    </a:moveTo>
                    <a:lnTo>
                      <a:pt x="168" y="99"/>
                    </a:lnTo>
                    <a:lnTo>
                      <a:pt x="35" y="249"/>
                    </a:lnTo>
                    <a:lnTo>
                      <a:pt x="6" y="2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478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3" name="任意多边形: 形状 142">
                <a:extLst>
                  <a:ext uri="{FF2B5EF4-FFF2-40B4-BE49-F238E27FC236}">
                    <a16:creationId xmlns:a16="http://schemas.microsoft.com/office/drawing/2014/main" id="{322BE499-4CCD-4BAC-A48F-68E58F45A36E}"/>
                  </a:ext>
                </a:extLst>
              </p:cNvPr>
              <p:cNvSpPr/>
              <p:nvPr/>
            </p:nvSpPr>
            <p:spPr bwMode="auto">
              <a:xfrm>
                <a:off x="4006851" y="2684463"/>
                <a:ext cx="193675" cy="349250"/>
              </a:xfrm>
              <a:custGeom>
                <a:avLst/>
                <a:gdLst>
                  <a:gd name="T0" fmla="*/ 0 w 122"/>
                  <a:gd name="T1" fmla="*/ 0 h 220"/>
                  <a:gd name="T2" fmla="*/ 6 w 122"/>
                  <a:gd name="T3" fmla="*/ 203 h 220"/>
                  <a:gd name="T4" fmla="*/ 35 w 122"/>
                  <a:gd name="T5" fmla="*/ 220 h 220"/>
                  <a:gd name="T6" fmla="*/ 122 w 122"/>
                  <a:gd name="T7" fmla="*/ 116 h 220"/>
                  <a:gd name="T8" fmla="*/ 0 w 122"/>
                  <a:gd name="T9" fmla="*/ 0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220">
                    <a:moveTo>
                      <a:pt x="0" y="0"/>
                    </a:moveTo>
                    <a:lnTo>
                      <a:pt x="6" y="203"/>
                    </a:lnTo>
                    <a:lnTo>
                      <a:pt x="35" y="220"/>
                    </a:lnTo>
                    <a:lnTo>
                      <a:pt x="122" y="1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FE2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4" name="任意多边形: 形状 143">
                <a:extLst>
                  <a:ext uri="{FF2B5EF4-FFF2-40B4-BE49-F238E27FC236}">
                    <a16:creationId xmlns:a16="http://schemas.microsoft.com/office/drawing/2014/main" id="{441F5A0F-F5FF-4BF0-B3E9-DCC4304787F7}"/>
                  </a:ext>
                </a:extLst>
              </p:cNvPr>
              <p:cNvSpPr/>
              <p:nvPr/>
            </p:nvSpPr>
            <p:spPr bwMode="auto">
              <a:xfrm>
                <a:off x="4006851" y="2684463"/>
                <a:ext cx="238125" cy="312738"/>
              </a:xfrm>
              <a:custGeom>
                <a:avLst/>
                <a:gdLst>
                  <a:gd name="T0" fmla="*/ 4 w 26"/>
                  <a:gd name="T1" fmla="*/ 34 h 34"/>
                  <a:gd name="T2" fmla="*/ 4 w 26"/>
                  <a:gd name="T3" fmla="*/ 15 h 34"/>
                  <a:gd name="T4" fmla="*/ 0 w 26"/>
                  <a:gd name="T5" fmla="*/ 0 h 34"/>
                  <a:gd name="T6" fmla="*/ 26 w 26"/>
                  <a:gd name="T7" fmla="*/ 15 h 34"/>
                  <a:gd name="T8" fmla="*/ 21 w 26"/>
                  <a:gd name="T9" fmla="*/ 20 h 34"/>
                  <a:gd name="T10" fmla="*/ 4 w 26"/>
                  <a:gd name="T11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6" h="34">
                    <a:moveTo>
                      <a:pt x="4" y="34"/>
                    </a:moveTo>
                    <a:cubicBezTo>
                      <a:pt x="4" y="34"/>
                      <a:pt x="7" y="25"/>
                      <a:pt x="4" y="15"/>
                    </a:cubicBezTo>
                    <a:cubicBezTo>
                      <a:pt x="1" y="5"/>
                      <a:pt x="0" y="0"/>
                      <a:pt x="0" y="0"/>
                    </a:cubicBezTo>
                    <a:cubicBezTo>
                      <a:pt x="26" y="15"/>
                      <a:pt x="26" y="15"/>
                      <a:pt x="26" y="15"/>
                    </a:cubicBezTo>
                    <a:cubicBezTo>
                      <a:pt x="21" y="20"/>
                      <a:pt x="21" y="20"/>
                      <a:pt x="21" y="20"/>
                    </a:cubicBezTo>
                    <a:cubicBezTo>
                      <a:pt x="9" y="27"/>
                      <a:pt x="6" y="31"/>
                      <a:pt x="4" y="34"/>
                    </a:cubicBezTo>
                    <a:close/>
                  </a:path>
                </a:pathLst>
              </a:custGeom>
              <a:solidFill>
                <a:srgbClr val="FBFB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5" name="任意多边形: 形状 144">
                <a:extLst>
                  <a:ext uri="{FF2B5EF4-FFF2-40B4-BE49-F238E27FC236}">
                    <a16:creationId xmlns:a16="http://schemas.microsoft.com/office/drawing/2014/main" id="{BA94A467-7D79-49BE-B86D-D3CD27B54067}"/>
                  </a:ext>
                </a:extLst>
              </p:cNvPr>
              <p:cNvSpPr/>
              <p:nvPr/>
            </p:nvSpPr>
            <p:spPr bwMode="auto">
              <a:xfrm>
                <a:off x="4475163" y="2087563"/>
                <a:ext cx="698500" cy="1222375"/>
              </a:xfrm>
              <a:custGeom>
                <a:avLst/>
                <a:gdLst>
                  <a:gd name="T0" fmla="*/ 9 w 76"/>
                  <a:gd name="T1" fmla="*/ 108 h 133"/>
                  <a:gd name="T2" fmla="*/ 18 w 76"/>
                  <a:gd name="T3" fmla="*/ 106 h 133"/>
                  <a:gd name="T4" fmla="*/ 28 w 76"/>
                  <a:gd name="T5" fmla="*/ 104 h 133"/>
                  <a:gd name="T6" fmla="*/ 44 w 76"/>
                  <a:gd name="T7" fmla="*/ 86 h 133"/>
                  <a:gd name="T8" fmla="*/ 57 w 76"/>
                  <a:gd name="T9" fmla="*/ 56 h 133"/>
                  <a:gd name="T10" fmla="*/ 60 w 76"/>
                  <a:gd name="T11" fmla="*/ 15 h 133"/>
                  <a:gd name="T12" fmla="*/ 68 w 76"/>
                  <a:gd name="T13" fmla="*/ 2 h 133"/>
                  <a:gd name="T14" fmla="*/ 76 w 76"/>
                  <a:gd name="T15" fmla="*/ 13 h 133"/>
                  <a:gd name="T16" fmla="*/ 71 w 76"/>
                  <a:gd name="T17" fmla="*/ 60 h 133"/>
                  <a:gd name="T18" fmla="*/ 57 w 76"/>
                  <a:gd name="T19" fmla="*/ 91 h 133"/>
                  <a:gd name="T20" fmla="*/ 37 w 76"/>
                  <a:gd name="T21" fmla="*/ 113 h 133"/>
                  <a:gd name="T22" fmla="*/ 30 w 76"/>
                  <a:gd name="T23" fmla="*/ 121 h 133"/>
                  <a:gd name="T24" fmla="*/ 17 w 76"/>
                  <a:gd name="T25" fmla="*/ 131 h 133"/>
                  <a:gd name="T26" fmla="*/ 10 w 76"/>
                  <a:gd name="T27" fmla="*/ 132 h 133"/>
                  <a:gd name="T28" fmla="*/ 12 w 76"/>
                  <a:gd name="T29" fmla="*/ 129 h 133"/>
                  <a:gd name="T30" fmla="*/ 20 w 76"/>
                  <a:gd name="T31" fmla="*/ 123 h 133"/>
                  <a:gd name="T32" fmla="*/ 13 w 76"/>
                  <a:gd name="T33" fmla="*/ 127 h 133"/>
                  <a:gd name="T34" fmla="*/ 6 w 76"/>
                  <a:gd name="T35" fmla="*/ 129 h 133"/>
                  <a:gd name="T36" fmla="*/ 3 w 76"/>
                  <a:gd name="T37" fmla="*/ 125 h 133"/>
                  <a:gd name="T38" fmla="*/ 11 w 76"/>
                  <a:gd name="T39" fmla="*/ 122 h 133"/>
                  <a:gd name="T40" fmla="*/ 17 w 76"/>
                  <a:gd name="T41" fmla="*/ 119 h 133"/>
                  <a:gd name="T42" fmla="*/ 9 w 76"/>
                  <a:gd name="T43" fmla="*/ 121 h 133"/>
                  <a:gd name="T44" fmla="*/ 2 w 76"/>
                  <a:gd name="T45" fmla="*/ 121 h 133"/>
                  <a:gd name="T46" fmla="*/ 2 w 76"/>
                  <a:gd name="T47" fmla="*/ 118 h 133"/>
                  <a:gd name="T48" fmla="*/ 12 w 76"/>
                  <a:gd name="T49" fmla="*/ 115 h 133"/>
                  <a:gd name="T50" fmla="*/ 16 w 76"/>
                  <a:gd name="T51" fmla="*/ 112 h 133"/>
                  <a:gd name="T52" fmla="*/ 11 w 76"/>
                  <a:gd name="T53" fmla="*/ 112 h 133"/>
                  <a:gd name="T54" fmla="*/ 6 w 76"/>
                  <a:gd name="T55" fmla="*/ 109 h 133"/>
                  <a:gd name="T56" fmla="*/ 9 w 76"/>
                  <a:gd name="T57" fmla="*/ 108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6" h="133">
                    <a:moveTo>
                      <a:pt x="9" y="108"/>
                    </a:moveTo>
                    <a:cubicBezTo>
                      <a:pt x="12" y="107"/>
                      <a:pt x="14" y="106"/>
                      <a:pt x="18" y="106"/>
                    </a:cubicBezTo>
                    <a:cubicBezTo>
                      <a:pt x="22" y="105"/>
                      <a:pt x="25" y="105"/>
                      <a:pt x="28" y="104"/>
                    </a:cubicBezTo>
                    <a:cubicBezTo>
                      <a:pt x="31" y="102"/>
                      <a:pt x="38" y="95"/>
                      <a:pt x="44" y="86"/>
                    </a:cubicBezTo>
                    <a:cubicBezTo>
                      <a:pt x="51" y="77"/>
                      <a:pt x="56" y="62"/>
                      <a:pt x="57" y="56"/>
                    </a:cubicBezTo>
                    <a:cubicBezTo>
                      <a:pt x="60" y="42"/>
                      <a:pt x="60" y="22"/>
                      <a:pt x="60" y="15"/>
                    </a:cubicBezTo>
                    <a:cubicBezTo>
                      <a:pt x="60" y="7"/>
                      <a:pt x="64" y="4"/>
                      <a:pt x="68" y="2"/>
                    </a:cubicBezTo>
                    <a:cubicBezTo>
                      <a:pt x="73" y="0"/>
                      <a:pt x="76" y="2"/>
                      <a:pt x="76" y="13"/>
                    </a:cubicBezTo>
                    <a:cubicBezTo>
                      <a:pt x="76" y="24"/>
                      <a:pt x="75" y="45"/>
                      <a:pt x="71" y="60"/>
                    </a:cubicBezTo>
                    <a:cubicBezTo>
                      <a:pt x="69" y="67"/>
                      <a:pt x="65" y="78"/>
                      <a:pt x="57" y="91"/>
                    </a:cubicBezTo>
                    <a:cubicBezTo>
                      <a:pt x="51" y="99"/>
                      <a:pt x="45" y="106"/>
                      <a:pt x="37" y="113"/>
                    </a:cubicBezTo>
                    <a:cubicBezTo>
                      <a:pt x="35" y="115"/>
                      <a:pt x="34" y="117"/>
                      <a:pt x="30" y="121"/>
                    </a:cubicBezTo>
                    <a:cubicBezTo>
                      <a:pt x="26" y="125"/>
                      <a:pt x="21" y="129"/>
                      <a:pt x="17" y="131"/>
                    </a:cubicBezTo>
                    <a:cubicBezTo>
                      <a:pt x="12" y="133"/>
                      <a:pt x="11" y="132"/>
                      <a:pt x="10" y="132"/>
                    </a:cubicBezTo>
                    <a:cubicBezTo>
                      <a:pt x="9" y="131"/>
                      <a:pt x="10" y="130"/>
                      <a:pt x="12" y="129"/>
                    </a:cubicBezTo>
                    <a:cubicBezTo>
                      <a:pt x="13" y="128"/>
                      <a:pt x="17" y="126"/>
                      <a:pt x="20" y="123"/>
                    </a:cubicBezTo>
                    <a:cubicBezTo>
                      <a:pt x="20" y="123"/>
                      <a:pt x="16" y="126"/>
                      <a:pt x="13" y="127"/>
                    </a:cubicBezTo>
                    <a:cubicBezTo>
                      <a:pt x="11" y="128"/>
                      <a:pt x="8" y="128"/>
                      <a:pt x="6" y="129"/>
                    </a:cubicBezTo>
                    <a:cubicBezTo>
                      <a:pt x="4" y="129"/>
                      <a:pt x="1" y="126"/>
                      <a:pt x="3" y="125"/>
                    </a:cubicBezTo>
                    <a:cubicBezTo>
                      <a:pt x="5" y="124"/>
                      <a:pt x="7" y="124"/>
                      <a:pt x="11" y="122"/>
                    </a:cubicBezTo>
                    <a:cubicBezTo>
                      <a:pt x="14" y="121"/>
                      <a:pt x="17" y="119"/>
                      <a:pt x="17" y="119"/>
                    </a:cubicBezTo>
                    <a:cubicBezTo>
                      <a:pt x="17" y="119"/>
                      <a:pt x="12" y="121"/>
                      <a:pt x="9" y="121"/>
                    </a:cubicBezTo>
                    <a:cubicBezTo>
                      <a:pt x="5" y="122"/>
                      <a:pt x="3" y="122"/>
                      <a:pt x="2" y="121"/>
                    </a:cubicBezTo>
                    <a:cubicBezTo>
                      <a:pt x="1" y="121"/>
                      <a:pt x="0" y="119"/>
                      <a:pt x="2" y="118"/>
                    </a:cubicBezTo>
                    <a:cubicBezTo>
                      <a:pt x="5" y="117"/>
                      <a:pt x="8" y="117"/>
                      <a:pt x="12" y="115"/>
                    </a:cubicBezTo>
                    <a:cubicBezTo>
                      <a:pt x="15" y="113"/>
                      <a:pt x="17" y="112"/>
                      <a:pt x="16" y="112"/>
                    </a:cubicBezTo>
                    <a:cubicBezTo>
                      <a:pt x="16" y="111"/>
                      <a:pt x="14" y="112"/>
                      <a:pt x="11" y="112"/>
                    </a:cubicBezTo>
                    <a:cubicBezTo>
                      <a:pt x="8" y="112"/>
                      <a:pt x="5" y="111"/>
                      <a:pt x="6" y="109"/>
                    </a:cubicBezTo>
                    <a:cubicBezTo>
                      <a:pt x="6" y="108"/>
                      <a:pt x="6" y="108"/>
                      <a:pt x="9" y="108"/>
                    </a:cubicBezTo>
                    <a:close/>
                  </a:path>
                </a:pathLst>
              </a:custGeom>
              <a:solidFill>
                <a:srgbClr val="FFA8A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146" name="任意多边形: 形状 145">
                <a:extLst>
                  <a:ext uri="{FF2B5EF4-FFF2-40B4-BE49-F238E27FC236}">
                    <a16:creationId xmlns:a16="http://schemas.microsoft.com/office/drawing/2014/main" id="{DD466E45-77E4-4E64-BF4B-907C6D37AD8D}"/>
                  </a:ext>
                </a:extLst>
              </p:cNvPr>
              <p:cNvSpPr/>
              <p:nvPr/>
            </p:nvSpPr>
            <p:spPr bwMode="auto">
              <a:xfrm>
                <a:off x="4979988" y="2097088"/>
                <a:ext cx="220663" cy="579438"/>
              </a:xfrm>
              <a:custGeom>
                <a:avLst/>
                <a:gdLst>
                  <a:gd name="T0" fmla="*/ 16 w 24"/>
                  <a:gd name="T1" fmla="*/ 0 h 63"/>
                  <a:gd name="T2" fmla="*/ 5 w 24"/>
                  <a:gd name="T3" fmla="*/ 8 h 63"/>
                  <a:gd name="T4" fmla="*/ 1 w 24"/>
                  <a:gd name="T5" fmla="*/ 50 h 63"/>
                  <a:gd name="T6" fmla="*/ 0 w 24"/>
                  <a:gd name="T7" fmla="*/ 56 h 63"/>
                  <a:gd name="T8" fmla="*/ 18 w 24"/>
                  <a:gd name="T9" fmla="*/ 58 h 63"/>
                  <a:gd name="T10" fmla="*/ 23 w 24"/>
                  <a:gd name="T11" fmla="*/ 19 h 63"/>
                  <a:gd name="T12" fmla="*/ 16 w 24"/>
                  <a:gd name="T13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63">
                    <a:moveTo>
                      <a:pt x="16" y="0"/>
                    </a:moveTo>
                    <a:cubicBezTo>
                      <a:pt x="12" y="0"/>
                      <a:pt x="8" y="2"/>
                      <a:pt x="5" y="8"/>
                    </a:cubicBezTo>
                    <a:cubicBezTo>
                      <a:pt x="2" y="14"/>
                      <a:pt x="3" y="44"/>
                      <a:pt x="1" y="50"/>
                    </a:cubicBezTo>
                    <a:cubicBezTo>
                      <a:pt x="0" y="55"/>
                      <a:pt x="0" y="56"/>
                      <a:pt x="0" y="56"/>
                    </a:cubicBezTo>
                    <a:cubicBezTo>
                      <a:pt x="0" y="56"/>
                      <a:pt x="9" y="63"/>
                      <a:pt x="18" y="58"/>
                    </a:cubicBezTo>
                    <a:cubicBezTo>
                      <a:pt x="18" y="57"/>
                      <a:pt x="24" y="34"/>
                      <a:pt x="23" y="19"/>
                    </a:cubicBezTo>
                    <a:cubicBezTo>
                      <a:pt x="23" y="3"/>
                      <a:pt x="22" y="0"/>
                      <a:pt x="16" y="0"/>
                    </a:cubicBezTo>
                    <a:close/>
                  </a:path>
                </a:pathLst>
              </a:custGeom>
              <a:solidFill>
                <a:srgbClr val="D8306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536A085B-A272-4B3E-969C-9EE04D84F05A}"/>
                </a:ext>
              </a:extLst>
            </p:cNvPr>
            <p:cNvSpPr/>
            <p:nvPr/>
          </p:nvSpPr>
          <p:spPr>
            <a:xfrm>
              <a:off x="3911653" y="2600690"/>
              <a:ext cx="4368695" cy="2184916"/>
            </a:xfrm>
            <a:custGeom>
              <a:avLst/>
              <a:gdLst>
                <a:gd name="connsiteX0" fmla="*/ 2184336 w 4368695"/>
                <a:gd name="connsiteY0" fmla="*/ 0 h 2184916"/>
                <a:gd name="connsiteX1" fmla="*/ 2238431 w 4368695"/>
                <a:gd name="connsiteY1" fmla="*/ 708 h 2184916"/>
                <a:gd name="connsiteX2" fmla="*/ 2238366 w 4368695"/>
                <a:gd name="connsiteY2" fmla="*/ 3340 h 2184916"/>
                <a:gd name="connsiteX3" fmla="*/ 2369596 w 4368695"/>
                <a:gd name="connsiteY3" fmla="*/ 7665 h 2184916"/>
                <a:gd name="connsiteX4" fmla="*/ 4368386 w 4368695"/>
                <a:gd name="connsiteY4" fmla="*/ 2146622 h 2184916"/>
                <a:gd name="connsiteX5" fmla="*/ 4368695 w 4368695"/>
                <a:gd name="connsiteY5" fmla="*/ 2184916 h 2184916"/>
                <a:gd name="connsiteX6" fmla="*/ 4273926 w 4368695"/>
                <a:gd name="connsiteY6" fmla="*/ 2178483 h 2184916"/>
                <a:gd name="connsiteX7" fmla="*/ 2398019 w 4368695"/>
                <a:gd name="connsiteY7" fmla="*/ 99116 h 2184916"/>
                <a:gd name="connsiteX8" fmla="*/ 2236184 w 4368695"/>
                <a:gd name="connsiteY8" fmla="*/ 90942 h 2184916"/>
                <a:gd name="connsiteX9" fmla="*/ 2236151 w 4368695"/>
                <a:gd name="connsiteY9" fmla="*/ 92252 h 2184916"/>
                <a:gd name="connsiteX10" fmla="*/ 92335 w 4368695"/>
                <a:gd name="connsiteY10" fmla="*/ 2133126 h 2184916"/>
                <a:gd name="connsiteX11" fmla="*/ 91610 w 4368695"/>
                <a:gd name="connsiteY11" fmla="*/ 2184916 h 2184916"/>
                <a:gd name="connsiteX12" fmla="*/ 0 w 4368695"/>
                <a:gd name="connsiteY12" fmla="*/ 2184916 h 2184916"/>
                <a:gd name="connsiteX13" fmla="*/ 1961001 w 4368695"/>
                <a:gd name="connsiteY13" fmla="*/ 11281 h 2184916"/>
                <a:gd name="connsiteX14" fmla="*/ 2146132 w 4368695"/>
                <a:gd name="connsiteY14" fmla="*/ 1930 h 2184916"/>
                <a:gd name="connsiteX15" fmla="*/ 2146101 w 4368695"/>
                <a:gd name="connsiteY15" fmla="*/ 299 h 2184916"/>
                <a:gd name="connsiteX16" fmla="*/ 2165654 w 4368695"/>
                <a:gd name="connsiteY16" fmla="*/ 944 h 21849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68695" h="2184916">
                  <a:moveTo>
                    <a:pt x="2184336" y="0"/>
                  </a:moveTo>
                  <a:cubicBezTo>
                    <a:pt x="2202368" y="0"/>
                    <a:pt x="2220399" y="202"/>
                    <a:pt x="2238431" y="708"/>
                  </a:cubicBezTo>
                  <a:lnTo>
                    <a:pt x="2238366" y="3340"/>
                  </a:lnTo>
                  <a:lnTo>
                    <a:pt x="2369596" y="7665"/>
                  </a:lnTo>
                  <a:cubicBezTo>
                    <a:pt x="3472831" y="100237"/>
                    <a:pt x="4348514" y="1015502"/>
                    <a:pt x="4368386" y="2146622"/>
                  </a:cubicBezTo>
                  <a:cubicBezTo>
                    <a:pt x="4368592" y="2159387"/>
                    <a:pt x="4368695" y="2172151"/>
                    <a:pt x="4368695" y="2184916"/>
                  </a:cubicBezTo>
                  <a:lnTo>
                    <a:pt x="4273926" y="2178483"/>
                  </a:lnTo>
                  <a:cubicBezTo>
                    <a:pt x="4273926" y="1096188"/>
                    <a:pt x="3451668" y="206144"/>
                    <a:pt x="2398019" y="99116"/>
                  </a:cubicBezTo>
                  <a:lnTo>
                    <a:pt x="2236184" y="90942"/>
                  </a:lnTo>
                  <a:lnTo>
                    <a:pt x="2236151" y="92252"/>
                  </a:lnTo>
                  <a:cubicBezTo>
                    <a:pt x="1080769" y="63626"/>
                    <a:pt x="120938" y="977345"/>
                    <a:pt x="92335" y="2133126"/>
                  </a:cubicBezTo>
                  <a:cubicBezTo>
                    <a:pt x="91921" y="2150322"/>
                    <a:pt x="91610" y="2167619"/>
                    <a:pt x="91610" y="2184916"/>
                  </a:cubicBezTo>
                  <a:lnTo>
                    <a:pt x="0" y="2184916"/>
                  </a:lnTo>
                  <a:cubicBezTo>
                    <a:pt x="0" y="1053672"/>
                    <a:pt x="859541" y="123174"/>
                    <a:pt x="1961001" y="11281"/>
                  </a:cubicBezTo>
                  <a:lnTo>
                    <a:pt x="2146132" y="1930"/>
                  </a:lnTo>
                  <a:lnTo>
                    <a:pt x="2146101" y="299"/>
                  </a:lnTo>
                  <a:lnTo>
                    <a:pt x="2165654" y="94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 cap="flat">
              <a:noFill/>
              <a:miter lim="400000"/>
            </a:ln>
            <a:effectLst/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48" name="组合 47">
              <a:extLst>
                <a:ext uri="{FF2B5EF4-FFF2-40B4-BE49-F238E27FC236}">
                  <a16:creationId xmlns:a16="http://schemas.microsoft.com/office/drawing/2014/main" id="{4C2C826C-BE16-40CA-BB3A-55256899D78E}"/>
                </a:ext>
              </a:extLst>
            </p:cNvPr>
            <p:cNvGrpSpPr/>
            <p:nvPr/>
          </p:nvGrpSpPr>
          <p:grpSpPr>
            <a:xfrm>
              <a:off x="670719" y="4359089"/>
              <a:ext cx="10850563" cy="1011834"/>
              <a:chOff x="670719" y="4359089"/>
              <a:chExt cx="10850563" cy="1011834"/>
            </a:xfrm>
          </p:grpSpPr>
          <p:sp>
            <p:nvSpPr>
              <p:cNvPr id="62" name="椭圆 61">
                <a:extLst>
                  <a:ext uri="{FF2B5EF4-FFF2-40B4-BE49-F238E27FC236}">
                    <a16:creationId xmlns:a16="http://schemas.microsoft.com/office/drawing/2014/main" id="{AE2FC5C1-D43F-4E05-8034-13F441CF7D51}"/>
                  </a:ext>
                </a:extLst>
              </p:cNvPr>
              <p:cNvSpPr/>
              <p:nvPr/>
            </p:nvSpPr>
            <p:spPr>
              <a:xfrm>
                <a:off x="3531090" y="4359089"/>
                <a:ext cx="853034" cy="853034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01</a:t>
                </a:r>
                <a:endParaRPr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63" name="椭圆 62">
                <a:extLst>
                  <a:ext uri="{FF2B5EF4-FFF2-40B4-BE49-F238E27FC236}">
                    <a16:creationId xmlns:a16="http://schemas.microsoft.com/office/drawing/2014/main" id="{8B7F43FF-DC9B-412E-91D3-40B9BA8E8D63}"/>
                  </a:ext>
                </a:extLst>
              </p:cNvPr>
              <p:cNvSpPr/>
              <p:nvPr/>
            </p:nvSpPr>
            <p:spPr>
              <a:xfrm>
                <a:off x="7798290" y="4359089"/>
                <a:ext cx="853034" cy="853034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05</a:t>
                </a:r>
              </a:p>
            </p:txBody>
          </p:sp>
          <p:grpSp>
            <p:nvGrpSpPr>
              <p:cNvPr id="64" name="组合 63">
                <a:extLst>
                  <a:ext uri="{FF2B5EF4-FFF2-40B4-BE49-F238E27FC236}">
                    <a16:creationId xmlns:a16="http://schemas.microsoft.com/office/drawing/2014/main" id="{4913938B-F139-4911-9111-C34C407AA36C}"/>
                  </a:ext>
                </a:extLst>
              </p:cNvPr>
              <p:cNvGrpSpPr/>
              <p:nvPr/>
            </p:nvGrpSpPr>
            <p:grpSpPr>
              <a:xfrm>
                <a:off x="670719" y="4373696"/>
                <a:ext cx="2697555" cy="997227"/>
                <a:chOff x="936018" y="1428509"/>
                <a:chExt cx="2786817" cy="1030224"/>
              </a:xfrm>
            </p:grpSpPr>
            <p:sp>
              <p:nvSpPr>
                <p:cNvPr id="68" name="矩形 67">
                  <a:extLst>
                    <a:ext uri="{FF2B5EF4-FFF2-40B4-BE49-F238E27FC236}">
                      <a16:creationId xmlns:a16="http://schemas.microsoft.com/office/drawing/2014/main" id="{8A359C5E-DDEF-46EB-9FAA-A3FB300106ED}"/>
                    </a:ext>
                  </a:extLst>
                </p:cNvPr>
                <p:cNvSpPr/>
                <p:nvPr/>
              </p:nvSpPr>
              <p:spPr bwMode="auto">
                <a:xfrm>
                  <a:off x="936018" y="1428509"/>
                  <a:ext cx="2786817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课程介绍</a:t>
                  </a:r>
                  <a:endParaRPr lang="en-US" altLang="zh-CN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69" name="矩形 68">
                  <a:extLst>
                    <a:ext uri="{FF2B5EF4-FFF2-40B4-BE49-F238E27FC236}">
                      <a16:creationId xmlns:a16="http://schemas.microsoft.com/office/drawing/2014/main" id="{305C5394-41B9-4E19-8565-B5EA7577475F}"/>
                    </a:ext>
                  </a:extLst>
                </p:cNvPr>
                <p:cNvSpPr/>
                <p:nvPr/>
              </p:nvSpPr>
              <p:spPr>
                <a:xfrm>
                  <a:off x="936018" y="1820622"/>
                  <a:ext cx="2786817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65" name="组合 64">
                <a:extLst>
                  <a:ext uri="{FF2B5EF4-FFF2-40B4-BE49-F238E27FC236}">
                    <a16:creationId xmlns:a16="http://schemas.microsoft.com/office/drawing/2014/main" id="{161FB980-F6DB-4646-AE2A-9F191299CCC5}"/>
                  </a:ext>
                </a:extLst>
              </p:cNvPr>
              <p:cNvGrpSpPr/>
              <p:nvPr/>
            </p:nvGrpSpPr>
            <p:grpSpPr>
              <a:xfrm>
                <a:off x="8825313" y="4373696"/>
                <a:ext cx="2695969" cy="997227"/>
                <a:chOff x="1812227" y="1428509"/>
                <a:chExt cx="1910608" cy="1030224"/>
              </a:xfrm>
            </p:grpSpPr>
            <p:sp>
              <p:nvSpPr>
                <p:cNvPr id="66" name="矩形 65">
                  <a:extLst>
                    <a:ext uri="{FF2B5EF4-FFF2-40B4-BE49-F238E27FC236}">
                      <a16:creationId xmlns:a16="http://schemas.microsoft.com/office/drawing/2014/main" id="{B167467D-8BC3-4C05-BB98-52BB603966E8}"/>
                    </a:ext>
                  </a:extLst>
                </p:cNvPr>
                <p:cNvSpPr/>
                <p:nvPr/>
              </p:nvSpPr>
              <p:spPr bwMode="auto">
                <a:xfrm>
                  <a:off x="1812227" y="1428509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课程介绍</a:t>
                  </a:r>
                  <a:endParaRPr lang="en-US" altLang="zh-CN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67" name="矩形 66">
                  <a:extLst>
                    <a:ext uri="{FF2B5EF4-FFF2-40B4-BE49-F238E27FC236}">
                      <a16:creationId xmlns:a16="http://schemas.microsoft.com/office/drawing/2014/main" id="{CBDD9A71-7807-4399-A009-2BEF07E4BA64}"/>
                    </a:ext>
                  </a:extLst>
                </p:cNvPr>
                <p:cNvSpPr/>
                <p:nvPr/>
              </p:nvSpPr>
              <p:spPr>
                <a:xfrm>
                  <a:off x="1812227" y="1820622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Copy paste fonts. Choose the only option to retain text……</a:t>
                  </a:r>
                </a:p>
              </p:txBody>
            </p:sp>
          </p:grpSp>
        </p:grpSp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BAB23B19-8BB2-4B01-86A2-74C62E905BD6}"/>
                </a:ext>
              </a:extLst>
            </p:cNvPr>
            <p:cNvSpPr/>
            <p:nvPr/>
          </p:nvSpPr>
          <p:spPr>
            <a:xfrm>
              <a:off x="5686262" y="2201329"/>
              <a:ext cx="853034" cy="853034"/>
            </a:xfrm>
            <a:prstGeom prst="ellipse">
              <a:avLst/>
            </a:prstGeom>
            <a:solidFill>
              <a:schemeClr val="bg1"/>
            </a:solidFill>
            <a:ln w="19050" cap="flat" cmpd="sng" algn="ctr">
              <a:solidFill>
                <a:schemeClr val="accent1"/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en-US" altLang="zh-CN" sz="2800" b="1" dirty="0">
                  <a:solidFill>
                    <a:schemeClr val="accent1"/>
                  </a:solidFill>
                  <a:cs typeface="+mn-ea"/>
                  <a:sym typeface="+mn-lt"/>
                </a:rPr>
                <a:t>03</a:t>
              </a:r>
              <a:endParaRPr sz="2800" b="1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grpSp>
          <p:nvGrpSpPr>
            <p:cNvPr id="50" name="组合 49">
              <a:extLst>
                <a:ext uri="{FF2B5EF4-FFF2-40B4-BE49-F238E27FC236}">
                  <a16:creationId xmlns:a16="http://schemas.microsoft.com/office/drawing/2014/main" id="{ACB5DCBE-1885-418D-8F65-BD39714B47DC}"/>
                </a:ext>
              </a:extLst>
            </p:cNvPr>
            <p:cNvGrpSpPr/>
            <p:nvPr/>
          </p:nvGrpSpPr>
          <p:grpSpPr>
            <a:xfrm>
              <a:off x="1030517" y="2733928"/>
              <a:ext cx="10130966" cy="997227"/>
              <a:chOff x="1118398" y="2733928"/>
              <a:chExt cx="10130966" cy="997227"/>
            </a:xfrm>
          </p:grpSpPr>
          <p:sp>
            <p:nvSpPr>
              <p:cNvPr id="54" name="椭圆 53">
                <a:extLst>
                  <a:ext uri="{FF2B5EF4-FFF2-40B4-BE49-F238E27FC236}">
                    <a16:creationId xmlns:a16="http://schemas.microsoft.com/office/drawing/2014/main" id="{13D1D96B-C8E2-49B6-AF05-138D78FB20B4}"/>
                  </a:ext>
                </a:extLst>
              </p:cNvPr>
              <p:cNvSpPr/>
              <p:nvPr/>
            </p:nvSpPr>
            <p:spPr>
              <a:xfrm>
                <a:off x="7344459" y="2819165"/>
                <a:ext cx="853034" cy="853034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04</a:t>
                </a:r>
              </a:p>
            </p:txBody>
          </p:sp>
          <p:sp>
            <p:nvSpPr>
              <p:cNvPr id="55" name="椭圆 54">
                <a:extLst>
                  <a:ext uri="{FF2B5EF4-FFF2-40B4-BE49-F238E27FC236}">
                    <a16:creationId xmlns:a16="http://schemas.microsoft.com/office/drawing/2014/main" id="{E93288C7-B048-4C18-BA11-FB1CF90453B4}"/>
                  </a:ext>
                </a:extLst>
              </p:cNvPr>
              <p:cNvSpPr/>
              <p:nvPr/>
            </p:nvSpPr>
            <p:spPr>
              <a:xfrm>
                <a:off x="4241168" y="2819165"/>
                <a:ext cx="853034" cy="853034"/>
              </a:xfrm>
              <a:prstGeom prst="ellipse">
                <a:avLst/>
              </a:prstGeom>
              <a:solidFill>
                <a:schemeClr val="bg1"/>
              </a:solidFill>
              <a:ln w="1905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r>
                  <a:rPr lang="en-US" altLang="zh-CN" sz="2800" b="1" dirty="0">
                    <a:solidFill>
                      <a:schemeClr val="accent1"/>
                    </a:solidFill>
                    <a:cs typeface="+mn-ea"/>
                    <a:sym typeface="+mn-lt"/>
                  </a:rPr>
                  <a:t>02</a:t>
                </a:r>
                <a:endParaRPr sz="2800" b="1" dirty="0">
                  <a:solidFill>
                    <a:schemeClr val="accent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56" name="组合 55">
                <a:extLst>
                  <a:ext uri="{FF2B5EF4-FFF2-40B4-BE49-F238E27FC236}">
                    <a16:creationId xmlns:a16="http://schemas.microsoft.com/office/drawing/2014/main" id="{0E303F74-9B0C-4E2D-80DD-3C66E84774CA}"/>
                  </a:ext>
                </a:extLst>
              </p:cNvPr>
              <p:cNvGrpSpPr/>
              <p:nvPr/>
            </p:nvGrpSpPr>
            <p:grpSpPr>
              <a:xfrm>
                <a:off x="1118398" y="2733928"/>
                <a:ext cx="2870200" cy="997227"/>
                <a:chOff x="757661" y="1428509"/>
                <a:chExt cx="2965175" cy="1030224"/>
              </a:xfrm>
            </p:grpSpPr>
            <p:sp>
              <p:nvSpPr>
                <p:cNvPr id="60" name="矩形 59">
                  <a:extLst>
                    <a:ext uri="{FF2B5EF4-FFF2-40B4-BE49-F238E27FC236}">
                      <a16:creationId xmlns:a16="http://schemas.microsoft.com/office/drawing/2014/main" id="{5E4A3646-C694-4E31-91FC-623582B038CB}"/>
                    </a:ext>
                  </a:extLst>
                </p:cNvPr>
                <p:cNvSpPr/>
                <p:nvPr/>
              </p:nvSpPr>
              <p:spPr bwMode="auto">
                <a:xfrm>
                  <a:off x="757661" y="1428509"/>
                  <a:ext cx="2965175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spcBef>
                      <a:spcPct val="0"/>
                    </a:spcBef>
                  </a:pPr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课程介绍</a:t>
                  </a:r>
                  <a:endParaRPr lang="en-US" altLang="zh-CN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矩形 60">
                  <a:extLst>
                    <a:ext uri="{FF2B5EF4-FFF2-40B4-BE49-F238E27FC236}">
                      <a16:creationId xmlns:a16="http://schemas.microsoft.com/office/drawing/2014/main" id="{3F83FC7C-31A0-45C5-B496-AFA7B1CB3DEE}"/>
                    </a:ext>
                  </a:extLst>
                </p:cNvPr>
                <p:cNvSpPr/>
                <p:nvPr/>
              </p:nvSpPr>
              <p:spPr>
                <a:xfrm>
                  <a:off x="757661" y="1820622"/>
                  <a:ext cx="2965175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Copy paste fonts. Choose the only option to retain text……</a:t>
                  </a:r>
                </a:p>
              </p:txBody>
            </p:sp>
          </p:grp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F7386392-53FA-49CF-ABA5-FAC3B311AAA8}"/>
                  </a:ext>
                </a:extLst>
              </p:cNvPr>
              <p:cNvGrpSpPr/>
              <p:nvPr/>
            </p:nvGrpSpPr>
            <p:grpSpPr>
              <a:xfrm>
                <a:off x="8375020" y="2733928"/>
                <a:ext cx="2874344" cy="997227"/>
                <a:chOff x="1812227" y="1428509"/>
                <a:chExt cx="1910608" cy="1030224"/>
              </a:xfrm>
            </p:grpSpPr>
            <p:sp>
              <p:nvSpPr>
                <p:cNvPr id="58" name="矩形 57">
                  <a:extLst>
                    <a:ext uri="{FF2B5EF4-FFF2-40B4-BE49-F238E27FC236}">
                      <a16:creationId xmlns:a16="http://schemas.microsoft.com/office/drawing/2014/main" id="{DC416059-6CC0-4094-92CF-214BF6A9BC8A}"/>
                    </a:ext>
                  </a:extLst>
                </p:cNvPr>
                <p:cNvSpPr/>
                <p:nvPr/>
              </p:nvSpPr>
              <p:spPr bwMode="auto">
                <a:xfrm>
                  <a:off x="1812227" y="1428509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sz="1600" b="1" dirty="0">
                      <a:cs typeface="+mn-ea"/>
                      <a:sym typeface="+mn-lt"/>
                    </a:rPr>
                    <a:t>…</a:t>
                  </a:r>
                  <a:r>
                    <a:rPr lang="zh-CN" altLang="en-US" sz="1600" b="1" dirty="0">
                      <a:cs typeface="+mn-ea"/>
                      <a:sym typeface="+mn-lt"/>
                    </a:rPr>
                    <a:t>课程介绍</a:t>
                  </a:r>
                  <a:endParaRPr lang="en-US" altLang="zh-CN" sz="1600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矩形 58">
                  <a:extLst>
                    <a:ext uri="{FF2B5EF4-FFF2-40B4-BE49-F238E27FC236}">
                      <a16:creationId xmlns:a16="http://schemas.microsoft.com/office/drawing/2014/main" id="{E88FFA30-91C3-4E3F-BA74-617180838C5C}"/>
                    </a:ext>
                  </a:extLst>
                </p:cNvPr>
                <p:cNvSpPr/>
                <p:nvPr/>
              </p:nvSpPr>
              <p:spPr>
                <a:xfrm>
                  <a:off x="1812227" y="1820622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Copy paste fonts. Choose the only option to retain text……</a:t>
                  </a:r>
                </a:p>
              </p:txBody>
            </p:sp>
          </p:grpSp>
        </p:grpSp>
        <p:grpSp>
          <p:nvGrpSpPr>
            <p:cNvPr id="51" name="组合 50">
              <a:extLst>
                <a:ext uri="{FF2B5EF4-FFF2-40B4-BE49-F238E27FC236}">
                  <a16:creationId xmlns:a16="http://schemas.microsoft.com/office/drawing/2014/main" id="{59ABB9AD-3D28-4CAF-B13B-9C060956041D}"/>
                </a:ext>
              </a:extLst>
            </p:cNvPr>
            <p:cNvGrpSpPr/>
            <p:nvPr/>
          </p:nvGrpSpPr>
          <p:grpSpPr>
            <a:xfrm>
              <a:off x="5188074" y="1209220"/>
              <a:ext cx="1849411" cy="997227"/>
              <a:chOff x="1812227" y="1428509"/>
              <a:chExt cx="1910608" cy="1030224"/>
            </a:xfrm>
          </p:grpSpPr>
          <p:sp>
            <p:nvSpPr>
              <p:cNvPr id="52" name="矩形 51">
                <a:extLst>
                  <a:ext uri="{FF2B5EF4-FFF2-40B4-BE49-F238E27FC236}">
                    <a16:creationId xmlns:a16="http://schemas.microsoft.com/office/drawing/2014/main" id="{61D12B4C-F559-4B07-964E-C450AF7FFFB1}"/>
                  </a:ext>
                </a:extLst>
              </p:cNvPr>
              <p:cNvSpPr/>
              <p:nvPr/>
            </p:nvSpPr>
            <p:spPr bwMode="auto">
              <a:xfrm>
                <a:off x="1812227" y="1428509"/>
                <a:ext cx="1910608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…</a:t>
                </a:r>
                <a:r>
                  <a:rPr lang="zh-CN" altLang="en-US" sz="1600" b="1" dirty="0">
                    <a:cs typeface="+mn-ea"/>
                    <a:sym typeface="+mn-lt"/>
                  </a:rPr>
                  <a:t>课程介绍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53" name="矩形 52">
                <a:extLst>
                  <a:ext uri="{FF2B5EF4-FFF2-40B4-BE49-F238E27FC236}">
                    <a16:creationId xmlns:a16="http://schemas.microsoft.com/office/drawing/2014/main" id="{7F39CB9C-FE2B-4DC7-AD50-449C8A523764}"/>
                  </a:ext>
                </a:extLst>
              </p:cNvPr>
              <p:cNvSpPr/>
              <p:nvPr/>
            </p:nvSpPr>
            <p:spPr>
              <a:xfrm>
                <a:off x="1812227" y="1820622"/>
                <a:ext cx="1910608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93552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153A4E0-094A-4144-8C1C-75C6B5D586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介绍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3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6038584-3D8E-4BCD-AF5B-7A6EBAC6A8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0E38F0F-2B3E-4CD9-9689-30B1CE904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108" name="组合 10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5B587C5-9BBF-4967-BF4A-E7FEDC8CAEA2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69564"/>
            <a:ext cx="10845800" cy="4337972"/>
            <a:chOff x="673100" y="1469564"/>
            <a:chExt cx="10845800" cy="4337972"/>
          </a:xfrm>
        </p:grpSpPr>
        <p:grpSp>
          <p:nvGrpSpPr>
            <p:cNvPr id="109" name="组合 108">
              <a:extLst>
                <a:ext uri="{FF2B5EF4-FFF2-40B4-BE49-F238E27FC236}">
                  <a16:creationId xmlns:a16="http://schemas.microsoft.com/office/drawing/2014/main" id="{6AAE653F-0974-4D24-8603-4ED711063437}"/>
                </a:ext>
              </a:extLst>
            </p:cNvPr>
            <p:cNvGrpSpPr/>
            <p:nvPr/>
          </p:nvGrpSpPr>
          <p:grpSpPr>
            <a:xfrm>
              <a:off x="2794418" y="1469564"/>
              <a:ext cx="2360526" cy="1394127"/>
              <a:chOff x="673100" y="4752673"/>
              <a:chExt cx="2360526" cy="1394127"/>
            </a:xfrm>
          </p:grpSpPr>
          <p:sp>
            <p:nvSpPr>
              <p:cNvPr id="131" name="矩形 130">
                <a:extLst>
                  <a:ext uri="{FF2B5EF4-FFF2-40B4-BE49-F238E27FC236}">
                    <a16:creationId xmlns:a16="http://schemas.microsoft.com/office/drawing/2014/main" id="{F81B1813-301B-4006-926B-42ACD08B2AE2}"/>
                  </a:ext>
                </a:extLst>
              </p:cNvPr>
              <p:cNvSpPr/>
              <p:nvPr/>
            </p:nvSpPr>
            <p:spPr bwMode="auto">
              <a:xfrm>
                <a:off x="673100" y="5177279"/>
                <a:ext cx="2360526" cy="9695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32" name="文本框 131">
                <a:extLst>
                  <a:ext uri="{FF2B5EF4-FFF2-40B4-BE49-F238E27FC236}">
                    <a16:creationId xmlns:a16="http://schemas.microsoft.com/office/drawing/2014/main" id="{261B9078-0266-4E73-AA4E-76FCF0EABDB0}"/>
                  </a:ext>
                </a:extLst>
              </p:cNvPr>
              <p:cNvSpPr txBox="1"/>
              <p:nvPr/>
            </p:nvSpPr>
            <p:spPr bwMode="auto">
              <a:xfrm>
                <a:off x="673100" y="4752673"/>
                <a:ext cx="2360526" cy="4246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…</a:t>
                </a:r>
                <a:r>
                  <a:rPr lang="zh-CN" altLang="en-US" b="1" dirty="0">
                    <a:cs typeface="+mn-ea"/>
                    <a:sym typeface="+mn-lt"/>
                  </a:rPr>
                  <a:t>课程介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0" name="组合 109">
              <a:extLst>
                <a:ext uri="{FF2B5EF4-FFF2-40B4-BE49-F238E27FC236}">
                  <a16:creationId xmlns:a16="http://schemas.microsoft.com/office/drawing/2014/main" id="{B1681A5F-1903-40E8-9F9D-645F2865A0A9}"/>
                </a:ext>
              </a:extLst>
            </p:cNvPr>
            <p:cNvGrpSpPr/>
            <p:nvPr/>
          </p:nvGrpSpPr>
          <p:grpSpPr>
            <a:xfrm>
              <a:off x="7037054" y="1469564"/>
              <a:ext cx="2360526" cy="1394127"/>
              <a:chOff x="673100" y="4752673"/>
              <a:chExt cx="2360526" cy="1394127"/>
            </a:xfrm>
          </p:grpSpPr>
          <p:sp>
            <p:nvSpPr>
              <p:cNvPr id="129" name="矩形 128">
                <a:extLst>
                  <a:ext uri="{FF2B5EF4-FFF2-40B4-BE49-F238E27FC236}">
                    <a16:creationId xmlns:a16="http://schemas.microsoft.com/office/drawing/2014/main" id="{423F3A8E-3CD5-4E11-BC03-FE0889485141}"/>
                  </a:ext>
                </a:extLst>
              </p:cNvPr>
              <p:cNvSpPr/>
              <p:nvPr/>
            </p:nvSpPr>
            <p:spPr bwMode="auto">
              <a:xfrm>
                <a:off x="673100" y="5177279"/>
                <a:ext cx="2360526" cy="9695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30" name="文本框 129">
                <a:extLst>
                  <a:ext uri="{FF2B5EF4-FFF2-40B4-BE49-F238E27FC236}">
                    <a16:creationId xmlns:a16="http://schemas.microsoft.com/office/drawing/2014/main" id="{C9794D12-8FFE-49B6-8A94-535452CE45DC}"/>
                  </a:ext>
                </a:extLst>
              </p:cNvPr>
              <p:cNvSpPr txBox="1"/>
              <p:nvPr/>
            </p:nvSpPr>
            <p:spPr bwMode="auto">
              <a:xfrm>
                <a:off x="673100" y="4752673"/>
                <a:ext cx="2360526" cy="4246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…</a:t>
                </a:r>
                <a:r>
                  <a:rPr lang="zh-CN" altLang="en-US" b="1" dirty="0">
                    <a:cs typeface="+mn-ea"/>
                    <a:sym typeface="+mn-lt"/>
                  </a:rPr>
                  <a:t>课程介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1" name="组合 110">
              <a:extLst>
                <a:ext uri="{FF2B5EF4-FFF2-40B4-BE49-F238E27FC236}">
                  <a16:creationId xmlns:a16="http://schemas.microsoft.com/office/drawing/2014/main" id="{290D7D24-70F4-4718-831C-0478F366ADCD}"/>
                </a:ext>
              </a:extLst>
            </p:cNvPr>
            <p:cNvGrpSpPr/>
            <p:nvPr/>
          </p:nvGrpSpPr>
          <p:grpSpPr>
            <a:xfrm>
              <a:off x="673100" y="4413409"/>
              <a:ext cx="2360526" cy="1394127"/>
              <a:chOff x="673100" y="4752673"/>
              <a:chExt cx="2360526" cy="1394127"/>
            </a:xfrm>
          </p:grpSpPr>
          <p:sp>
            <p:nvSpPr>
              <p:cNvPr id="127" name="矩形 126">
                <a:extLst>
                  <a:ext uri="{FF2B5EF4-FFF2-40B4-BE49-F238E27FC236}">
                    <a16:creationId xmlns:a16="http://schemas.microsoft.com/office/drawing/2014/main" id="{3A289050-5576-4F61-8CF7-1221EEB2D766}"/>
                  </a:ext>
                </a:extLst>
              </p:cNvPr>
              <p:cNvSpPr/>
              <p:nvPr/>
            </p:nvSpPr>
            <p:spPr bwMode="auto">
              <a:xfrm>
                <a:off x="673100" y="5177279"/>
                <a:ext cx="2360526" cy="9695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28" name="文本框 127">
                <a:extLst>
                  <a:ext uri="{FF2B5EF4-FFF2-40B4-BE49-F238E27FC236}">
                    <a16:creationId xmlns:a16="http://schemas.microsoft.com/office/drawing/2014/main" id="{87FCCD41-AC87-4B8C-9EAB-116482B4FA4F}"/>
                  </a:ext>
                </a:extLst>
              </p:cNvPr>
              <p:cNvSpPr txBox="1"/>
              <p:nvPr/>
            </p:nvSpPr>
            <p:spPr bwMode="auto">
              <a:xfrm>
                <a:off x="673100" y="4752673"/>
                <a:ext cx="2360526" cy="4246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…</a:t>
                </a:r>
                <a:r>
                  <a:rPr lang="zh-CN" altLang="en-US" b="1" dirty="0">
                    <a:cs typeface="+mn-ea"/>
                    <a:sym typeface="+mn-lt"/>
                  </a:rPr>
                  <a:t>课程介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12" name="组合 111">
              <a:extLst>
                <a:ext uri="{FF2B5EF4-FFF2-40B4-BE49-F238E27FC236}">
                  <a16:creationId xmlns:a16="http://schemas.microsoft.com/office/drawing/2014/main" id="{6984989E-E821-4C3C-B7AF-347DE8B07DF0}"/>
                </a:ext>
              </a:extLst>
            </p:cNvPr>
            <p:cNvGrpSpPr/>
            <p:nvPr/>
          </p:nvGrpSpPr>
          <p:grpSpPr>
            <a:xfrm>
              <a:off x="4915736" y="4413409"/>
              <a:ext cx="2360526" cy="1394127"/>
              <a:chOff x="673100" y="4752673"/>
              <a:chExt cx="2360526" cy="1394127"/>
            </a:xfrm>
          </p:grpSpPr>
          <p:sp>
            <p:nvSpPr>
              <p:cNvPr id="125" name="矩形 124">
                <a:extLst>
                  <a:ext uri="{FF2B5EF4-FFF2-40B4-BE49-F238E27FC236}">
                    <a16:creationId xmlns:a16="http://schemas.microsoft.com/office/drawing/2014/main" id="{CDBA3A5A-AE97-4D12-A391-166B4200AA3F}"/>
                  </a:ext>
                </a:extLst>
              </p:cNvPr>
              <p:cNvSpPr/>
              <p:nvPr/>
            </p:nvSpPr>
            <p:spPr bwMode="auto">
              <a:xfrm>
                <a:off x="673100" y="5177279"/>
                <a:ext cx="2360526" cy="9695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26" name="文本框 125">
                <a:extLst>
                  <a:ext uri="{FF2B5EF4-FFF2-40B4-BE49-F238E27FC236}">
                    <a16:creationId xmlns:a16="http://schemas.microsoft.com/office/drawing/2014/main" id="{D78461D9-021F-4293-80C2-D2BA1BBB6039}"/>
                  </a:ext>
                </a:extLst>
              </p:cNvPr>
              <p:cNvSpPr txBox="1"/>
              <p:nvPr/>
            </p:nvSpPr>
            <p:spPr bwMode="auto">
              <a:xfrm>
                <a:off x="673100" y="4752673"/>
                <a:ext cx="2360526" cy="4246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…</a:t>
                </a:r>
                <a:r>
                  <a:rPr lang="zh-CN" altLang="en-US" b="1" dirty="0">
                    <a:cs typeface="+mn-ea"/>
                    <a:sym typeface="+mn-lt"/>
                  </a:rPr>
                  <a:t>课程介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DB9D9632-25ED-4D44-B265-2A2F3B0FE5BD}"/>
                </a:ext>
              </a:extLst>
            </p:cNvPr>
            <p:cNvSpPr/>
            <p:nvPr/>
          </p:nvSpPr>
          <p:spPr bwMode="auto">
            <a:xfrm>
              <a:off x="3272834" y="2941486"/>
              <a:ext cx="1403697" cy="1394127"/>
            </a:xfrm>
            <a:custGeom>
              <a:avLst/>
              <a:gdLst>
                <a:gd name="T0" fmla="*/ 1396929 w 19679"/>
                <a:gd name="T1" fmla="*/ 1387475 h 21600"/>
                <a:gd name="T2" fmla="*/ 1396929 w 19679"/>
                <a:gd name="T3" fmla="*/ 1387475 h 21600"/>
                <a:gd name="T4" fmla="*/ 1396929 w 19679"/>
                <a:gd name="T5" fmla="*/ 1387475 h 21600"/>
                <a:gd name="T6" fmla="*/ 1396929 w 19679"/>
                <a:gd name="T7" fmla="*/ 138747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1600">
                  <a:moveTo>
                    <a:pt x="9840" y="0"/>
                  </a:moveTo>
                  <a:cubicBezTo>
                    <a:pt x="7322" y="0"/>
                    <a:pt x="4802" y="1061"/>
                    <a:pt x="2881" y="3185"/>
                  </a:cubicBezTo>
                  <a:cubicBezTo>
                    <a:pt x="-961" y="7432"/>
                    <a:pt x="-961" y="14317"/>
                    <a:pt x="2881" y="18564"/>
                  </a:cubicBezTo>
                  <a:cubicBezTo>
                    <a:pt x="4403" y="20245"/>
                    <a:pt x="6299" y="21250"/>
                    <a:pt x="8273" y="21599"/>
                  </a:cubicBezTo>
                  <a:cubicBezTo>
                    <a:pt x="8280" y="21196"/>
                    <a:pt x="8288" y="20786"/>
                    <a:pt x="8291" y="20399"/>
                  </a:cubicBezTo>
                  <a:cubicBezTo>
                    <a:pt x="8298" y="19449"/>
                    <a:pt x="7895" y="18952"/>
                    <a:pt x="7454" y="18205"/>
                  </a:cubicBezTo>
                  <a:cubicBezTo>
                    <a:pt x="7100" y="17604"/>
                    <a:pt x="7030" y="16970"/>
                    <a:pt x="6909" y="16284"/>
                  </a:cubicBezTo>
                  <a:cubicBezTo>
                    <a:pt x="6776" y="15533"/>
                    <a:pt x="6599" y="14888"/>
                    <a:pt x="6753" y="14112"/>
                  </a:cubicBezTo>
                  <a:cubicBezTo>
                    <a:pt x="6887" y="13434"/>
                    <a:pt x="7281" y="13322"/>
                    <a:pt x="7787" y="13110"/>
                  </a:cubicBezTo>
                  <a:cubicBezTo>
                    <a:pt x="7554" y="12673"/>
                    <a:pt x="7406" y="12140"/>
                    <a:pt x="7790" y="11734"/>
                  </a:cubicBezTo>
                  <a:cubicBezTo>
                    <a:pt x="8060" y="11449"/>
                    <a:pt x="8680" y="11481"/>
                    <a:pt x="8951" y="11734"/>
                  </a:cubicBezTo>
                  <a:cubicBezTo>
                    <a:pt x="8952" y="10799"/>
                    <a:pt x="8650" y="9866"/>
                    <a:pt x="8398" y="8977"/>
                  </a:cubicBezTo>
                  <a:cubicBezTo>
                    <a:pt x="8241" y="8425"/>
                    <a:pt x="8213" y="7832"/>
                    <a:pt x="8068" y="7277"/>
                  </a:cubicBezTo>
                  <a:cubicBezTo>
                    <a:pt x="7963" y="6878"/>
                    <a:pt x="7786" y="6442"/>
                    <a:pt x="7764" y="6025"/>
                  </a:cubicBezTo>
                  <a:cubicBezTo>
                    <a:pt x="7707" y="4971"/>
                    <a:pt x="8821" y="5095"/>
                    <a:pt x="9034" y="6016"/>
                  </a:cubicBezTo>
                  <a:cubicBezTo>
                    <a:pt x="9248" y="6940"/>
                    <a:pt x="9675" y="8095"/>
                    <a:pt x="9790" y="9038"/>
                  </a:cubicBezTo>
                  <a:cubicBezTo>
                    <a:pt x="9832" y="9377"/>
                    <a:pt x="10225" y="11269"/>
                    <a:pt x="10518" y="11269"/>
                  </a:cubicBezTo>
                  <a:cubicBezTo>
                    <a:pt x="11000" y="11269"/>
                    <a:pt x="11177" y="9653"/>
                    <a:pt x="11285" y="9325"/>
                  </a:cubicBezTo>
                  <a:cubicBezTo>
                    <a:pt x="11460" y="8791"/>
                    <a:pt x="11555" y="8186"/>
                    <a:pt x="11596" y="7616"/>
                  </a:cubicBezTo>
                  <a:cubicBezTo>
                    <a:pt x="11626" y="7204"/>
                    <a:pt x="11663" y="6834"/>
                    <a:pt x="11804" y="6450"/>
                  </a:cubicBezTo>
                  <a:cubicBezTo>
                    <a:pt x="12132" y="5554"/>
                    <a:pt x="12881" y="5794"/>
                    <a:pt x="12976" y="6728"/>
                  </a:cubicBezTo>
                  <a:cubicBezTo>
                    <a:pt x="13032" y="7273"/>
                    <a:pt x="12812" y="7796"/>
                    <a:pt x="12776" y="8337"/>
                  </a:cubicBezTo>
                  <a:cubicBezTo>
                    <a:pt x="12740" y="8882"/>
                    <a:pt x="12629" y="9500"/>
                    <a:pt x="12459" y="10026"/>
                  </a:cubicBezTo>
                  <a:cubicBezTo>
                    <a:pt x="12320" y="10457"/>
                    <a:pt x="12422" y="10912"/>
                    <a:pt x="12334" y="11364"/>
                  </a:cubicBezTo>
                  <a:cubicBezTo>
                    <a:pt x="12243" y="11837"/>
                    <a:pt x="12155" y="12146"/>
                    <a:pt x="12267" y="12628"/>
                  </a:cubicBezTo>
                  <a:cubicBezTo>
                    <a:pt x="12513" y="13688"/>
                    <a:pt x="12427" y="14900"/>
                    <a:pt x="12454" y="15850"/>
                  </a:cubicBezTo>
                  <a:cubicBezTo>
                    <a:pt x="12478" y="16701"/>
                    <a:pt x="12402" y="17232"/>
                    <a:pt x="12215" y="18058"/>
                  </a:cubicBezTo>
                  <a:cubicBezTo>
                    <a:pt x="11974" y="19124"/>
                    <a:pt x="12145" y="20145"/>
                    <a:pt x="12111" y="21258"/>
                  </a:cubicBezTo>
                  <a:cubicBezTo>
                    <a:pt x="12109" y="21322"/>
                    <a:pt x="12110" y="21381"/>
                    <a:pt x="12108" y="21444"/>
                  </a:cubicBezTo>
                  <a:cubicBezTo>
                    <a:pt x="13826" y="20996"/>
                    <a:pt x="15456" y="20044"/>
                    <a:pt x="16796" y="18564"/>
                  </a:cubicBezTo>
                  <a:cubicBezTo>
                    <a:pt x="20638" y="14317"/>
                    <a:pt x="20639" y="7432"/>
                    <a:pt x="16796" y="3185"/>
                  </a:cubicBezTo>
                  <a:cubicBezTo>
                    <a:pt x="14875" y="1061"/>
                    <a:pt x="12358" y="0"/>
                    <a:pt x="9840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854074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1pPr>
              <a:lvl2pPr marL="1489073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2pPr>
              <a:lvl3pPr marL="2124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3pPr>
              <a:lvl4pPr marL="2759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4pPr>
              <a:lvl5pPr marL="3394071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5pPr>
              <a:lvl6pPr marL="2285998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6pPr>
              <a:lvl7pPr marL="27431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7pPr>
              <a:lvl8pPr marL="32003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8pPr>
              <a:lvl9pPr marL="3657596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5F0D1427-561F-49E1-8BCB-200FE242AC33}"/>
                </a:ext>
              </a:extLst>
            </p:cNvPr>
            <p:cNvSpPr/>
            <p:nvPr/>
          </p:nvSpPr>
          <p:spPr bwMode="auto">
            <a:xfrm>
              <a:off x="7515472" y="2941885"/>
              <a:ext cx="1403697" cy="1393329"/>
            </a:xfrm>
            <a:custGeom>
              <a:avLst/>
              <a:gdLst>
                <a:gd name="T0" fmla="*/ 1396929 w 19679"/>
                <a:gd name="T1" fmla="*/ 1386681 h 21600"/>
                <a:gd name="T2" fmla="*/ 1396929 w 19679"/>
                <a:gd name="T3" fmla="*/ 1386681 h 21600"/>
                <a:gd name="T4" fmla="*/ 1396929 w 19679"/>
                <a:gd name="T5" fmla="*/ 1386681 h 21600"/>
                <a:gd name="T6" fmla="*/ 1396929 w 19679"/>
                <a:gd name="T7" fmla="*/ 138668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1600">
                  <a:moveTo>
                    <a:pt x="9840" y="0"/>
                  </a:moveTo>
                  <a:cubicBezTo>
                    <a:pt x="7322" y="0"/>
                    <a:pt x="4802" y="1061"/>
                    <a:pt x="2881" y="3186"/>
                  </a:cubicBezTo>
                  <a:cubicBezTo>
                    <a:pt x="-961" y="7434"/>
                    <a:pt x="-961" y="14323"/>
                    <a:pt x="2881" y="18571"/>
                  </a:cubicBezTo>
                  <a:cubicBezTo>
                    <a:pt x="4240" y="20074"/>
                    <a:pt x="5899" y="21033"/>
                    <a:pt x="7644" y="21473"/>
                  </a:cubicBezTo>
                  <a:cubicBezTo>
                    <a:pt x="7648" y="21252"/>
                    <a:pt x="7643" y="21031"/>
                    <a:pt x="7605" y="20818"/>
                  </a:cubicBezTo>
                  <a:cubicBezTo>
                    <a:pt x="7431" y="19848"/>
                    <a:pt x="7313" y="18994"/>
                    <a:pt x="7026" y="18045"/>
                  </a:cubicBezTo>
                  <a:cubicBezTo>
                    <a:pt x="6736" y="17091"/>
                    <a:pt x="6626" y="16134"/>
                    <a:pt x="6475" y="15147"/>
                  </a:cubicBezTo>
                  <a:cubicBezTo>
                    <a:pt x="6317" y="14118"/>
                    <a:pt x="6608" y="13106"/>
                    <a:pt x="6306" y="12092"/>
                  </a:cubicBezTo>
                  <a:cubicBezTo>
                    <a:pt x="6068" y="11295"/>
                    <a:pt x="5814" y="10409"/>
                    <a:pt x="5698" y="9570"/>
                  </a:cubicBezTo>
                  <a:cubicBezTo>
                    <a:pt x="5650" y="9227"/>
                    <a:pt x="5530" y="8463"/>
                    <a:pt x="5937" y="8323"/>
                  </a:cubicBezTo>
                  <a:cubicBezTo>
                    <a:pt x="6319" y="8202"/>
                    <a:pt x="6444" y="8426"/>
                    <a:pt x="6597" y="8694"/>
                  </a:cubicBezTo>
                  <a:cubicBezTo>
                    <a:pt x="6826" y="9095"/>
                    <a:pt x="6874" y="9335"/>
                    <a:pt x="6896" y="9794"/>
                  </a:cubicBezTo>
                  <a:cubicBezTo>
                    <a:pt x="6922" y="10356"/>
                    <a:pt x="7199" y="10966"/>
                    <a:pt x="7353" y="11498"/>
                  </a:cubicBezTo>
                  <a:cubicBezTo>
                    <a:pt x="7384" y="11604"/>
                    <a:pt x="7694" y="12372"/>
                    <a:pt x="7829" y="11989"/>
                  </a:cubicBezTo>
                  <a:cubicBezTo>
                    <a:pt x="7961" y="11613"/>
                    <a:pt x="7889" y="11440"/>
                    <a:pt x="7826" y="11032"/>
                  </a:cubicBezTo>
                  <a:cubicBezTo>
                    <a:pt x="7748" y="10528"/>
                    <a:pt x="7879" y="9965"/>
                    <a:pt x="7771" y="9461"/>
                  </a:cubicBezTo>
                  <a:cubicBezTo>
                    <a:pt x="7657" y="8925"/>
                    <a:pt x="7685" y="8198"/>
                    <a:pt x="7717" y="7645"/>
                  </a:cubicBezTo>
                  <a:cubicBezTo>
                    <a:pt x="7743" y="7191"/>
                    <a:pt x="7556" y="5321"/>
                    <a:pt x="8665" y="5823"/>
                  </a:cubicBezTo>
                  <a:cubicBezTo>
                    <a:pt x="8943" y="5949"/>
                    <a:pt x="8934" y="8058"/>
                    <a:pt x="8925" y="8734"/>
                  </a:cubicBezTo>
                  <a:cubicBezTo>
                    <a:pt x="8915" y="9462"/>
                    <a:pt x="8950" y="11499"/>
                    <a:pt x="9333" y="11495"/>
                  </a:cubicBezTo>
                  <a:cubicBezTo>
                    <a:pt x="9470" y="11428"/>
                    <a:pt x="9451" y="10067"/>
                    <a:pt x="9505" y="9814"/>
                  </a:cubicBezTo>
                  <a:cubicBezTo>
                    <a:pt x="9643" y="9155"/>
                    <a:pt x="9656" y="8384"/>
                    <a:pt x="9723" y="7705"/>
                  </a:cubicBezTo>
                  <a:cubicBezTo>
                    <a:pt x="9784" y="7081"/>
                    <a:pt x="9730" y="5332"/>
                    <a:pt x="10476" y="5280"/>
                  </a:cubicBezTo>
                  <a:cubicBezTo>
                    <a:pt x="11885" y="5280"/>
                    <a:pt x="10909" y="7410"/>
                    <a:pt x="10983" y="8191"/>
                  </a:cubicBezTo>
                  <a:cubicBezTo>
                    <a:pt x="11053" y="8931"/>
                    <a:pt x="10797" y="9574"/>
                    <a:pt x="10786" y="10311"/>
                  </a:cubicBezTo>
                  <a:cubicBezTo>
                    <a:pt x="10781" y="10633"/>
                    <a:pt x="10668" y="11163"/>
                    <a:pt x="10773" y="11406"/>
                  </a:cubicBezTo>
                  <a:cubicBezTo>
                    <a:pt x="11150" y="12020"/>
                    <a:pt x="11510" y="10640"/>
                    <a:pt x="11591" y="10417"/>
                  </a:cubicBezTo>
                  <a:cubicBezTo>
                    <a:pt x="11820" y="9795"/>
                    <a:pt x="12032" y="9181"/>
                    <a:pt x="12308" y="8581"/>
                  </a:cubicBezTo>
                  <a:cubicBezTo>
                    <a:pt x="12584" y="7983"/>
                    <a:pt x="12566" y="7077"/>
                    <a:pt x="13077" y="6633"/>
                  </a:cubicBezTo>
                  <a:cubicBezTo>
                    <a:pt x="13359" y="6509"/>
                    <a:pt x="13569" y="6509"/>
                    <a:pt x="13860" y="6771"/>
                  </a:cubicBezTo>
                  <a:cubicBezTo>
                    <a:pt x="14268" y="7257"/>
                    <a:pt x="13853" y="8101"/>
                    <a:pt x="13706" y="8619"/>
                  </a:cubicBezTo>
                  <a:cubicBezTo>
                    <a:pt x="13529" y="9246"/>
                    <a:pt x="13374" y="9862"/>
                    <a:pt x="13181" y="10483"/>
                  </a:cubicBezTo>
                  <a:cubicBezTo>
                    <a:pt x="12911" y="11356"/>
                    <a:pt x="12661" y="12302"/>
                    <a:pt x="12316" y="13135"/>
                  </a:cubicBezTo>
                  <a:cubicBezTo>
                    <a:pt x="12284" y="13214"/>
                    <a:pt x="12205" y="14203"/>
                    <a:pt x="12197" y="14463"/>
                  </a:cubicBezTo>
                  <a:cubicBezTo>
                    <a:pt x="12183" y="14897"/>
                    <a:pt x="12230" y="15346"/>
                    <a:pt x="12116" y="15770"/>
                  </a:cubicBezTo>
                  <a:cubicBezTo>
                    <a:pt x="12055" y="15997"/>
                    <a:pt x="12220" y="16247"/>
                    <a:pt x="12230" y="16505"/>
                  </a:cubicBezTo>
                  <a:cubicBezTo>
                    <a:pt x="12258" y="17188"/>
                    <a:pt x="11798" y="17805"/>
                    <a:pt x="11487" y="18359"/>
                  </a:cubicBezTo>
                  <a:cubicBezTo>
                    <a:pt x="11343" y="19093"/>
                    <a:pt x="11444" y="20004"/>
                    <a:pt x="11448" y="20755"/>
                  </a:cubicBezTo>
                  <a:cubicBezTo>
                    <a:pt x="11450" y="21036"/>
                    <a:pt x="11459" y="21317"/>
                    <a:pt x="11466" y="21599"/>
                  </a:cubicBezTo>
                  <a:cubicBezTo>
                    <a:pt x="13418" y="21239"/>
                    <a:pt x="15290" y="20236"/>
                    <a:pt x="16796" y="18571"/>
                  </a:cubicBezTo>
                  <a:cubicBezTo>
                    <a:pt x="20638" y="14323"/>
                    <a:pt x="20638" y="7434"/>
                    <a:pt x="16796" y="3186"/>
                  </a:cubicBezTo>
                  <a:cubicBezTo>
                    <a:pt x="14875" y="1061"/>
                    <a:pt x="12358" y="0"/>
                    <a:pt x="9840" y="0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854074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1pPr>
              <a:lvl2pPr marL="1489073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2pPr>
              <a:lvl3pPr marL="2124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3pPr>
              <a:lvl4pPr marL="2759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4pPr>
              <a:lvl5pPr marL="3394071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5pPr>
              <a:lvl6pPr marL="2285998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6pPr>
              <a:lvl7pPr marL="27431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7pPr>
              <a:lvl8pPr marL="32003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8pPr>
              <a:lvl9pPr marL="3657596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9C2D7D85-D7D7-45DC-BD48-450FAF7961A9}"/>
                </a:ext>
              </a:extLst>
            </p:cNvPr>
            <p:cNvSpPr/>
            <p:nvPr/>
          </p:nvSpPr>
          <p:spPr bwMode="auto">
            <a:xfrm>
              <a:off x="1151515" y="2941486"/>
              <a:ext cx="1403697" cy="1394127"/>
            </a:xfrm>
            <a:custGeom>
              <a:avLst/>
              <a:gdLst>
                <a:gd name="T0" fmla="*/ 1396929 w 19679"/>
                <a:gd name="T1" fmla="*/ 1387475 h 21600"/>
                <a:gd name="T2" fmla="*/ 1396929 w 19679"/>
                <a:gd name="T3" fmla="*/ 1387475 h 21600"/>
                <a:gd name="T4" fmla="*/ 1396929 w 19679"/>
                <a:gd name="T5" fmla="*/ 1387475 h 21600"/>
                <a:gd name="T6" fmla="*/ 1396929 w 19679"/>
                <a:gd name="T7" fmla="*/ 1387475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1600">
                  <a:moveTo>
                    <a:pt x="9838" y="0"/>
                  </a:moveTo>
                  <a:cubicBezTo>
                    <a:pt x="7321" y="0"/>
                    <a:pt x="4802" y="1061"/>
                    <a:pt x="2881" y="3185"/>
                  </a:cubicBezTo>
                  <a:cubicBezTo>
                    <a:pt x="-961" y="7433"/>
                    <a:pt x="-961" y="14319"/>
                    <a:pt x="2881" y="18566"/>
                  </a:cubicBezTo>
                  <a:cubicBezTo>
                    <a:pt x="4162" y="19983"/>
                    <a:pt x="5714" y="20915"/>
                    <a:pt x="7349" y="21387"/>
                  </a:cubicBezTo>
                  <a:cubicBezTo>
                    <a:pt x="7502" y="20105"/>
                    <a:pt x="7606" y="18839"/>
                    <a:pt x="7040" y="17627"/>
                  </a:cubicBezTo>
                  <a:cubicBezTo>
                    <a:pt x="6734" y="16971"/>
                    <a:pt x="6508" y="15994"/>
                    <a:pt x="6456" y="15252"/>
                  </a:cubicBezTo>
                  <a:cubicBezTo>
                    <a:pt x="6401" y="14476"/>
                    <a:pt x="6337" y="13689"/>
                    <a:pt x="6443" y="12919"/>
                  </a:cubicBezTo>
                  <a:cubicBezTo>
                    <a:pt x="6519" y="12364"/>
                    <a:pt x="6597" y="11933"/>
                    <a:pt x="7092" y="11661"/>
                  </a:cubicBezTo>
                  <a:cubicBezTo>
                    <a:pt x="7371" y="11509"/>
                    <a:pt x="7879" y="11601"/>
                    <a:pt x="7981" y="11271"/>
                  </a:cubicBezTo>
                  <a:cubicBezTo>
                    <a:pt x="8218" y="10496"/>
                    <a:pt x="8931" y="10470"/>
                    <a:pt x="9550" y="10696"/>
                  </a:cubicBezTo>
                  <a:cubicBezTo>
                    <a:pt x="9537" y="9892"/>
                    <a:pt x="10640" y="9462"/>
                    <a:pt x="11187" y="9814"/>
                  </a:cubicBezTo>
                  <a:cubicBezTo>
                    <a:pt x="11217" y="8792"/>
                    <a:pt x="11241" y="7794"/>
                    <a:pt x="11299" y="6770"/>
                  </a:cubicBezTo>
                  <a:cubicBezTo>
                    <a:pt x="11331" y="6199"/>
                    <a:pt x="11040" y="4873"/>
                    <a:pt x="11691" y="4630"/>
                  </a:cubicBezTo>
                  <a:cubicBezTo>
                    <a:pt x="12334" y="4389"/>
                    <a:pt x="12636" y="5057"/>
                    <a:pt x="12665" y="5661"/>
                  </a:cubicBezTo>
                  <a:cubicBezTo>
                    <a:pt x="12687" y="6109"/>
                    <a:pt x="12630" y="6559"/>
                    <a:pt x="12621" y="7008"/>
                  </a:cubicBezTo>
                  <a:cubicBezTo>
                    <a:pt x="12615" y="7348"/>
                    <a:pt x="12656" y="7708"/>
                    <a:pt x="12632" y="8051"/>
                  </a:cubicBezTo>
                  <a:cubicBezTo>
                    <a:pt x="12567" y="8966"/>
                    <a:pt x="12574" y="9833"/>
                    <a:pt x="12541" y="10751"/>
                  </a:cubicBezTo>
                  <a:cubicBezTo>
                    <a:pt x="12523" y="11234"/>
                    <a:pt x="12603" y="11706"/>
                    <a:pt x="12603" y="12187"/>
                  </a:cubicBezTo>
                  <a:cubicBezTo>
                    <a:pt x="12603" y="12720"/>
                    <a:pt x="12787" y="12862"/>
                    <a:pt x="13052" y="13278"/>
                  </a:cubicBezTo>
                  <a:cubicBezTo>
                    <a:pt x="13598" y="14135"/>
                    <a:pt x="13067" y="14687"/>
                    <a:pt x="12834" y="15484"/>
                  </a:cubicBezTo>
                  <a:cubicBezTo>
                    <a:pt x="12622" y="16211"/>
                    <a:pt x="12162" y="16649"/>
                    <a:pt x="11725" y="17205"/>
                  </a:cubicBezTo>
                  <a:cubicBezTo>
                    <a:pt x="11085" y="18018"/>
                    <a:pt x="11420" y="19826"/>
                    <a:pt x="11447" y="20807"/>
                  </a:cubicBezTo>
                  <a:cubicBezTo>
                    <a:pt x="11454" y="21060"/>
                    <a:pt x="11442" y="21335"/>
                    <a:pt x="11436" y="21600"/>
                  </a:cubicBezTo>
                  <a:cubicBezTo>
                    <a:pt x="13398" y="21244"/>
                    <a:pt x="15284" y="20239"/>
                    <a:pt x="16796" y="18566"/>
                  </a:cubicBezTo>
                  <a:cubicBezTo>
                    <a:pt x="20638" y="14319"/>
                    <a:pt x="20638" y="7433"/>
                    <a:pt x="16796" y="3185"/>
                  </a:cubicBezTo>
                  <a:cubicBezTo>
                    <a:pt x="14875" y="1061"/>
                    <a:pt x="12356" y="0"/>
                    <a:pt x="9838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854074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1pPr>
              <a:lvl2pPr marL="1489073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2pPr>
              <a:lvl3pPr marL="2124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3pPr>
              <a:lvl4pPr marL="2759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4pPr>
              <a:lvl5pPr marL="3394071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5pPr>
              <a:lvl6pPr marL="2285998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6pPr>
              <a:lvl7pPr marL="27431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7pPr>
              <a:lvl8pPr marL="32003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8pPr>
              <a:lvl9pPr marL="3657596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07EDF83C-2EF4-4DC2-AE7E-4C17D2D1CC2D}"/>
                </a:ext>
              </a:extLst>
            </p:cNvPr>
            <p:cNvSpPr/>
            <p:nvPr/>
          </p:nvSpPr>
          <p:spPr bwMode="auto">
            <a:xfrm>
              <a:off x="5394153" y="2942682"/>
              <a:ext cx="1403697" cy="1391734"/>
            </a:xfrm>
            <a:custGeom>
              <a:avLst/>
              <a:gdLst>
                <a:gd name="T0" fmla="*/ 1396929 w 19679"/>
                <a:gd name="T1" fmla="*/ 1385094 h 21600"/>
                <a:gd name="T2" fmla="*/ 1396929 w 19679"/>
                <a:gd name="T3" fmla="*/ 1385094 h 21600"/>
                <a:gd name="T4" fmla="*/ 1396929 w 19679"/>
                <a:gd name="T5" fmla="*/ 1385094 h 21600"/>
                <a:gd name="T6" fmla="*/ 1396929 w 19679"/>
                <a:gd name="T7" fmla="*/ 1385094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1600">
                  <a:moveTo>
                    <a:pt x="9840" y="0"/>
                  </a:moveTo>
                  <a:cubicBezTo>
                    <a:pt x="7322" y="0"/>
                    <a:pt x="4802" y="1063"/>
                    <a:pt x="2881" y="3190"/>
                  </a:cubicBezTo>
                  <a:cubicBezTo>
                    <a:pt x="-961" y="7445"/>
                    <a:pt x="-961" y="14344"/>
                    <a:pt x="2881" y="18598"/>
                  </a:cubicBezTo>
                  <a:cubicBezTo>
                    <a:pt x="4337" y="20210"/>
                    <a:pt x="6134" y="21209"/>
                    <a:pt x="8016" y="21600"/>
                  </a:cubicBezTo>
                  <a:cubicBezTo>
                    <a:pt x="8154" y="20857"/>
                    <a:pt x="8137" y="20064"/>
                    <a:pt x="8049" y="19309"/>
                  </a:cubicBezTo>
                  <a:cubicBezTo>
                    <a:pt x="7981" y="18720"/>
                    <a:pt x="7552" y="18189"/>
                    <a:pt x="7389" y="17614"/>
                  </a:cubicBezTo>
                  <a:cubicBezTo>
                    <a:pt x="7066" y="16467"/>
                    <a:pt x="6898" y="15510"/>
                    <a:pt x="6898" y="14297"/>
                  </a:cubicBezTo>
                  <a:cubicBezTo>
                    <a:pt x="6898" y="13719"/>
                    <a:pt x="6390" y="12905"/>
                    <a:pt x="7171" y="12234"/>
                  </a:cubicBezTo>
                  <a:cubicBezTo>
                    <a:pt x="7405" y="12033"/>
                    <a:pt x="7717" y="12156"/>
                    <a:pt x="7748" y="11802"/>
                  </a:cubicBezTo>
                  <a:cubicBezTo>
                    <a:pt x="7766" y="11598"/>
                    <a:pt x="7754" y="11382"/>
                    <a:pt x="7709" y="11184"/>
                  </a:cubicBezTo>
                  <a:cubicBezTo>
                    <a:pt x="7551" y="10484"/>
                    <a:pt x="7369" y="9823"/>
                    <a:pt x="7288" y="9106"/>
                  </a:cubicBezTo>
                  <a:cubicBezTo>
                    <a:pt x="7219" y="8496"/>
                    <a:pt x="7152" y="7823"/>
                    <a:pt x="7018" y="7227"/>
                  </a:cubicBezTo>
                  <a:cubicBezTo>
                    <a:pt x="6929" y="6833"/>
                    <a:pt x="6938" y="5868"/>
                    <a:pt x="7574" y="6099"/>
                  </a:cubicBezTo>
                  <a:cubicBezTo>
                    <a:pt x="8112" y="6295"/>
                    <a:pt x="8202" y="7091"/>
                    <a:pt x="8237" y="7613"/>
                  </a:cubicBezTo>
                  <a:cubicBezTo>
                    <a:pt x="8321" y="8873"/>
                    <a:pt x="8637" y="10157"/>
                    <a:pt x="9011" y="11356"/>
                  </a:cubicBezTo>
                  <a:cubicBezTo>
                    <a:pt x="9365" y="11088"/>
                    <a:pt x="9136" y="10567"/>
                    <a:pt x="9154" y="10200"/>
                  </a:cubicBezTo>
                  <a:cubicBezTo>
                    <a:pt x="9177" y="9704"/>
                    <a:pt x="9200" y="9216"/>
                    <a:pt x="9232" y="8724"/>
                  </a:cubicBezTo>
                  <a:cubicBezTo>
                    <a:pt x="9272" y="8096"/>
                    <a:pt x="9103" y="7497"/>
                    <a:pt x="9193" y="6859"/>
                  </a:cubicBezTo>
                  <a:cubicBezTo>
                    <a:pt x="9254" y="6428"/>
                    <a:pt x="9119" y="5797"/>
                    <a:pt x="9432" y="5449"/>
                  </a:cubicBezTo>
                  <a:cubicBezTo>
                    <a:pt x="9728" y="5121"/>
                    <a:pt x="10265" y="5332"/>
                    <a:pt x="10372" y="5757"/>
                  </a:cubicBezTo>
                  <a:cubicBezTo>
                    <a:pt x="10522" y="6349"/>
                    <a:pt x="10388" y="7074"/>
                    <a:pt x="10370" y="7676"/>
                  </a:cubicBezTo>
                  <a:cubicBezTo>
                    <a:pt x="10349" y="8368"/>
                    <a:pt x="10560" y="9005"/>
                    <a:pt x="10560" y="9696"/>
                  </a:cubicBezTo>
                  <a:cubicBezTo>
                    <a:pt x="10560" y="10149"/>
                    <a:pt x="10351" y="10721"/>
                    <a:pt x="10609" y="11135"/>
                  </a:cubicBezTo>
                  <a:cubicBezTo>
                    <a:pt x="11006" y="10952"/>
                    <a:pt x="10975" y="10063"/>
                    <a:pt x="11079" y="9653"/>
                  </a:cubicBezTo>
                  <a:cubicBezTo>
                    <a:pt x="11169" y="9299"/>
                    <a:pt x="11287" y="9000"/>
                    <a:pt x="11337" y="8629"/>
                  </a:cubicBezTo>
                  <a:cubicBezTo>
                    <a:pt x="11370" y="8376"/>
                    <a:pt x="11464" y="8074"/>
                    <a:pt x="11464" y="7791"/>
                  </a:cubicBezTo>
                  <a:cubicBezTo>
                    <a:pt x="11464" y="7264"/>
                    <a:pt x="11488" y="6489"/>
                    <a:pt x="11843" y="6071"/>
                  </a:cubicBezTo>
                  <a:cubicBezTo>
                    <a:pt x="12136" y="5726"/>
                    <a:pt x="12824" y="5844"/>
                    <a:pt x="12916" y="6347"/>
                  </a:cubicBezTo>
                  <a:cubicBezTo>
                    <a:pt x="13046" y="7049"/>
                    <a:pt x="12637" y="7834"/>
                    <a:pt x="12597" y="8539"/>
                  </a:cubicBezTo>
                  <a:cubicBezTo>
                    <a:pt x="12556" y="9246"/>
                    <a:pt x="12525" y="9868"/>
                    <a:pt x="12308" y="10551"/>
                  </a:cubicBezTo>
                  <a:cubicBezTo>
                    <a:pt x="11919" y="11778"/>
                    <a:pt x="12431" y="13033"/>
                    <a:pt x="12225" y="14280"/>
                  </a:cubicBezTo>
                  <a:cubicBezTo>
                    <a:pt x="12091" y="15095"/>
                    <a:pt x="12382" y="15825"/>
                    <a:pt x="12256" y="16699"/>
                  </a:cubicBezTo>
                  <a:cubicBezTo>
                    <a:pt x="12204" y="17063"/>
                    <a:pt x="12041" y="17402"/>
                    <a:pt x="11916" y="17744"/>
                  </a:cubicBezTo>
                  <a:cubicBezTo>
                    <a:pt x="11833" y="17969"/>
                    <a:pt x="11607" y="18118"/>
                    <a:pt x="11607" y="18363"/>
                  </a:cubicBezTo>
                  <a:cubicBezTo>
                    <a:pt x="11607" y="19161"/>
                    <a:pt x="11789" y="19938"/>
                    <a:pt x="11781" y="20728"/>
                  </a:cubicBezTo>
                  <a:cubicBezTo>
                    <a:pt x="11778" y="21016"/>
                    <a:pt x="11753" y="21300"/>
                    <a:pt x="11734" y="21585"/>
                  </a:cubicBezTo>
                  <a:cubicBezTo>
                    <a:pt x="13589" y="21184"/>
                    <a:pt x="15359" y="20189"/>
                    <a:pt x="16796" y="18598"/>
                  </a:cubicBezTo>
                  <a:cubicBezTo>
                    <a:pt x="20638" y="14344"/>
                    <a:pt x="20638" y="7445"/>
                    <a:pt x="16796" y="3190"/>
                  </a:cubicBezTo>
                  <a:cubicBezTo>
                    <a:pt x="14875" y="1063"/>
                    <a:pt x="12358" y="0"/>
                    <a:pt x="984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854074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1pPr>
              <a:lvl2pPr marL="1489073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2pPr>
              <a:lvl3pPr marL="2124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3pPr>
              <a:lvl4pPr marL="2759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4pPr>
              <a:lvl5pPr marL="3394071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5pPr>
              <a:lvl6pPr marL="2285998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6pPr>
              <a:lvl7pPr marL="27431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7pPr>
              <a:lvl8pPr marL="32003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8pPr>
              <a:lvl9pPr marL="3657596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1A9A2992-4929-4661-AB82-15C52FCF4D7A}"/>
                </a:ext>
              </a:extLst>
            </p:cNvPr>
            <p:cNvSpPr/>
            <p:nvPr/>
          </p:nvSpPr>
          <p:spPr bwMode="auto">
            <a:xfrm>
              <a:off x="9636789" y="2939891"/>
              <a:ext cx="1403697" cy="1397317"/>
            </a:xfrm>
            <a:custGeom>
              <a:avLst/>
              <a:gdLst>
                <a:gd name="T0" fmla="*/ 1396929 w 19679"/>
                <a:gd name="T1" fmla="*/ 1390650 h 21600"/>
                <a:gd name="T2" fmla="*/ 1396929 w 19679"/>
                <a:gd name="T3" fmla="*/ 1390650 h 21600"/>
                <a:gd name="T4" fmla="*/ 1396929 w 19679"/>
                <a:gd name="T5" fmla="*/ 1390650 h 21600"/>
                <a:gd name="T6" fmla="*/ 1396929 w 19679"/>
                <a:gd name="T7" fmla="*/ 1390650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9679" h="21600">
                  <a:moveTo>
                    <a:pt x="9839" y="0"/>
                  </a:moveTo>
                  <a:cubicBezTo>
                    <a:pt x="7321" y="0"/>
                    <a:pt x="4802" y="1058"/>
                    <a:pt x="2881" y="3176"/>
                  </a:cubicBezTo>
                  <a:cubicBezTo>
                    <a:pt x="-961" y="7412"/>
                    <a:pt x="-961" y="14279"/>
                    <a:pt x="2881" y="18515"/>
                  </a:cubicBezTo>
                  <a:cubicBezTo>
                    <a:pt x="4148" y="19912"/>
                    <a:pt x="5679" y="20838"/>
                    <a:pt x="7295" y="21313"/>
                  </a:cubicBezTo>
                  <a:cubicBezTo>
                    <a:pt x="7306" y="21185"/>
                    <a:pt x="7325" y="21050"/>
                    <a:pt x="7334" y="20924"/>
                  </a:cubicBezTo>
                  <a:cubicBezTo>
                    <a:pt x="7433" y="19560"/>
                    <a:pt x="6825" y="18431"/>
                    <a:pt x="6445" y="17197"/>
                  </a:cubicBezTo>
                  <a:cubicBezTo>
                    <a:pt x="5874" y="15777"/>
                    <a:pt x="5675" y="14138"/>
                    <a:pt x="5687" y="12597"/>
                  </a:cubicBezTo>
                  <a:cubicBezTo>
                    <a:pt x="5692" y="11883"/>
                    <a:pt x="5275" y="11146"/>
                    <a:pt x="5102" y="10474"/>
                  </a:cubicBezTo>
                  <a:cubicBezTo>
                    <a:pt x="4891" y="10084"/>
                    <a:pt x="4845" y="9244"/>
                    <a:pt x="4785" y="8802"/>
                  </a:cubicBezTo>
                  <a:cubicBezTo>
                    <a:pt x="4670" y="7958"/>
                    <a:pt x="5327" y="7746"/>
                    <a:pt x="5684" y="8426"/>
                  </a:cubicBezTo>
                  <a:cubicBezTo>
                    <a:pt x="6037" y="9100"/>
                    <a:pt x="6096" y="9902"/>
                    <a:pt x="6409" y="10595"/>
                  </a:cubicBezTo>
                  <a:cubicBezTo>
                    <a:pt x="6559" y="10926"/>
                    <a:pt x="6656" y="11804"/>
                    <a:pt x="7058" y="11709"/>
                  </a:cubicBezTo>
                  <a:cubicBezTo>
                    <a:pt x="7366" y="11676"/>
                    <a:pt x="7023" y="10959"/>
                    <a:pt x="7014" y="10764"/>
                  </a:cubicBezTo>
                  <a:cubicBezTo>
                    <a:pt x="6994" y="10326"/>
                    <a:pt x="6870" y="9942"/>
                    <a:pt x="6890" y="9489"/>
                  </a:cubicBezTo>
                  <a:cubicBezTo>
                    <a:pt x="6902" y="9215"/>
                    <a:pt x="6900" y="8945"/>
                    <a:pt x="6864" y="8673"/>
                  </a:cubicBezTo>
                  <a:cubicBezTo>
                    <a:pt x="6676" y="8156"/>
                    <a:pt x="6772" y="7446"/>
                    <a:pt x="6700" y="6897"/>
                  </a:cubicBezTo>
                  <a:cubicBezTo>
                    <a:pt x="6653" y="6538"/>
                    <a:pt x="6630" y="6138"/>
                    <a:pt x="6757" y="5794"/>
                  </a:cubicBezTo>
                  <a:cubicBezTo>
                    <a:pt x="6870" y="5490"/>
                    <a:pt x="7223" y="5183"/>
                    <a:pt x="7539" y="5321"/>
                  </a:cubicBezTo>
                  <a:cubicBezTo>
                    <a:pt x="8013" y="5529"/>
                    <a:pt x="7872" y="6038"/>
                    <a:pt x="7885" y="6470"/>
                  </a:cubicBezTo>
                  <a:cubicBezTo>
                    <a:pt x="7898" y="6905"/>
                    <a:pt x="7949" y="7242"/>
                    <a:pt x="8022" y="7662"/>
                  </a:cubicBezTo>
                  <a:cubicBezTo>
                    <a:pt x="8083" y="8010"/>
                    <a:pt x="8257" y="8637"/>
                    <a:pt x="8194" y="8988"/>
                  </a:cubicBezTo>
                  <a:cubicBezTo>
                    <a:pt x="8243" y="9288"/>
                    <a:pt x="8365" y="11410"/>
                    <a:pt x="8773" y="10830"/>
                  </a:cubicBezTo>
                  <a:cubicBezTo>
                    <a:pt x="8897" y="10144"/>
                    <a:pt x="8726" y="8719"/>
                    <a:pt x="8695" y="7590"/>
                  </a:cubicBezTo>
                  <a:cubicBezTo>
                    <a:pt x="8671" y="6723"/>
                    <a:pt x="8388" y="5506"/>
                    <a:pt x="8914" y="4771"/>
                  </a:cubicBezTo>
                  <a:cubicBezTo>
                    <a:pt x="9231" y="4327"/>
                    <a:pt x="9761" y="4710"/>
                    <a:pt x="9880" y="5127"/>
                  </a:cubicBezTo>
                  <a:cubicBezTo>
                    <a:pt x="9987" y="5503"/>
                    <a:pt x="9933" y="5938"/>
                    <a:pt x="9927" y="6327"/>
                  </a:cubicBezTo>
                  <a:cubicBezTo>
                    <a:pt x="9911" y="7281"/>
                    <a:pt x="10254" y="8239"/>
                    <a:pt x="10117" y="9188"/>
                  </a:cubicBezTo>
                  <a:cubicBezTo>
                    <a:pt x="10072" y="9496"/>
                    <a:pt x="10223" y="11643"/>
                    <a:pt x="10821" y="10735"/>
                  </a:cubicBezTo>
                  <a:cubicBezTo>
                    <a:pt x="11048" y="10390"/>
                    <a:pt x="11044" y="9818"/>
                    <a:pt x="11177" y="9417"/>
                  </a:cubicBezTo>
                  <a:cubicBezTo>
                    <a:pt x="11348" y="8899"/>
                    <a:pt x="11477" y="8376"/>
                    <a:pt x="11686" y="7874"/>
                  </a:cubicBezTo>
                  <a:cubicBezTo>
                    <a:pt x="11930" y="7285"/>
                    <a:pt x="12234" y="5353"/>
                    <a:pt x="13177" y="5757"/>
                  </a:cubicBezTo>
                  <a:cubicBezTo>
                    <a:pt x="13823" y="6033"/>
                    <a:pt x="13102" y="7797"/>
                    <a:pt x="13011" y="8292"/>
                  </a:cubicBezTo>
                  <a:cubicBezTo>
                    <a:pt x="12788" y="9497"/>
                    <a:pt x="12376" y="10680"/>
                    <a:pt x="12182" y="11884"/>
                  </a:cubicBezTo>
                  <a:cubicBezTo>
                    <a:pt x="12110" y="12329"/>
                    <a:pt x="12410" y="12760"/>
                    <a:pt x="12257" y="13210"/>
                  </a:cubicBezTo>
                  <a:cubicBezTo>
                    <a:pt x="12171" y="13463"/>
                    <a:pt x="12396" y="14159"/>
                    <a:pt x="12645" y="14273"/>
                  </a:cubicBezTo>
                  <a:cubicBezTo>
                    <a:pt x="13755" y="14781"/>
                    <a:pt x="14069" y="13871"/>
                    <a:pt x="14957" y="13382"/>
                  </a:cubicBezTo>
                  <a:cubicBezTo>
                    <a:pt x="15330" y="13176"/>
                    <a:pt x="16717" y="12212"/>
                    <a:pt x="16911" y="13173"/>
                  </a:cubicBezTo>
                  <a:cubicBezTo>
                    <a:pt x="17046" y="13840"/>
                    <a:pt x="16325" y="14235"/>
                    <a:pt x="15918" y="14562"/>
                  </a:cubicBezTo>
                  <a:cubicBezTo>
                    <a:pt x="15429" y="14955"/>
                    <a:pt x="15007" y="15315"/>
                    <a:pt x="14658" y="15854"/>
                  </a:cubicBezTo>
                  <a:cubicBezTo>
                    <a:pt x="13893" y="17034"/>
                    <a:pt x="12512" y="18156"/>
                    <a:pt x="11317" y="18987"/>
                  </a:cubicBezTo>
                  <a:cubicBezTo>
                    <a:pt x="10833" y="19324"/>
                    <a:pt x="11018" y="20913"/>
                    <a:pt x="11047" y="21599"/>
                  </a:cubicBezTo>
                  <a:cubicBezTo>
                    <a:pt x="13148" y="21314"/>
                    <a:pt x="15184" y="20293"/>
                    <a:pt x="16796" y="18515"/>
                  </a:cubicBezTo>
                  <a:cubicBezTo>
                    <a:pt x="20639" y="14279"/>
                    <a:pt x="20638" y="7412"/>
                    <a:pt x="16796" y="3176"/>
                  </a:cubicBezTo>
                  <a:cubicBezTo>
                    <a:pt x="14875" y="1058"/>
                    <a:pt x="12356" y="0"/>
                    <a:pt x="9839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854074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1pPr>
              <a:lvl2pPr marL="1489073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2pPr>
              <a:lvl3pPr marL="2124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3pPr>
              <a:lvl4pPr marL="2759072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4pPr>
              <a:lvl5pPr marL="3394071" indent="-854074" algn="ctr" defTabSz="825499" rtl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SzPct val="75000"/>
                <a:buChar char="•"/>
                <a:defRPr sz="7000" kern="1200">
                  <a:solidFill>
                    <a:srgbClr val="777776"/>
                  </a:solidFill>
                </a:defRPr>
              </a:lvl5pPr>
              <a:lvl6pPr marL="2285998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6pPr>
              <a:lvl7pPr marL="27431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7pPr>
              <a:lvl8pPr marL="3200397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8pPr>
              <a:lvl9pPr marL="3657596" algn="l" defTabSz="914399" rtl="0" eaLnBrk="1" latinLnBrk="0" hangingPunct="1">
                <a:defRPr sz="7000" kern="1200">
                  <a:solidFill>
                    <a:srgbClr val="777776"/>
                  </a:solidFill>
                </a:defRPr>
              </a:lvl9pPr>
            </a:lstStyle>
            <a:p>
              <a:endParaRPr lang="id-ID">
                <a:cs typeface="+mn-ea"/>
                <a:sym typeface="+mn-lt"/>
              </a:endParaRPr>
            </a:p>
          </p:txBody>
        </p:sp>
        <p:grpSp>
          <p:nvGrpSpPr>
            <p:cNvPr id="118" name="组合 117">
              <a:extLst>
                <a:ext uri="{FF2B5EF4-FFF2-40B4-BE49-F238E27FC236}">
                  <a16:creationId xmlns:a16="http://schemas.microsoft.com/office/drawing/2014/main" id="{17E7E59A-62FC-4661-A641-C31EADE6410C}"/>
                </a:ext>
              </a:extLst>
            </p:cNvPr>
            <p:cNvGrpSpPr/>
            <p:nvPr/>
          </p:nvGrpSpPr>
          <p:grpSpPr>
            <a:xfrm>
              <a:off x="9158374" y="4413409"/>
              <a:ext cx="2360526" cy="1394127"/>
              <a:chOff x="673100" y="4752673"/>
              <a:chExt cx="2360526" cy="1394127"/>
            </a:xfrm>
          </p:grpSpPr>
          <p:sp>
            <p:nvSpPr>
              <p:cNvPr id="123" name="矩形 122">
                <a:extLst>
                  <a:ext uri="{FF2B5EF4-FFF2-40B4-BE49-F238E27FC236}">
                    <a16:creationId xmlns:a16="http://schemas.microsoft.com/office/drawing/2014/main" id="{4800592C-AA54-4C51-98E3-256ECCE18B3E}"/>
                  </a:ext>
                </a:extLst>
              </p:cNvPr>
              <p:cNvSpPr/>
              <p:nvPr/>
            </p:nvSpPr>
            <p:spPr bwMode="auto">
              <a:xfrm>
                <a:off x="673100" y="5177279"/>
                <a:ext cx="2360526" cy="96952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.</a:t>
                </a:r>
              </a:p>
              <a:p>
                <a:pPr algn="ctr">
                  <a:lnSpc>
                    <a:spcPct val="150000"/>
                  </a:lnSpc>
                </a:pPr>
                <a:r>
                  <a:rPr lang="en-US" altLang="zh-CN" sz="1100" dirty="0"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124" name="文本框 123">
                <a:extLst>
                  <a:ext uri="{FF2B5EF4-FFF2-40B4-BE49-F238E27FC236}">
                    <a16:creationId xmlns:a16="http://schemas.microsoft.com/office/drawing/2014/main" id="{7502DF5D-69CD-4985-B21D-E5EDDC1345FF}"/>
                  </a:ext>
                </a:extLst>
              </p:cNvPr>
              <p:cNvSpPr txBox="1"/>
              <p:nvPr/>
            </p:nvSpPr>
            <p:spPr bwMode="auto">
              <a:xfrm>
                <a:off x="673100" y="4752673"/>
                <a:ext cx="2360526" cy="42460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…</a:t>
                </a:r>
                <a:r>
                  <a:rPr lang="zh-CN" altLang="en-US" b="1" dirty="0">
                    <a:cs typeface="+mn-ea"/>
                    <a:sym typeface="+mn-lt"/>
                  </a:rPr>
                  <a:t>课程介绍</a:t>
                </a:r>
                <a:endParaRPr lang="en-US" altLang="zh-CN" b="1" dirty="0">
                  <a:cs typeface="+mn-ea"/>
                  <a:sym typeface="+mn-lt"/>
                </a:endParaRPr>
              </a:p>
            </p:txBody>
          </p:sp>
        </p:grpSp>
        <p:cxnSp>
          <p:nvCxnSpPr>
            <p:cNvPr id="119" name="直接连接符 118">
              <a:extLst>
                <a:ext uri="{FF2B5EF4-FFF2-40B4-BE49-F238E27FC236}">
                  <a16:creationId xmlns:a16="http://schemas.microsoft.com/office/drawing/2014/main" id="{3B5DFC0E-9BB2-4084-BD91-BA550F8F486C}"/>
                </a:ext>
              </a:extLst>
            </p:cNvPr>
            <p:cNvCxnSpPr/>
            <p:nvPr/>
          </p:nvCxnSpPr>
          <p:spPr>
            <a:xfrm>
              <a:off x="2572023" y="3638549"/>
              <a:ext cx="684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直接连接符 119">
              <a:extLst>
                <a:ext uri="{FF2B5EF4-FFF2-40B4-BE49-F238E27FC236}">
                  <a16:creationId xmlns:a16="http://schemas.microsoft.com/office/drawing/2014/main" id="{2A4C108A-2A68-49E7-A2B0-B6742931DCD6}"/>
                </a:ext>
              </a:extLst>
            </p:cNvPr>
            <p:cNvCxnSpPr/>
            <p:nvPr/>
          </p:nvCxnSpPr>
          <p:spPr>
            <a:xfrm>
              <a:off x="4693342" y="3638549"/>
              <a:ext cx="684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直接连接符 120">
              <a:extLst>
                <a:ext uri="{FF2B5EF4-FFF2-40B4-BE49-F238E27FC236}">
                  <a16:creationId xmlns:a16="http://schemas.microsoft.com/office/drawing/2014/main" id="{C56589A7-1636-47B9-98B5-E8E3C77CACD8}"/>
                </a:ext>
              </a:extLst>
            </p:cNvPr>
            <p:cNvCxnSpPr/>
            <p:nvPr/>
          </p:nvCxnSpPr>
          <p:spPr>
            <a:xfrm>
              <a:off x="6814661" y="3638549"/>
              <a:ext cx="684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直接连接符 121">
              <a:extLst>
                <a:ext uri="{FF2B5EF4-FFF2-40B4-BE49-F238E27FC236}">
                  <a16:creationId xmlns:a16="http://schemas.microsoft.com/office/drawing/2014/main" id="{61D864DB-8741-427A-B43B-566A36001767}"/>
                </a:ext>
              </a:extLst>
            </p:cNvPr>
            <p:cNvCxnSpPr/>
            <p:nvPr/>
          </p:nvCxnSpPr>
          <p:spPr>
            <a:xfrm>
              <a:off x="8935980" y="3638549"/>
              <a:ext cx="68400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957924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要点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节标题内容：</a:t>
            </a:r>
            <a:r>
              <a:rPr lang="en-US" altLang="zh-CN" dirty="0">
                <a:cs typeface="+mn-ea"/>
                <a:sym typeface="+mn-lt"/>
              </a:rPr>
              <a:t>Arial/</a:t>
            </a:r>
            <a:r>
              <a:rPr lang="zh-CN" altLang="en-US" dirty="0">
                <a:cs typeface="+mn-ea"/>
                <a:sym typeface="+mn-lt"/>
              </a:rPr>
              <a:t>微软雅黑</a:t>
            </a:r>
            <a:r>
              <a:rPr lang="en-US" altLang="zh-CN" dirty="0">
                <a:cs typeface="+mn-ea"/>
                <a:sym typeface="+mn-lt"/>
              </a:rPr>
              <a:t>11</a:t>
            </a:r>
            <a:r>
              <a:rPr lang="zh-CN" altLang="en-US" dirty="0">
                <a:cs typeface="+mn-ea"/>
                <a:sym typeface="+mn-lt"/>
              </a:rPr>
              <a:t>号灰色，行距</a:t>
            </a:r>
            <a:r>
              <a:rPr lang="en-US" altLang="zh-CN" dirty="0">
                <a:cs typeface="+mn-ea"/>
                <a:sym typeface="+mn-lt"/>
              </a:rPr>
              <a:t>1.2-1.5</a:t>
            </a:r>
            <a:r>
              <a:rPr lang="zh-CN" altLang="en-US" dirty="0">
                <a:cs typeface="+mn-ea"/>
                <a:sym typeface="+mn-lt"/>
              </a:rPr>
              <a:t>倍</a:t>
            </a:r>
            <a:endParaRPr lang="en-US" altLang="zh-CN" dirty="0">
              <a:cs typeface="+mn-ea"/>
              <a:sym typeface="+mn-lt"/>
            </a:endParaRPr>
          </a:p>
          <a:p>
            <a:r>
              <a:rPr lang="en-US" altLang="zh-CN" dirty="0">
                <a:cs typeface="+mn-ea"/>
                <a:sym typeface="+mn-lt"/>
              </a:rPr>
              <a:t>… …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C7816C2E-E271-45F3-952E-7FC724E6740D}"/>
              </a:ext>
            </a:extLst>
          </p:cNvPr>
          <p:cNvSpPr txBox="1"/>
          <p:nvPr/>
        </p:nvSpPr>
        <p:spPr>
          <a:xfrm>
            <a:off x="5072484" y="3945616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8765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49A357-35DD-4465-87D0-FBA0717BF6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要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1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77CE8F3-79DC-411C-BA2B-19EE9EB09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9D46965-FC83-4F11-9A17-57C1967973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F183C9E-C0B2-44EC-B8D8-C816E1E9B3A6}"/>
              </a:ext>
            </a:extLst>
          </p:cNvPr>
          <p:cNvGrpSpPr>
            <a:grpSpLocks noChangeAspect="1"/>
          </p:cNvGrpSpPr>
          <p:nvPr/>
        </p:nvGrpSpPr>
        <p:grpSpPr>
          <a:xfrm>
            <a:off x="660399" y="1130301"/>
            <a:ext cx="10858501" cy="5003799"/>
            <a:chOff x="660399" y="1130300"/>
            <a:chExt cx="10858505" cy="5003801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2C4CA9E3-1083-4792-8920-BB989F5F76D2}"/>
                </a:ext>
              </a:extLst>
            </p:cNvPr>
            <p:cNvGrpSpPr/>
            <p:nvPr/>
          </p:nvGrpSpPr>
          <p:grpSpPr>
            <a:xfrm>
              <a:off x="660399" y="1130300"/>
              <a:ext cx="4834881" cy="2309793"/>
              <a:chOff x="660399" y="1130300"/>
              <a:chExt cx="4834881" cy="2309793"/>
            </a:xfrm>
          </p:grpSpPr>
          <p:sp>
            <p:nvSpPr>
              <p:cNvPr id="105" name="文本框 104">
                <a:extLst>
                  <a:ext uri="{FF2B5EF4-FFF2-40B4-BE49-F238E27FC236}">
                    <a16:creationId xmlns:a16="http://schemas.microsoft.com/office/drawing/2014/main" id="{6B8E88F9-D4BA-4AE6-BE79-13C88931DBFD}"/>
                  </a:ext>
                </a:extLst>
              </p:cNvPr>
              <p:cNvSpPr txBox="1"/>
              <p:nvPr/>
            </p:nvSpPr>
            <p:spPr>
              <a:xfrm>
                <a:off x="660399" y="1473491"/>
                <a:ext cx="4834879" cy="98994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400" b="1" dirty="0">
                    <a:cs typeface="+mn-ea"/>
                    <a:sym typeface="+mn-lt"/>
                  </a:rPr>
                  <a:t>Unified fonts make reading more fluent.</a:t>
                </a:r>
              </a:p>
            </p:txBody>
          </p:sp>
          <p:sp>
            <p:nvSpPr>
              <p:cNvPr id="106" name="文本框 105">
                <a:extLst>
                  <a:ext uri="{FF2B5EF4-FFF2-40B4-BE49-F238E27FC236}">
                    <a16:creationId xmlns:a16="http://schemas.microsoft.com/office/drawing/2014/main" id="{D66C4080-C682-455C-9689-7D9CB68F1585}"/>
                  </a:ext>
                </a:extLst>
              </p:cNvPr>
              <p:cNvSpPr txBox="1"/>
              <p:nvPr/>
            </p:nvSpPr>
            <p:spPr>
              <a:xfrm>
                <a:off x="660400" y="2463433"/>
                <a:ext cx="4834880" cy="97666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cs typeface="+mn-ea"/>
                    <a:sym typeface="+mn-lt"/>
                  </a:rPr>
                  <a:t>Theme color 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>
                    <a:cs typeface="+mn-ea"/>
                    <a:sym typeface="+mn-lt"/>
                  </a:rPr>
                  <a:t>Adjust the spacing to adapt to Chinese typesetting, use the reference line in PPT.</a:t>
                </a:r>
              </a:p>
            </p:txBody>
          </p:sp>
          <p:sp>
            <p:nvSpPr>
              <p:cNvPr id="107" name="矩形 106">
                <a:extLst>
                  <a:ext uri="{FF2B5EF4-FFF2-40B4-BE49-F238E27FC236}">
                    <a16:creationId xmlns:a16="http://schemas.microsoft.com/office/drawing/2014/main" id="{C6C6722D-2811-4750-9D74-A4BE117DE2DB}"/>
                  </a:ext>
                </a:extLst>
              </p:cNvPr>
              <p:cNvSpPr/>
              <p:nvPr/>
            </p:nvSpPr>
            <p:spPr bwMode="auto">
              <a:xfrm>
                <a:off x="660400" y="1130300"/>
                <a:ext cx="1443608" cy="34319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000" u="sng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77CEC8D0-CF98-45A4-B5A9-1E23C057874C}"/>
                </a:ext>
              </a:extLst>
            </p:cNvPr>
            <p:cNvCxnSpPr/>
            <p:nvPr/>
          </p:nvCxnSpPr>
          <p:spPr>
            <a:xfrm>
              <a:off x="660400" y="3492090"/>
              <a:ext cx="7077233" cy="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1C3BD29-0473-4B3A-8E7B-D989260C0162}"/>
                </a:ext>
              </a:extLst>
            </p:cNvPr>
            <p:cNvGrpSpPr/>
            <p:nvPr/>
          </p:nvGrpSpPr>
          <p:grpSpPr>
            <a:xfrm>
              <a:off x="7425899" y="1197368"/>
              <a:ext cx="4093005" cy="4936733"/>
              <a:chOff x="7425899" y="1298968"/>
              <a:chExt cx="4093005" cy="4936733"/>
            </a:xfrm>
          </p:grpSpPr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3F0BC6A5-B937-43A3-86C3-77CE9973E4A8}"/>
                  </a:ext>
                </a:extLst>
              </p:cNvPr>
              <p:cNvGrpSpPr/>
              <p:nvPr/>
            </p:nvGrpSpPr>
            <p:grpSpPr>
              <a:xfrm>
                <a:off x="7425899" y="1298968"/>
                <a:ext cx="4093005" cy="4936733"/>
                <a:chOff x="8074656" y="1979862"/>
                <a:chExt cx="3444245" cy="4154237"/>
              </a:xfrm>
            </p:grpSpPr>
            <p:sp>
              <p:nvSpPr>
                <p:cNvPr id="98" name="任意多边形: 形状 97">
                  <a:extLst>
                    <a:ext uri="{FF2B5EF4-FFF2-40B4-BE49-F238E27FC236}">
                      <a16:creationId xmlns:a16="http://schemas.microsoft.com/office/drawing/2014/main" id="{146D8FF5-95EE-4E9F-9D24-683AE5E700BC}"/>
                    </a:ext>
                  </a:extLst>
                </p:cNvPr>
                <p:cNvSpPr/>
                <p:nvPr/>
              </p:nvSpPr>
              <p:spPr>
                <a:xfrm>
                  <a:off x="8160149" y="2027810"/>
                  <a:ext cx="2019214" cy="20192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883" y="2647"/>
                      </a:moveTo>
                      <a:lnTo>
                        <a:pt x="17677" y="2459"/>
                      </a:lnTo>
                      <a:lnTo>
                        <a:pt x="17461" y="2288"/>
                      </a:lnTo>
                      <a:lnTo>
                        <a:pt x="17237" y="2127"/>
                      </a:lnTo>
                      <a:lnTo>
                        <a:pt x="17021" y="1965"/>
                      </a:lnTo>
                      <a:lnTo>
                        <a:pt x="16564" y="1660"/>
                      </a:lnTo>
                      <a:lnTo>
                        <a:pt x="16106" y="1382"/>
                      </a:lnTo>
                      <a:lnTo>
                        <a:pt x="15630" y="1131"/>
                      </a:lnTo>
                      <a:lnTo>
                        <a:pt x="15145" y="906"/>
                      </a:lnTo>
                      <a:lnTo>
                        <a:pt x="14651" y="700"/>
                      </a:lnTo>
                      <a:lnTo>
                        <a:pt x="14158" y="529"/>
                      </a:lnTo>
                      <a:lnTo>
                        <a:pt x="13655" y="377"/>
                      </a:lnTo>
                      <a:lnTo>
                        <a:pt x="13152" y="251"/>
                      </a:lnTo>
                      <a:lnTo>
                        <a:pt x="12631" y="153"/>
                      </a:lnTo>
                      <a:lnTo>
                        <a:pt x="12111" y="72"/>
                      </a:lnTo>
                      <a:lnTo>
                        <a:pt x="11599" y="27"/>
                      </a:lnTo>
                      <a:lnTo>
                        <a:pt x="11078" y="0"/>
                      </a:lnTo>
                      <a:lnTo>
                        <a:pt x="10558" y="0"/>
                      </a:lnTo>
                      <a:lnTo>
                        <a:pt x="10046" y="27"/>
                      </a:lnTo>
                      <a:lnTo>
                        <a:pt x="9525" y="72"/>
                      </a:lnTo>
                      <a:lnTo>
                        <a:pt x="9022" y="144"/>
                      </a:lnTo>
                      <a:lnTo>
                        <a:pt x="8502" y="242"/>
                      </a:lnTo>
                      <a:lnTo>
                        <a:pt x="7999" y="359"/>
                      </a:lnTo>
                      <a:lnTo>
                        <a:pt x="7505" y="512"/>
                      </a:lnTo>
                      <a:lnTo>
                        <a:pt x="7011" y="682"/>
                      </a:lnTo>
                      <a:lnTo>
                        <a:pt x="6527" y="870"/>
                      </a:lnTo>
                      <a:lnTo>
                        <a:pt x="6042" y="1095"/>
                      </a:lnTo>
                      <a:lnTo>
                        <a:pt x="5575" y="1337"/>
                      </a:lnTo>
                      <a:lnTo>
                        <a:pt x="5126" y="1597"/>
                      </a:lnTo>
                      <a:lnTo>
                        <a:pt x="4677" y="1893"/>
                      </a:lnTo>
                      <a:lnTo>
                        <a:pt x="4237" y="2208"/>
                      </a:lnTo>
                      <a:lnTo>
                        <a:pt x="3815" y="2549"/>
                      </a:lnTo>
                      <a:lnTo>
                        <a:pt x="3411" y="2908"/>
                      </a:lnTo>
                      <a:lnTo>
                        <a:pt x="3016" y="3302"/>
                      </a:lnTo>
                      <a:lnTo>
                        <a:pt x="2837" y="3500"/>
                      </a:lnTo>
                      <a:lnTo>
                        <a:pt x="2639" y="3706"/>
                      </a:lnTo>
                      <a:lnTo>
                        <a:pt x="2298" y="4137"/>
                      </a:lnTo>
                      <a:lnTo>
                        <a:pt x="2128" y="4361"/>
                      </a:lnTo>
                      <a:lnTo>
                        <a:pt x="1966" y="4577"/>
                      </a:lnTo>
                      <a:lnTo>
                        <a:pt x="1661" y="5034"/>
                      </a:lnTo>
                      <a:lnTo>
                        <a:pt x="1374" y="5492"/>
                      </a:lnTo>
                      <a:lnTo>
                        <a:pt x="1131" y="5968"/>
                      </a:lnTo>
                      <a:lnTo>
                        <a:pt x="907" y="6452"/>
                      </a:lnTo>
                      <a:lnTo>
                        <a:pt x="700" y="6946"/>
                      </a:lnTo>
                      <a:lnTo>
                        <a:pt x="530" y="7439"/>
                      </a:lnTo>
                      <a:lnTo>
                        <a:pt x="377" y="7942"/>
                      </a:lnTo>
                      <a:lnTo>
                        <a:pt x="251" y="8453"/>
                      </a:lnTo>
                      <a:lnTo>
                        <a:pt x="144" y="8965"/>
                      </a:lnTo>
                      <a:lnTo>
                        <a:pt x="18" y="9988"/>
                      </a:lnTo>
                      <a:lnTo>
                        <a:pt x="0" y="10508"/>
                      </a:lnTo>
                      <a:lnTo>
                        <a:pt x="0" y="11038"/>
                      </a:lnTo>
                      <a:lnTo>
                        <a:pt x="18" y="11549"/>
                      </a:lnTo>
                      <a:lnTo>
                        <a:pt x="63" y="12070"/>
                      </a:lnTo>
                      <a:lnTo>
                        <a:pt x="144" y="12572"/>
                      </a:lnTo>
                      <a:lnTo>
                        <a:pt x="242" y="13093"/>
                      </a:lnTo>
                      <a:lnTo>
                        <a:pt x="368" y="13586"/>
                      </a:lnTo>
                      <a:lnTo>
                        <a:pt x="503" y="14089"/>
                      </a:lnTo>
                      <a:lnTo>
                        <a:pt x="673" y="14591"/>
                      </a:lnTo>
                      <a:lnTo>
                        <a:pt x="871" y="15067"/>
                      </a:lnTo>
                      <a:lnTo>
                        <a:pt x="1086" y="15552"/>
                      </a:lnTo>
                      <a:lnTo>
                        <a:pt x="1329" y="16009"/>
                      </a:lnTo>
                      <a:lnTo>
                        <a:pt x="1607" y="16476"/>
                      </a:lnTo>
                      <a:lnTo>
                        <a:pt x="1894" y="16925"/>
                      </a:lnTo>
                      <a:lnTo>
                        <a:pt x="2208" y="17355"/>
                      </a:lnTo>
                      <a:lnTo>
                        <a:pt x="2550" y="17768"/>
                      </a:lnTo>
                      <a:lnTo>
                        <a:pt x="2918" y="18181"/>
                      </a:lnTo>
                      <a:lnTo>
                        <a:pt x="3097" y="18378"/>
                      </a:lnTo>
                      <a:lnTo>
                        <a:pt x="3295" y="18576"/>
                      </a:lnTo>
                      <a:lnTo>
                        <a:pt x="3501" y="18755"/>
                      </a:lnTo>
                      <a:lnTo>
                        <a:pt x="3708" y="18944"/>
                      </a:lnTo>
                      <a:lnTo>
                        <a:pt x="3914" y="19123"/>
                      </a:lnTo>
                      <a:lnTo>
                        <a:pt x="4139" y="19303"/>
                      </a:lnTo>
                      <a:lnTo>
                        <a:pt x="4354" y="19473"/>
                      </a:lnTo>
                      <a:lnTo>
                        <a:pt x="4588" y="19635"/>
                      </a:lnTo>
                      <a:lnTo>
                        <a:pt x="5036" y="19931"/>
                      </a:lnTo>
                      <a:lnTo>
                        <a:pt x="5494" y="20209"/>
                      </a:lnTo>
                      <a:lnTo>
                        <a:pt x="5979" y="20460"/>
                      </a:lnTo>
                      <a:lnTo>
                        <a:pt x="6446" y="20694"/>
                      </a:lnTo>
                      <a:lnTo>
                        <a:pt x="7433" y="21071"/>
                      </a:lnTo>
                      <a:lnTo>
                        <a:pt x="7945" y="21223"/>
                      </a:lnTo>
                      <a:lnTo>
                        <a:pt x="8448" y="21349"/>
                      </a:lnTo>
                      <a:lnTo>
                        <a:pt x="8960" y="21447"/>
                      </a:lnTo>
                      <a:lnTo>
                        <a:pt x="9480" y="21519"/>
                      </a:lnTo>
                      <a:lnTo>
                        <a:pt x="10001" y="21573"/>
                      </a:lnTo>
                      <a:lnTo>
                        <a:pt x="10513" y="21600"/>
                      </a:lnTo>
                      <a:lnTo>
                        <a:pt x="11033" y="21600"/>
                      </a:lnTo>
                      <a:lnTo>
                        <a:pt x="11554" y="21573"/>
                      </a:lnTo>
                      <a:lnTo>
                        <a:pt x="12066" y="21528"/>
                      </a:lnTo>
                      <a:lnTo>
                        <a:pt x="12587" y="21447"/>
                      </a:lnTo>
                      <a:lnTo>
                        <a:pt x="13089" y="21358"/>
                      </a:lnTo>
                      <a:lnTo>
                        <a:pt x="13601" y="21232"/>
                      </a:lnTo>
                      <a:lnTo>
                        <a:pt x="14095" y="21080"/>
                      </a:lnTo>
                      <a:lnTo>
                        <a:pt x="14589" y="20918"/>
                      </a:lnTo>
                      <a:lnTo>
                        <a:pt x="15064" y="20721"/>
                      </a:lnTo>
                      <a:lnTo>
                        <a:pt x="15549" y="20505"/>
                      </a:lnTo>
                      <a:lnTo>
                        <a:pt x="16025" y="20254"/>
                      </a:lnTo>
                      <a:lnTo>
                        <a:pt x="16483" y="19985"/>
                      </a:lnTo>
                      <a:lnTo>
                        <a:pt x="16923" y="19698"/>
                      </a:lnTo>
                      <a:lnTo>
                        <a:pt x="17354" y="19383"/>
                      </a:lnTo>
                      <a:lnTo>
                        <a:pt x="17785" y="19042"/>
                      </a:lnTo>
                      <a:lnTo>
                        <a:pt x="18180" y="18675"/>
                      </a:lnTo>
                      <a:lnTo>
                        <a:pt x="18377" y="18495"/>
                      </a:lnTo>
                      <a:lnTo>
                        <a:pt x="18575" y="18298"/>
                      </a:lnTo>
                      <a:lnTo>
                        <a:pt x="18772" y="18091"/>
                      </a:lnTo>
                      <a:lnTo>
                        <a:pt x="18952" y="17885"/>
                      </a:lnTo>
                      <a:lnTo>
                        <a:pt x="19131" y="17669"/>
                      </a:lnTo>
                      <a:lnTo>
                        <a:pt x="19311" y="17463"/>
                      </a:lnTo>
                      <a:lnTo>
                        <a:pt x="19796" y="16790"/>
                      </a:lnTo>
                      <a:lnTo>
                        <a:pt x="19939" y="16566"/>
                      </a:lnTo>
                      <a:lnTo>
                        <a:pt x="20217" y="16108"/>
                      </a:lnTo>
                      <a:lnTo>
                        <a:pt x="20469" y="15623"/>
                      </a:lnTo>
                      <a:lnTo>
                        <a:pt x="20693" y="15139"/>
                      </a:lnTo>
                      <a:lnTo>
                        <a:pt x="20900" y="14654"/>
                      </a:lnTo>
                      <a:lnTo>
                        <a:pt x="21070" y="14152"/>
                      </a:lnTo>
                      <a:lnTo>
                        <a:pt x="21223" y="13658"/>
                      </a:lnTo>
                      <a:lnTo>
                        <a:pt x="21349" y="13138"/>
                      </a:lnTo>
                      <a:lnTo>
                        <a:pt x="21447" y="12635"/>
                      </a:lnTo>
                      <a:lnTo>
                        <a:pt x="21519" y="12115"/>
                      </a:lnTo>
                      <a:lnTo>
                        <a:pt x="21573" y="11594"/>
                      </a:lnTo>
                      <a:lnTo>
                        <a:pt x="21600" y="11083"/>
                      </a:lnTo>
                      <a:lnTo>
                        <a:pt x="21600" y="10562"/>
                      </a:lnTo>
                      <a:lnTo>
                        <a:pt x="21573" y="10051"/>
                      </a:lnTo>
                      <a:lnTo>
                        <a:pt x="21528" y="9530"/>
                      </a:lnTo>
                      <a:lnTo>
                        <a:pt x="21456" y="9010"/>
                      </a:lnTo>
                      <a:lnTo>
                        <a:pt x="21358" y="8507"/>
                      </a:lnTo>
                      <a:lnTo>
                        <a:pt x="21241" y="8005"/>
                      </a:lnTo>
                      <a:lnTo>
                        <a:pt x="21088" y="7511"/>
                      </a:lnTo>
                      <a:lnTo>
                        <a:pt x="20918" y="7009"/>
                      </a:lnTo>
                      <a:lnTo>
                        <a:pt x="20729" y="6515"/>
                      </a:lnTo>
                      <a:lnTo>
                        <a:pt x="20505" y="6048"/>
                      </a:lnTo>
                      <a:lnTo>
                        <a:pt x="20262" y="5573"/>
                      </a:lnTo>
                      <a:lnTo>
                        <a:pt x="19993" y="5115"/>
                      </a:lnTo>
                      <a:lnTo>
                        <a:pt x="19706" y="4666"/>
                      </a:lnTo>
                      <a:lnTo>
                        <a:pt x="19392" y="4245"/>
                      </a:lnTo>
                      <a:lnTo>
                        <a:pt x="19050" y="3814"/>
                      </a:lnTo>
                      <a:lnTo>
                        <a:pt x="18691" y="3419"/>
                      </a:lnTo>
                      <a:lnTo>
                        <a:pt x="18296" y="3024"/>
                      </a:lnTo>
                      <a:lnTo>
                        <a:pt x="18090" y="2827"/>
                      </a:lnTo>
                      <a:lnTo>
                        <a:pt x="17883" y="2647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9" name="任意多边形: 形状 98">
                  <a:extLst>
                    <a:ext uri="{FF2B5EF4-FFF2-40B4-BE49-F238E27FC236}">
                      <a16:creationId xmlns:a16="http://schemas.microsoft.com/office/drawing/2014/main" id="{670BB6A7-7B9A-42AF-BA4D-391F5178BAD1}"/>
                    </a:ext>
                  </a:extLst>
                </p:cNvPr>
                <p:cNvSpPr/>
                <p:nvPr/>
              </p:nvSpPr>
              <p:spPr>
                <a:xfrm>
                  <a:off x="8074656" y="1979862"/>
                  <a:ext cx="2172798" cy="2175309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886" y="2652"/>
                      </a:moveTo>
                      <a:lnTo>
                        <a:pt x="17677" y="2469"/>
                      </a:lnTo>
                      <a:lnTo>
                        <a:pt x="17460" y="2293"/>
                      </a:lnTo>
                      <a:lnTo>
                        <a:pt x="17235" y="2127"/>
                      </a:lnTo>
                      <a:lnTo>
                        <a:pt x="17026" y="1968"/>
                      </a:lnTo>
                      <a:lnTo>
                        <a:pt x="16801" y="1818"/>
                      </a:lnTo>
                      <a:lnTo>
                        <a:pt x="16567" y="1668"/>
                      </a:lnTo>
                      <a:lnTo>
                        <a:pt x="16342" y="1526"/>
                      </a:lnTo>
                      <a:lnTo>
                        <a:pt x="16108" y="1384"/>
                      </a:lnTo>
                      <a:lnTo>
                        <a:pt x="15866" y="1259"/>
                      </a:lnTo>
                      <a:lnTo>
                        <a:pt x="15632" y="1143"/>
                      </a:lnTo>
                      <a:lnTo>
                        <a:pt x="15390" y="1026"/>
                      </a:lnTo>
                      <a:lnTo>
                        <a:pt x="15140" y="909"/>
                      </a:lnTo>
                      <a:lnTo>
                        <a:pt x="14906" y="809"/>
                      </a:lnTo>
                      <a:lnTo>
                        <a:pt x="14648" y="701"/>
                      </a:lnTo>
                      <a:lnTo>
                        <a:pt x="14406" y="617"/>
                      </a:lnTo>
                      <a:lnTo>
                        <a:pt x="14155" y="534"/>
                      </a:lnTo>
                      <a:lnTo>
                        <a:pt x="13654" y="384"/>
                      </a:lnTo>
                      <a:lnTo>
                        <a:pt x="13145" y="259"/>
                      </a:lnTo>
                      <a:lnTo>
                        <a:pt x="12628" y="158"/>
                      </a:lnTo>
                      <a:lnTo>
                        <a:pt x="12119" y="83"/>
                      </a:lnTo>
                      <a:lnTo>
                        <a:pt x="11601" y="33"/>
                      </a:lnTo>
                      <a:lnTo>
                        <a:pt x="11084" y="8"/>
                      </a:lnTo>
                      <a:lnTo>
                        <a:pt x="10566" y="0"/>
                      </a:lnTo>
                      <a:lnTo>
                        <a:pt x="10040" y="33"/>
                      </a:lnTo>
                      <a:lnTo>
                        <a:pt x="9531" y="75"/>
                      </a:lnTo>
                      <a:lnTo>
                        <a:pt x="9022" y="150"/>
                      </a:lnTo>
                      <a:lnTo>
                        <a:pt x="8505" y="242"/>
                      </a:lnTo>
                      <a:lnTo>
                        <a:pt x="7503" y="509"/>
                      </a:lnTo>
                      <a:lnTo>
                        <a:pt x="7011" y="684"/>
                      </a:lnTo>
                      <a:lnTo>
                        <a:pt x="6527" y="876"/>
                      </a:lnTo>
                      <a:lnTo>
                        <a:pt x="6285" y="984"/>
                      </a:lnTo>
                      <a:lnTo>
                        <a:pt x="6051" y="1101"/>
                      </a:lnTo>
                      <a:lnTo>
                        <a:pt x="5809" y="1218"/>
                      </a:lnTo>
                      <a:lnTo>
                        <a:pt x="5575" y="1343"/>
                      </a:lnTo>
                      <a:lnTo>
                        <a:pt x="5350" y="1476"/>
                      </a:lnTo>
                      <a:lnTo>
                        <a:pt x="5116" y="1610"/>
                      </a:lnTo>
                      <a:lnTo>
                        <a:pt x="4891" y="1751"/>
                      </a:lnTo>
                      <a:lnTo>
                        <a:pt x="4666" y="1901"/>
                      </a:lnTo>
                      <a:lnTo>
                        <a:pt x="4457" y="2052"/>
                      </a:lnTo>
                      <a:lnTo>
                        <a:pt x="4240" y="2210"/>
                      </a:lnTo>
                      <a:lnTo>
                        <a:pt x="4023" y="2385"/>
                      </a:lnTo>
                      <a:lnTo>
                        <a:pt x="3814" y="2552"/>
                      </a:lnTo>
                      <a:lnTo>
                        <a:pt x="3614" y="2735"/>
                      </a:lnTo>
                      <a:lnTo>
                        <a:pt x="3405" y="2919"/>
                      </a:lnTo>
                      <a:lnTo>
                        <a:pt x="3021" y="3303"/>
                      </a:lnTo>
                      <a:lnTo>
                        <a:pt x="2829" y="3503"/>
                      </a:lnTo>
                      <a:lnTo>
                        <a:pt x="2646" y="3720"/>
                      </a:lnTo>
                      <a:lnTo>
                        <a:pt x="2470" y="3928"/>
                      </a:lnTo>
                      <a:lnTo>
                        <a:pt x="2295" y="4145"/>
                      </a:lnTo>
                      <a:lnTo>
                        <a:pt x="1961" y="4579"/>
                      </a:lnTo>
                      <a:lnTo>
                        <a:pt x="1803" y="4804"/>
                      </a:lnTo>
                      <a:lnTo>
                        <a:pt x="1653" y="5037"/>
                      </a:lnTo>
                      <a:lnTo>
                        <a:pt x="1519" y="5262"/>
                      </a:lnTo>
                      <a:lnTo>
                        <a:pt x="1377" y="5504"/>
                      </a:lnTo>
                      <a:lnTo>
                        <a:pt x="1127" y="5971"/>
                      </a:lnTo>
                      <a:lnTo>
                        <a:pt x="1010" y="6213"/>
                      </a:lnTo>
                      <a:lnTo>
                        <a:pt x="910" y="6455"/>
                      </a:lnTo>
                      <a:lnTo>
                        <a:pt x="801" y="6697"/>
                      </a:lnTo>
                      <a:lnTo>
                        <a:pt x="701" y="6939"/>
                      </a:lnTo>
                      <a:lnTo>
                        <a:pt x="609" y="7197"/>
                      </a:lnTo>
                      <a:lnTo>
                        <a:pt x="517" y="7447"/>
                      </a:lnTo>
                      <a:lnTo>
                        <a:pt x="442" y="7689"/>
                      </a:lnTo>
                      <a:lnTo>
                        <a:pt x="376" y="7948"/>
                      </a:lnTo>
                      <a:lnTo>
                        <a:pt x="250" y="8448"/>
                      </a:lnTo>
                      <a:lnTo>
                        <a:pt x="150" y="8965"/>
                      </a:lnTo>
                      <a:lnTo>
                        <a:pt x="75" y="9482"/>
                      </a:lnTo>
                      <a:lnTo>
                        <a:pt x="17" y="9999"/>
                      </a:lnTo>
                      <a:lnTo>
                        <a:pt x="0" y="10525"/>
                      </a:lnTo>
                      <a:lnTo>
                        <a:pt x="0" y="11034"/>
                      </a:lnTo>
                      <a:lnTo>
                        <a:pt x="17" y="11559"/>
                      </a:lnTo>
                      <a:lnTo>
                        <a:pt x="75" y="12068"/>
                      </a:lnTo>
                      <a:lnTo>
                        <a:pt x="134" y="12585"/>
                      </a:lnTo>
                      <a:lnTo>
                        <a:pt x="234" y="13093"/>
                      </a:lnTo>
                      <a:lnTo>
                        <a:pt x="359" y="13594"/>
                      </a:lnTo>
                      <a:lnTo>
                        <a:pt x="509" y="14103"/>
                      </a:lnTo>
                      <a:lnTo>
                        <a:pt x="684" y="14595"/>
                      </a:lnTo>
                      <a:lnTo>
                        <a:pt x="876" y="15070"/>
                      </a:lnTo>
                      <a:lnTo>
                        <a:pt x="985" y="15320"/>
                      </a:lnTo>
                      <a:lnTo>
                        <a:pt x="1085" y="15554"/>
                      </a:lnTo>
                      <a:lnTo>
                        <a:pt x="1202" y="15787"/>
                      </a:lnTo>
                      <a:lnTo>
                        <a:pt x="1335" y="16021"/>
                      </a:lnTo>
                      <a:lnTo>
                        <a:pt x="1461" y="16246"/>
                      </a:lnTo>
                      <a:lnTo>
                        <a:pt x="1602" y="16479"/>
                      </a:lnTo>
                      <a:lnTo>
                        <a:pt x="1736" y="16705"/>
                      </a:lnTo>
                      <a:lnTo>
                        <a:pt x="1886" y="16921"/>
                      </a:lnTo>
                      <a:lnTo>
                        <a:pt x="2053" y="17147"/>
                      </a:lnTo>
                      <a:lnTo>
                        <a:pt x="2212" y="17355"/>
                      </a:lnTo>
                      <a:lnTo>
                        <a:pt x="2370" y="17572"/>
                      </a:lnTo>
                      <a:lnTo>
                        <a:pt x="2554" y="17772"/>
                      </a:lnTo>
                      <a:lnTo>
                        <a:pt x="2721" y="17989"/>
                      </a:lnTo>
                      <a:lnTo>
                        <a:pt x="2913" y="18181"/>
                      </a:lnTo>
                      <a:lnTo>
                        <a:pt x="3096" y="18381"/>
                      </a:lnTo>
                      <a:lnTo>
                        <a:pt x="3297" y="18573"/>
                      </a:lnTo>
                      <a:lnTo>
                        <a:pt x="3505" y="18764"/>
                      </a:lnTo>
                      <a:lnTo>
                        <a:pt x="3706" y="18948"/>
                      </a:lnTo>
                      <a:lnTo>
                        <a:pt x="3923" y="19131"/>
                      </a:lnTo>
                      <a:lnTo>
                        <a:pt x="4131" y="19298"/>
                      </a:lnTo>
                      <a:lnTo>
                        <a:pt x="4357" y="19473"/>
                      </a:lnTo>
                      <a:lnTo>
                        <a:pt x="4807" y="19790"/>
                      </a:lnTo>
                      <a:lnTo>
                        <a:pt x="5033" y="19932"/>
                      </a:lnTo>
                      <a:lnTo>
                        <a:pt x="5266" y="20082"/>
                      </a:lnTo>
                      <a:lnTo>
                        <a:pt x="5492" y="20207"/>
                      </a:lnTo>
                      <a:lnTo>
                        <a:pt x="5726" y="20341"/>
                      </a:lnTo>
                      <a:lnTo>
                        <a:pt x="6210" y="20583"/>
                      </a:lnTo>
                      <a:lnTo>
                        <a:pt x="6452" y="20691"/>
                      </a:lnTo>
                      <a:lnTo>
                        <a:pt x="6702" y="20799"/>
                      </a:lnTo>
                      <a:lnTo>
                        <a:pt x="6944" y="20891"/>
                      </a:lnTo>
                      <a:lnTo>
                        <a:pt x="7194" y="20991"/>
                      </a:lnTo>
                      <a:lnTo>
                        <a:pt x="7436" y="21066"/>
                      </a:lnTo>
                      <a:lnTo>
                        <a:pt x="7695" y="21150"/>
                      </a:lnTo>
                      <a:lnTo>
                        <a:pt x="7937" y="21225"/>
                      </a:lnTo>
                      <a:lnTo>
                        <a:pt x="8455" y="21341"/>
                      </a:lnTo>
                      <a:lnTo>
                        <a:pt x="8964" y="21450"/>
                      </a:lnTo>
                      <a:lnTo>
                        <a:pt x="9481" y="21525"/>
                      </a:lnTo>
                      <a:lnTo>
                        <a:pt x="9990" y="21575"/>
                      </a:lnTo>
                      <a:lnTo>
                        <a:pt x="10516" y="21600"/>
                      </a:lnTo>
                      <a:lnTo>
                        <a:pt x="11025" y="21600"/>
                      </a:lnTo>
                      <a:lnTo>
                        <a:pt x="11551" y="21575"/>
                      </a:lnTo>
                      <a:lnTo>
                        <a:pt x="12060" y="21525"/>
                      </a:lnTo>
                      <a:lnTo>
                        <a:pt x="12578" y="21450"/>
                      </a:lnTo>
                      <a:lnTo>
                        <a:pt x="13087" y="21350"/>
                      </a:lnTo>
                      <a:lnTo>
                        <a:pt x="13596" y="21233"/>
                      </a:lnTo>
                      <a:lnTo>
                        <a:pt x="14097" y="21083"/>
                      </a:lnTo>
                      <a:lnTo>
                        <a:pt x="14589" y="20916"/>
                      </a:lnTo>
                      <a:lnTo>
                        <a:pt x="15082" y="20724"/>
                      </a:lnTo>
                      <a:lnTo>
                        <a:pt x="15549" y="20507"/>
                      </a:lnTo>
                      <a:lnTo>
                        <a:pt x="15783" y="20382"/>
                      </a:lnTo>
                      <a:lnTo>
                        <a:pt x="16016" y="20266"/>
                      </a:lnTo>
                      <a:lnTo>
                        <a:pt x="16250" y="20132"/>
                      </a:lnTo>
                      <a:lnTo>
                        <a:pt x="16475" y="19999"/>
                      </a:lnTo>
                      <a:lnTo>
                        <a:pt x="16926" y="19699"/>
                      </a:lnTo>
                      <a:lnTo>
                        <a:pt x="17143" y="19548"/>
                      </a:lnTo>
                      <a:lnTo>
                        <a:pt x="17352" y="19390"/>
                      </a:lnTo>
                      <a:lnTo>
                        <a:pt x="17569" y="19215"/>
                      </a:lnTo>
                      <a:lnTo>
                        <a:pt x="17786" y="19048"/>
                      </a:lnTo>
                      <a:lnTo>
                        <a:pt x="17986" y="18873"/>
                      </a:lnTo>
                      <a:lnTo>
                        <a:pt x="18186" y="18681"/>
                      </a:lnTo>
                      <a:lnTo>
                        <a:pt x="18570" y="18297"/>
                      </a:lnTo>
                      <a:lnTo>
                        <a:pt x="18762" y="18097"/>
                      </a:lnTo>
                      <a:lnTo>
                        <a:pt x="18954" y="17889"/>
                      </a:lnTo>
                      <a:lnTo>
                        <a:pt x="19130" y="17680"/>
                      </a:lnTo>
                      <a:lnTo>
                        <a:pt x="19313" y="17463"/>
                      </a:lnTo>
                      <a:lnTo>
                        <a:pt x="19789" y="16788"/>
                      </a:lnTo>
                      <a:lnTo>
                        <a:pt x="19939" y="16563"/>
                      </a:lnTo>
                      <a:lnTo>
                        <a:pt x="20223" y="16096"/>
                      </a:lnTo>
                      <a:lnTo>
                        <a:pt x="20348" y="15862"/>
                      </a:lnTo>
                      <a:lnTo>
                        <a:pt x="20582" y="15395"/>
                      </a:lnTo>
                      <a:lnTo>
                        <a:pt x="20699" y="15145"/>
                      </a:lnTo>
                      <a:lnTo>
                        <a:pt x="20799" y="14903"/>
                      </a:lnTo>
                      <a:lnTo>
                        <a:pt x="20891" y="14653"/>
                      </a:lnTo>
                      <a:lnTo>
                        <a:pt x="20991" y="14411"/>
                      </a:lnTo>
                      <a:lnTo>
                        <a:pt x="21074" y="14161"/>
                      </a:lnTo>
                      <a:lnTo>
                        <a:pt x="21224" y="13661"/>
                      </a:lnTo>
                      <a:lnTo>
                        <a:pt x="21350" y="13152"/>
                      </a:lnTo>
                      <a:lnTo>
                        <a:pt x="21450" y="12635"/>
                      </a:lnTo>
                      <a:lnTo>
                        <a:pt x="21525" y="12126"/>
                      </a:lnTo>
                      <a:lnTo>
                        <a:pt x="21575" y="11601"/>
                      </a:lnTo>
                      <a:lnTo>
                        <a:pt x="21600" y="11084"/>
                      </a:lnTo>
                      <a:lnTo>
                        <a:pt x="21600" y="10566"/>
                      </a:lnTo>
                      <a:lnTo>
                        <a:pt x="21575" y="10049"/>
                      </a:lnTo>
                      <a:lnTo>
                        <a:pt x="21533" y="9541"/>
                      </a:lnTo>
                      <a:lnTo>
                        <a:pt x="21458" y="9024"/>
                      </a:lnTo>
                      <a:lnTo>
                        <a:pt x="21366" y="8515"/>
                      </a:lnTo>
                      <a:lnTo>
                        <a:pt x="21233" y="8015"/>
                      </a:lnTo>
                      <a:lnTo>
                        <a:pt x="21099" y="7506"/>
                      </a:lnTo>
                      <a:lnTo>
                        <a:pt x="20924" y="7014"/>
                      </a:lnTo>
                      <a:lnTo>
                        <a:pt x="20724" y="6530"/>
                      </a:lnTo>
                      <a:lnTo>
                        <a:pt x="20615" y="6288"/>
                      </a:lnTo>
                      <a:lnTo>
                        <a:pt x="20507" y="6055"/>
                      </a:lnTo>
                      <a:lnTo>
                        <a:pt x="20390" y="5813"/>
                      </a:lnTo>
                      <a:lnTo>
                        <a:pt x="20265" y="5588"/>
                      </a:lnTo>
                      <a:lnTo>
                        <a:pt x="20131" y="5354"/>
                      </a:lnTo>
                      <a:lnTo>
                        <a:pt x="19998" y="5129"/>
                      </a:lnTo>
                      <a:lnTo>
                        <a:pt x="19856" y="4904"/>
                      </a:lnTo>
                      <a:lnTo>
                        <a:pt x="19705" y="4679"/>
                      </a:lnTo>
                      <a:lnTo>
                        <a:pt x="19547" y="4462"/>
                      </a:lnTo>
                      <a:lnTo>
                        <a:pt x="19388" y="4253"/>
                      </a:lnTo>
                      <a:lnTo>
                        <a:pt x="19054" y="3820"/>
                      </a:lnTo>
                      <a:lnTo>
                        <a:pt x="18687" y="3419"/>
                      </a:lnTo>
                      <a:lnTo>
                        <a:pt x="18495" y="3227"/>
                      </a:lnTo>
                      <a:lnTo>
                        <a:pt x="18295" y="3019"/>
                      </a:lnTo>
                      <a:lnTo>
                        <a:pt x="18103" y="2844"/>
                      </a:lnTo>
                      <a:lnTo>
                        <a:pt x="17886" y="2652"/>
                      </a:lnTo>
                      <a:close/>
                      <a:moveTo>
                        <a:pt x="18378" y="17388"/>
                      </a:moveTo>
                      <a:lnTo>
                        <a:pt x="18211" y="17580"/>
                      </a:lnTo>
                      <a:lnTo>
                        <a:pt x="18028" y="17772"/>
                      </a:lnTo>
                      <a:lnTo>
                        <a:pt x="17844" y="17956"/>
                      </a:lnTo>
                      <a:lnTo>
                        <a:pt x="17661" y="18122"/>
                      </a:lnTo>
                      <a:lnTo>
                        <a:pt x="17293" y="18464"/>
                      </a:lnTo>
                      <a:lnTo>
                        <a:pt x="16893" y="18781"/>
                      </a:lnTo>
                      <a:lnTo>
                        <a:pt x="16492" y="19073"/>
                      </a:lnTo>
                      <a:lnTo>
                        <a:pt x="16083" y="19340"/>
                      </a:lnTo>
                      <a:lnTo>
                        <a:pt x="15657" y="19590"/>
                      </a:lnTo>
                      <a:lnTo>
                        <a:pt x="15215" y="19824"/>
                      </a:lnTo>
                      <a:lnTo>
                        <a:pt x="14764" y="20024"/>
                      </a:lnTo>
                      <a:lnTo>
                        <a:pt x="14322" y="20207"/>
                      </a:lnTo>
                      <a:lnTo>
                        <a:pt x="13863" y="20357"/>
                      </a:lnTo>
                      <a:lnTo>
                        <a:pt x="13404" y="20499"/>
                      </a:lnTo>
                      <a:lnTo>
                        <a:pt x="12928" y="20616"/>
                      </a:lnTo>
                      <a:lnTo>
                        <a:pt x="12461" y="20699"/>
                      </a:lnTo>
                      <a:lnTo>
                        <a:pt x="11977" y="20774"/>
                      </a:lnTo>
                      <a:lnTo>
                        <a:pt x="11501" y="20816"/>
                      </a:lnTo>
                      <a:lnTo>
                        <a:pt x="11017" y="20841"/>
                      </a:lnTo>
                      <a:lnTo>
                        <a:pt x="10533" y="20841"/>
                      </a:lnTo>
                      <a:lnTo>
                        <a:pt x="10057" y="20816"/>
                      </a:lnTo>
                      <a:lnTo>
                        <a:pt x="9573" y="20766"/>
                      </a:lnTo>
                      <a:lnTo>
                        <a:pt x="9089" y="20699"/>
                      </a:lnTo>
                      <a:lnTo>
                        <a:pt x="8613" y="20608"/>
                      </a:lnTo>
                      <a:lnTo>
                        <a:pt x="8146" y="20491"/>
                      </a:lnTo>
                      <a:lnTo>
                        <a:pt x="7670" y="20349"/>
                      </a:lnTo>
                      <a:lnTo>
                        <a:pt x="6752" y="19999"/>
                      </a:lnTo>
                      <a:lnTo>
                        <a:pt x="6318" y="19782"/>
                      </a:lnTo>
                      <a:lnTo>
                        <a:pt x="5867" y="19548"/>
                      </a:lnTo>
                      <a:lnTo>
                        <a:pt x="5442" y="19290"/>
                      </a:lnTo>
                      <a:lnTo>
                        <a:pt x="5024" y="19015"/>
                      </a:lnTo>
                      <a:lnTo>
                        <a:pt x="4807" y="18865"/>
                      </a:lnTo>
                      <a:lnTo>
                        <a:pt x="4607" y="18706"/>
                      </a:lnTo>
                      <a:lnTo>
                        <a:pt x="4398" y="18539"/>
                      </a:lnTo>
                      <a:lnTo>
                        <a:pt x="4206" y="18373"/>
                      </a:lnTo>
                      <a:lnTo>
                        <a:pt x="4015" y="18197"/>
                      </a:lnTo>
                      <a:lnTo>
                        <a:pt x="3823" y="18031"/>
                      </a:lnTo>
                      <a:lnTo>
                        <a:pt x="3639" y="17847"/>
                      </a:lnTo>
                      <a:lnTo>
                        <a:pt x="3472" y="17664"/>
                      </a:lnTo>
                      <a:lnTo>
                        <a:pt x="3130" y="17280"/>
                      </a:lnTo>
                      <a:lnTo>
                        <a:pt x="2813" y="16896"/>
                      </a:lnTo>
                      <a:lnTo>
                        <a:pt x="2521" y="16496"/>
                      </a:lnTo>
                      <a:lnTo>
                        <a:pt x="2253" y="16079"/>
                      </a:lnTo>
                      <a:lnTo>
                        <a:pt x="1995" y="15645"/>
                      </a:lnTo>
                      <a:lnTo>
                        <a:pt x="1769" y="15220"/>
                      </a:lnTo>
                      <a:lnTo>
                        <a:pt x="1569" y="14770"/>
                      </a:lnTo>
                      <a:lnTo>
                        <a:pt x="1385" y="14328"/>
                      </a:lnTo>
                      <a:lnTo>
                        <a:pt x="1227" y="13861"/>
                      </a:lnTo>
                      <a:lnTo>
                        <a:pt x="1102" y="13394"/>
                      </a:lnTo>
                      <a:lnTo>
                        <a:pt x="985" y="12935"/>
                      </a:lnTo>
                      <a:lnTo>
                        <a:pt x="893" y="12451"/>
                      </a:lnTo>
                      <a:lnTo>
                        <a:pt x="818" y="11984"/>
                      </a:lnTo>
                      <a:lnTo>
                        <a:pt x="776" y="11501"/>
                      </a:lnTo>
                      <a:lnTo>
                        <a:pt x="760" y="11025"/>
                      </a:lnTo>
                      <a:lnTo>
                        <a:pt x="760" y="10533"/>
                      </a:lnTo>
                      <a:lnTo>
                        <a:pt x="776" y="10049"/>
                      </a:lnTo>
                      <a:lnTo>
                        <a:pt x="893" y="9099"/>
                      </a:lnTo>
                      <a:lnTo>
                        <a:pt x="993" y="8623"/>
                      </a:lnTo>
                      <a:lnTo>
                        <a:pt x="1110" y="8148"/>
                      </a:lnTo>
                      <a:lnTo>
                        <a:pt x="1252" y="7681"/>
                      </a:lnTo>
                      <a:lnTo>
                        <a:pt x="1411" y="7222"/>
                      </a:lnTo>
                      <a:lnTo>
                        <a:pt x="1602" y="6764"/>
                      </a:lnTo>
                      <a:lnTo>
                        <a:pt x="1811" y="6313"/>
                      </a:lnTo>
                      <a:lnTo>
                        <a:pt x="2036" y="5871"/>
                      </a:lnTo>
                      <a:lnTo>
                        <a:pt x="2304" y="5446"/>
                      </a:lnTo>
                      <a:lnTo>
                        <a:pt x="2587" y="5021"/>
                      </a:lnTo>
                      <a:lnTo>
                        <a:pt x="2738" y="4820"/>
                      </a:lnTo>
                      <a:lnTo>
                        <a:pt x="2896" y="4612"/>
                      </a:lnTo>
                      <a:lnTo>
                        <a:pt x="3213" y="4212"/>
                      </a:lnTo>
                      <a:lnTo>
                        <a:pt x="3397" y="4020"/>
                      </a:lnTo>
                      <a:lnTo>
                        <a:pt x="3564" y="3836"/>
                      </a:lnTo>
                      <a:lnTo>
                        <a:pt x="3931" y="3469"/>
                      </a:lnTo>
                      <a:lnTo>
                        <a:pt x="4307" y="3136"/>
                      </a:lnTo>
                      <a:lnTo>
                        <a:pt x="4699" y="2819"/>
                      </a:lnTo>
                      <a:lnTo>
                        <a:pt x="5108" y="2527"/>
                      </a:lnTo>
                      <a:lnTo>
                        <a:pt x="5525" y="2252"/>
                      </a:lnTo>
                      <a:lnTo>
                        <a:pt x="5943" y="2010"/>
                      </a:lnTo>
                      <a:lnTo>
                        <a:pt x="6377" y="1785"/>
                      </a:lnTo>
                      <a:lnTo>
                        <a:pt x="6827" y="1576"/>
                      </a:lnTo>
                      <a:lnTo>
                        <a:pt x="7278" y="1401"/>
                      </a:lnTo>
                      <a:lnTo>
                        <a:pt x="7737" y="1243"/>
                      </a:lnTo>
                      <a:lnTo>
                        <a:pt x="8196" y="1101"/>
                      </a:lnTo>
                      <a:lnTo>
                        <a:pt x="8663" y="992"/>
                      </a:lnTo>
                      <a:lnTo>
                        <a:pt x="9147" y="901"/>
                      </a:lnTo>
                      <a:lnTo>
                        <a:pt x="9615" y="834"/>
                      </a:lnTo>
                      <a:lnTo>
                        <a:pt x="10099" y="792"/>
                      </a:lnTo>
                      <a:lnTo>
                        <a:pt x="10575" y="767"/>
                      </a:lnTo>
                      <a:lnTo>
                        <a:pt x="11059" y="767"/>
                      </a:lnTo>
                      <a:lnTo>
                        <a:pt x="11543" y="792"/>
                      </a:lnTo>
                      <a:lnTo>
                        <a:pt x="12019" y="834"/>
                      </a:lnTo>
                      <a:lnTo>
                        <a:pt x="12503" y="909"/>
                      </a:lnTo>
                      <a:lnTo>
                        <a:pt x="12987" y="1001"/>
                      </a:lnTo>
                      <a:lnTo>
                        <a:pt x="13454" y="1118"/>
                      </a:lnTo>
                      <a:lnTo>
                        <a:pt x="13921" y="1259"/>
                      </a:lnTo>
                      <a:lnTo>
                        <a:pt x="14381" y="1418"/>
                      </a:lnTo>
                      <a:lnTo>
                        <a:pt x="14840" y="1610"/>
                      </a:lnTo>
                      <a:lnTo>
                        <a:pt x="15290" y="1818"/>
                      </a:lnTo>
                      <a:lnTo>
                        <a:pt x="15733" y="2052"/>
                      </a:lnTo>
                      <a:lnTo>
                        <a:pt x="16158" y="2310"/>
                      </a:lnTo>
                      <a:lnTo>
                        <a:pt x="16584" y="2594"/>
                      </a:lnTo>
                      <a:lnTo>
                        <a:pt x="16784" y="2744"/>
                      </a:lnTo>
                      <a:lnTo>
                        <a:pt x="16993" y="2894"/>
                      </a:lnTo>
                      <a:lnTo>
                        <a:pt x="17193" y="3052"/>
                      </a:lnTo>
                      <a:lnTo>
                        <a:pt x="17385" y="3227"/>
                      </a:lnTo>
                      <a:lnTo>
                        <a:pt x="17577" y="3394"/>
                      </a:lnTo>
                      <a:lnTo>
                        <a:pt x="17769" y="3578"/>
                      </a:lnTo>
                      <a:lnTo>
                        <a:pt x="18136" y="3945"/>
                      </a:lnTo>
                      <a:lnTo>
                        <a:pt x="18470" y="4312"/>
                      </a:lnTo>
                      <a:lnTo>
                        <a:pt x="18787" y="4712"/>
                      </a:lnTo>
                      <a:lnTo>
                        <a:pt x="19079" y="5104"/>
                      </a:lnTo>
                      <a:lnTo>
                        <a:pt x="19347" y="5521"/>
                      </a:lnTo>
                      <a:lnTo>
                        <a:pt x="19597" y="5946"/>
                      </a:lnTo>
                      <a:lnTo>
                        <a:pt x="19822" y="6388"/>
                      </a:lnTo>
                      <a:lnTo>
                        <a:pt x="20031" y="6822"/>
                      </a:lnTo>
                      <a:lnTo>
                        <a:pt x="20206" y="7281"/>
                      </a:lnTo>
                      <a:lnTo>
                        <a:pt x="20365" y="7748"/>
                      </a:lnTo>
                      <a:lnTo>
                        <a:pt x="20507" y="8206"/>
                      </a:lnTo>
                      <a:lnTo>
                        <a:pt x="20615" y="8673"/>
                      </a:lnTo>
                      <a:lnTo>
                        <a:pt x="20707" y="9140"/>
                      </a:lnTo>
                      <a:lnTo>
                        <a:pt x="20774" y="9624"/>
                      </a:lnTo>
                      <a:lnTo>
                        <a:pt x="20815" y="10108"/>
                      </a:lnTo>
                      <a:lnTo>
                        <a:pt x="20840" y="10583"/>
                      </a:lnTo>
                      <a:lnTo>
                        <a:pt x="20840" y="11067"/>
                      </a:lnTo>
                      <a:lnTo>
                        <a:pt x="20815" y="11542"/>
                      </a:lnTo>
                      <a:lnTo>
                        <a:pt x="20765" y="12026"/>
                      </a:lnTo>
                      <a:lnTo>
                        <a:pt x="20699" y="12510"/>
                      </a:lnTo>
                      <a:lnTo>
                        <a:pt x="20607" y="12977"/>
                      </a:lnTo>
                      <a:lnTo>
                        <a:pt x="20490" y="13460"/>
                      </a:lnTo>
                      <a:lnTo>
                        <a:pt x="20348" y="13919"/>
                      </a:lnTo>
                      <a:lnTo>
                        <a:pt x="20189" y="14386"/>
                      </a:lnTo>
                      <a:lnTo>
                        <a:pt x="19998" y="14836"/>
                      </a:lnTo>
                      <a:lnTo>
                        <a:pt x="19789" y="15287"/>
                      </a:lnTo>
                      <a:lnTo>
                        <a:pt x="19555" y="15737"/>
                      </a:lnTo>
                      <a:lnTo>
                        <a:pt x="19296" y="16162"/>
                      </a:lnTo>
                      <a:lnTo>
                        <a:pt x="19163" y="16371"/>
                      </a:lnTo>
                      <a:lnTo>
                        <a:pt x="18712" y="16996"/>
                      </a:lnTo>
                      <a:lnTo>
                        <a:pt x="18545" y="17188"/>
                      </a:lnTo>
                      <a:lnTo>
                        <a:pt x="18378" y="17388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00" name="任意多边形: 形状 99">
                  <a:extLst>
                    <a:ext uri="{FF2B5EF4-FFF2-40B4-BE49-F238E27FC236}">
                      <a16:creationId xmlns:a16="http://schemas.microsoft.com/office/drawing/2014/main" id="{30142752-4222-423D-8B0C-CFB7C0A5EE9D}"/>
                    </a:ext>
                  </a:extLst>
                </p:cNvPr>
                <p:cNvSpPr/>
                <p:nvPr/>
              </p:nvSpPr>
              <p:spPr>
                <a:xfrm>
                  <a:off x="8127528" y="2017628"/>
                  <a:ext cx="1812761" cy="1696944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3728" y="5389"/>
                      </a:moveTo>
                      <a:lnTo>
                        <a:pt x="4148" y="4898"/>
                      </a:lnTo>
                      <a:lnTo>
                        <a:pt x="4358" y="4664"/>
                      </a:lnTo>
                      <a:lnTo>
                        <a:pt x="4588" y="4450"/>
                      </a:lnTo>
                      <a:lnTo>
                        <a:pt x="5038" y="4013"/>
                      </a:lnTo>
                      <a:lnTo>
                        <a:pt x="5507" y="3618"/>
                      </a:lnTo>
                      <a:lnTo>
                        <a:pt x="5977" y="3234"/>
                      </a:lnTo>
                      <a:lnTo>
                        <a:pt x="6477" y="2892"/>
                      </a:lnTo>
                      <a:lnTo>
                        <a:pt x="6997" y="2572"/>
                      </a:lnTo>
                      <a:lnTo>
                        <a:pt x="7517" y="2273"/>
                      </a:lnTo>
                      <a:lnTo>
                        <a:pt x="8046" y="2017"/>
                      </a:lnTo>
                      <a:lnTo>
                        <a:pt x="8576" y="1782"/>
                      </a:lnTo>
                      <a:lnTo>
                        <a:pt x="9136" y="1590"/>
                      </a:lnTo>
                      <a:lnTo>
                        <a:pt x="9696" y="1409"/>
                      </a:lnTo>
                      <a:lnTo>
                        <a:pt x="10255" y="1259"/>
                      </a:lnTo>
                      <a:lnTo>
                        <a:pt x="10825" y="1153"/>
                      </a:lnTo>
                      <a:lnTo>
                        <a:pt x="11395" y="1057"/>
                      </a:lnTo>
                      <a:lnTo>
                        <a:pt x="11974" y="1003"/>
                      </a:lnTo>
                      <a:lnTo>
                        <a:pt x="12544" y="971"/>
                      </a:lnTo>
                      <a:lnTo>
                        <a:pt x="13124" y="971"/>
                      </a:lnTo>
                      <a:lnTo>
                        <a:pt x="13704" y="1003"/>
                      </a:lnTo>
                      <a:lnTo>
                        <a:pt x="14273" y="1067"/>
                      </a:lnTo>
                      <a:lnTo>
                        <a:pt x="14853" y="1153"/>
                      </a:lnTo>
                      <a:lnTo>
                        <a:pt x="15413" y="1281"/>
                      </a:lnTo>
                      <a:lnTo>
                        <a:pt x="15993" y="1430"/>
                      </a:lnTo>
                      <a:lnTo>
                        <a:pt x="16542" y="1601"/>
                      </a:lnTo>
                      <a:lnTo>
                        <a:pt x="17102" y="1814"/>
                      </a:lnTo>
                      <a:lnTo>
                        <a:pt x="17642" y="2060"/>
                      </a:lnTo>
                      <a:lnTo>
                        <a:pt x="18182" y="2326"/>
                      </a:lnTo>
                      <a:lnTo>
                        <a:pt x="18701" y="2625"/>
                      </a:lnTo>
                      <a:lnTo>
                        <a:pt x="19231" y="2956"/>
                      </a:lnTo>
                      <a:lnTo>
                        <a:pt x="19731" y="3308"/>
                      </a:lnTo>
                      <a:lnTo>
                        <a:pt x="19971" y="3500"/>
                      </a:lnTo>
                      <a:lnTo>
                        <a:pt x="20231" y="3714"/>
                      </a:lnTo>
                      <a:lnTo>
                        <a:pt x="20461" y="3917"/>
                      </a:lnTo>
                      <a:lnTo>
                        <a:pt x="20700" y="4130"/>
                      </a:lnTo>
                      <a:lnTo>
                        <a:pt x="20930" y="4354"/>
                      </a:lnTo>
                      <a:lnTo>
                        <a:pt x="21160" y="4589"/>
                      </a:lnTo>
                      <a:lnTo>
                        <a:pt x="21380" y="4813"/>
                      </a:lnTo>
                      <a:lnTo>
                        <a:pt x="21600" y="5048"/>
                      </a:lnTo>
                      <a:lnTo>
                        <a:pt x="21230" y="4557"/>
                      </a:lnTo>
                      <a:lnTo>
                        <a:pt x="21020" y="4311"/>
                      </a:lnTo>
                      <a:lnTo>
                        <a:pt x="20820" y="4066"/>
                      </a:lnTo>
                      <a:lnTo>
                        <a:pt x="20381" y="3596"/>
                      </a:lnTo>
                      <a:lnTo>
                        <a:pt x="20161" y="3372"/>
                      </a:lnTo>
                      <a:lnTo>
                        <a:pt x="19921" y="3148"/>
                      </a:lnTo>
                      <a:lnTo>
                        <a:pt x="19691" y="2935"/>
                      </a:lnTo>
                      <a:lnTo>
                        <a:pt x="19451" y="2721"/>
                      </a:lnTo>
                      <a:lnTo>
                        <a:pt x="19201" y="2529"/>
                      </a:lnTo>
                      <a:lnTo>
                        <a:pt x="18961" y="2348"/>
                      </a:lnTo>
                      <a:lnTo>
                        <a:pt x="18451" y="1974"/>
                      </a:lnTo>
                      <a:lnTo>
                        <a:pt x="17942" y="1643"/>
                      </a:lnTo>
                      <a:lnTo>
                        <a:pt x="17412" y="1345"/>
                      </a:lnTo>
                      <a:lnTo>
                        <a:pt x="16872" y="1089"/>
                      </a:lnTo>
                      <a:lnTo>
                        <a:pt x="16322" y="843"/>
                      </a:lnTo>
                      <a:lnTo>
                        <a:pt x="15773" y="630"/>
                      </a:lnTo>
                      <a:lnTo>
                        <a:pt x="15213" y="459"/>
                      </a:lnTo>
                      <a:lnTo>
                        <a:pt x="14643" y="309"/>
                      </a:lnTo>
                      <a:lnTo>
                        <a:pt x="14073" y="181"/>
                      </a:lnTo>
                      <a:lnTo>
                        <a:pt x="13494" y="85"/>
                      </a:lnTo>
                      <a:lnTo>
                        <a:pt x="12924" y="32"/>
                      </a:lnTo>
                      <a:lnTo>
                        <a:pt x="12344" y="0"/>
                      </a:lnTo>
                      <a:lnTo>
                        <a:pt x="11765" y="0"/>
                      </a:lnTo>
                      <a:lnTo>
                        <a:pt x="11195" y="32"/>
                      </a:lnTo>
                      <a:lnTo>
                        <a:pt x="10615" y="85"/>
                      </a:lnTo>
                      <a:lnTo>
                        <a:pt x="10055" y="171"/>
                      </a:lnTo>
                      <a:lnTo>
                        <a:pt x="9476" y="288"/>
                      </a:lnTo>
                      <a:lnTo>
                        <a:pt x="8916" y="427"/>
                      </a:lnTo>
                      <a:lnTo>
                        <a:pt x="8366" y="608"/>
                      </a:lnTo>
                      <a:lnTo>
                        <a:pt x="7816" y="811"/>
                      </a:lnTo>
                      <a:lnTo>
                        <a:pt x="7277" y="1046"/>
                      </a:lnTo>
                      <a:lnTo>
                        <a:pt x="6737" y="1302"/>
                      </a:lnTo>
                      <a:lnTo>
                        <a:pt x="6217" y="1590"/>
                      </a:lnTo>
                      <a:lnTo>
                        <a:pt x="5717" y="1910"/>
                      </a:lnTo>
                      <a:lnTo>
                        <a:pt x="5218" y="2262"/>
                      </a:lnTo>
                      <a:lnTo>
                        <a:pt x="4728" y="2625"/>
                      </a:lnTo>
                      <a:lnTo>
                        <a:pt x="4258" y="3042"/>
                      </a:lnTo>
                      <a:lnTo>
                        <a:pt x="3808" y="3468"/>
                      </a:lnTo>
                      <a:lnTo>
                        <a:pt x="3588" y="3692"/>
                      </a:lnTo>
                      <a:lnTo>
                        <a:pt x="3368" y="3927"/>
                      </a:lnTo>
                      <a:lnTo>
                        <a:pt x="3169" y="4162"/>
                      </a:lnTo>
                      <a:lnTo>
                        <a:pt x="2949" y="4408"/>
                      </a:lnTo>
                      <a:lnTo>
                        <a:pt x="2579" y="4888"/>
                      </a:lnTo>
                      <a:lnTo>
                        <a:pt x="2229" y="5379"/>
                      </a:lnTo>
                      <a:lnTo>
                        <a:pt x="1909" y="5880"/>
                      </a:lnTo>
                      <a:lnTo>
                        <a:pt x="1619" y="6403"/>
                      </a:lnTo>
                      <a:lnTo>
                        <a:pt x="1349" y="6926"/>
                      </a:lnTo>
                      <a:lnTo>
                        <a:pt x="1109" y="7460"/>
                      </a:lnTo>
                      <a:lnTo>
                        <a:pt x="890" y="8004"/>
                      </a:lnTo>
                      <a:lnTo>
                        <a:pt x="700" y="8548"/>
                      </a:lnTo>
                      <a:lnTo>
                        <a:pt x="520" y="9114"/>
                      </a:lnTo>
                      <a:lnTo>
                        <a:pt x="380" y="9669"/>
                      </a:lnTo>
                      <a:lnTo>
                        <a:pt x="250" y="10234"/>
                      </a:lnTo>
                      <a:lnTo>
                        <a:pt x="160" y="10800"/>
                      </a:lnTo>
                      <a:lnTo>
                        <a:pt x="80" y="11376"/>
                      </a:lnTo>
                      <a:lnTo>
                        <a:pt x="30" y="11953"/>
                      </a:lnTo>
                      <a:lnTo>
                        <a:pt x="0" y="12540"/>
                      </a:lnTo>
                      <a:lnTo>
                        <a:pt x="0" y="13116"/>
                      </a:lnTo>
                      <a:lnTo>
                        <a:pt x="30" y="13692"/>
                      </a:lnTo>
                      <a:lnTo>
                        <a:pt x="80" y="14258"/>
                      </a:lnTo>
                      <a:lnTo>
                        <a:pt x="150" y="14834"/>
                      </a:lnTo>
                      <a:lnTo>
                        <a:pt x="250" y="15400"/>
                      </a:lnTo>
                      <a:lnTo>
                        <a:pt x="360" y="15965"/>
                      </a:lnTo>
                      <a:lnTo>
                        <a:pt x="500" y="16531"/>
                      </a:lnTo>
                      <a:lnTo>
                        <a:pt x="670" y="17075"/>
                      </a:lnTo>
                      <a:lnTo>
                        <a:pt x="860" y="17619"/>
                      </a:lnTo>
                      <a:lnTo>
                        <a:pt x="1080" y="18153"/>
                      </a:lnTo>
                      <a:lnTo>
                        <a:pt x="1309" y="18687"/>
                      </a:lnTo>
                      <a:lnTo>
                        <a:pt x="1579" y="19209"/>
                      </a:lnTo>
                      <a:lnTo>
                        <a:pt x="1859" y="19711"/>
                      </a:lnTo>
                      <a:lnTo>
                        <a:pt x="2169" y="20213"/>
                      </a:lnTo>
                      <a:lnTo>
                        <a:pt x="2499" y="20682"/>
                      </a:lnTo>
                      <a:lnTo>
                        <a:pt x="2859" y="21152"/>
                      </a:lnTo>
                      <a:lnTo>
                        <a:pt x="3229" y="21600"/>
                      </a:lnTo>
                      <a:lnTo>
                        <a:pt x="2919" y="21152"/>
                      </a:lnTo>
                      <a:lnTo>
                        <a:pt x="2639" y="20704"/>
                      </a:lnTo>
                      <a:lnTo>
                        <a:pt x="2369" y="20223"/>
                      </a:lnTo>
                      <a:lnTo>
                        <a:pt x="2129" y="19743"/>
                      </a:lnTo>
                      <a:lnTo>
                        <a:pt x="1899" y="19252"/>
                      </a:lnTo>
                      <a:lnTo>
                        <a:pt x="1689" y="18740"/>
                      </a:lnTo>
                      <a:lnTo>
                        <a:pt x="1349" y="17737"/>
                      </a:lnTo>
                      <a:lnTo>
                        <a:pt x="1199" y="17214"/>
                      </a:lnTo>
                      <a:lnTo>
                        <a:pt x="1080" y="16680"/>
                      </a:lnTo>
                      <a:lnTo>
                        <a:pt x="980" y="16157"/>
                      </a:lnTo>
                      <a:lnTo>
                        <a:pt x="900" y="15624"/>
                      </a:lnTo>
                      <a:lnTo>
                        <a:pt x="840" y="15101"/>
                      </a:lnTo>
                      <a:lnTo>
                        <a:pt x="800" y="14546"/>
                      </a:lnTo>
                      <a:lnTo>
                        <a:pt x="770" y="14012"/>
                      </a:lnTo>
                      <a:lnTo>
                        <a:pt x="790" y="13468"/>
                      </a:lnTo>
                      <a:lnTo>
                        <a:pt x="800" y="12934"/>
                      </a:lnTo>
                      <a:lnTo>
                        <a:pt x="850" y="12401"/>
                      </a:lnTo>
                      <a:lnTo>
                        <a:pt x="910" y="11857"/>
                      </a:lnTo>
                      <a:lnTo>
                        <a:pt x="1000" y="11323"/>
                      </a:lnTo>
                      <a:lnTo>
                        <a:pt x="1109" y="10800"/>
                      </a:lnTo>
                      <a:lnTo>
                        <a:pt x="1249" y="10266"/>
                      </a:lnTo>
                      <a:lnTo>
                        <a:pt x="1389" y="9754"/>
                      </a:lnTo>
                      <a:lnTo>
                        <a:pt x="1569" y="9231"/>
                      </a:lnTo>
                      <a:lnTo>
                        <a:pt x="1759" y="8730"/>
                      </a:lnTo>
                      <a:lnTo>
                        <a:pt x="1979" y="8217"/>
                      </a:lnTo>
                      <a:lnTo>
                        <a:pt x="2219" y="7726"/>
                      </a:lnTo>
                      <a:lnTo>
                        <a:pt x="2479" y="7236"/>
                      </a:lnTo>
                      <a:lnTo>
                        <a:pt x="2759" y="6755"/>
                      </a:lnTo>
                      <a:lnTo>
                        <a:pt x="3049" y="6296"/>
                      </a:lnTo>
                      <a:lnTo>
                        <a:pt x="3388" y="5838"/>
                      </a:lnTo>
                      <a:lnTo>
                        <a:pt x="3728" y="5389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01" name="任意多边形: 形状 100">
                  <a:extLst>
                    <a:ext uri="{FF2B5EF4-FFF2-40B4-BE49-F238E27FC236}">
                      <a16:creationId xmlns:a16="http://schemas.microsoft.com/office/drawing/2014/main" id="{6261B168-E09D-4FE7-8694-BC2E460228C9}"/>
                    </a:ext>
                  </a:extLst>
                </p:cNvPr>
                <p:cNvSpPr/>
                <p:nvPr/>
              </p:nvSpPr>
              <p:spPr>
                <a:xfrm>
                  <a:off x="9688515" y="3923541"/>
                  <a:ext cx="1752336" cy="2210558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388" y="0"/>
                      </a:moveTo>
                      <a:lnTo>
                        <a:pt x="21600" y="20928"/>
                      </a:lnTo>
                      <a:lnTo>
                        <a:pt x="21362" y="21116"/>
                      </a:lnTo>
                      <a:lnTo>
                        <a:pt x="21238" y="21198"/>
                      </a:lnTo>
                      <a:lnTo>
                        <a:pt x="21093" y="21289"/>
                      </a:lnTo>
                      <a:lnTo>
                        <a:pt x="20917" y="21379"/>
                      </a:lnTo>
                      <a:lnTo>
                        <a:pt x="20720" y="21452"/>
                      </a:lnTo>
                      <a:lnTo>
                        <a:pt x="20513" y="21526"/>
                      </a:lnTo>
                      <a:lnTo>
                        <a:pt x="20181" y="21592"/>
                      </a:lnTo>
                      <a:lnTo>
                        <a:pt x="20078" y="21592"/>
                      </a:lnTo>
                      <a:lnTo>
                        <a:pt x="19964" y="21600"/>
                      </a:lnTo>
                      <a:lnTo>
                        <a:pt x="19840" y="21592"/>
                      </a:lnTo>
                      <a:lnTo>
                        <a:pt x="19726" y="21575"/>
                      </a:lnTo>
                      <a:lnTo>
                        <a:pt x="19602" y="21551"/>
                      </a:lnTo>
                      <a:lnTo>
                        <a:pt x="19467" y="21518"/>
                      </a:lnTo>
                      <a:lnTo>
                        <a:pt x="19353" y="21477"/>
                      </a:lnTo>
                      <a:lnTo>
                        <a:pt x="19229" y="21411"/>
                      </a:lnTo>
                      <a:lnTo>
                        <a:pt x="19115" y="21346"/>
                      </a:lnTo>
                      <a:lnTo>
                        <a:pt x="18980" y="21264"/>
                      </a:lnTo>
                      <a:lnTo>
                        <a:pt x="18856" y="21166"/>
                      </a:lnTo>
                      <a:lnTo>
                        <a:pt x="18701" y="21026"/>
                      </a:lnTo>
                      <a:lnTo>
                        <a:pt x="18494" y="20813"/>
                      </a:lnTo>
                      <a:lnTo>
                        <a:pt x="17862" y="20206"/>
                      </a:lnTo>
                      <a:lnTo>
                        <a:pt x="17044" y="19370"/>
                      </a:lnTo>
                      <a:lnTo>
                        <a:pt x="16050" y="18354"/>
                      </a:lnTo>
                      <a:lnTo>
                        <a:pt x="13699" y="15944"/>
                      </a:lnTo>
                      <a:lnTo>
                        <a:pt x="11131" y="13255"/>
                      </a:lnTo>
                      <a:lnTo>
                        <a:pt x="6461" y="8353"/>
                      </a:lnTo>
                      <a:lnTo>
                        <a:pt x="4380" y="6156"/>
                      </a:lnTo>
                      <a:lnTo>
                        <a:pt x="4339" y="6091"/>
                      </a:lnTo>
                      <a:lnTo>
                        <a:pt x="4297" y="6033"/>
                      </a:lnTo>
                      <a:lnTo>
                        <a:pt x="4256" y="5935"/>
                      </a:lnTo>
                      <a:lnTo>
                        <a:pt x="4245" y="5828"/>
                      </a:lnTo>
                      <a:lnTo>
                        <a:pt x="4245" y="5771"/>
                      </a:lnTo>
                      <a:lnTo>
                        <a:pt x="4256" y="5705"/>
                      </a:lnTo>
                      <a:lnTo>
                        <a:pt x="4318" y="5591"/>
                      </a:lnTo>
                      <a:lnTo>
                        <a:pt x="4370" y="5517"/>
                      </a:lnTo>
                      <a:lnTo>
                        <a:pt x="4432" y="5451"/>
                      </a:lnTo>
                      <a:lnTo>
                        <a:pt x="0" y="877"/>
                      </a:lnTo>
                      <a:lnTo>
                        <a:pt x="93" y="771"/>
                      </a:lnTo>
                      <a:lnTo>
                        <a:pt x="207" y="656"/>
                      </a:lnTo>
                      <a:lnTo>
                        <a:pt x="352" y="508"/>
                      </a:lnTo>
                      <a:lnTo>
                        <a:pt x="538" y="361"/>
                      </a:lnTo>
                      <a:lnTo>
                        <a:pt x="652" y="287"/>
                      </a:lnTo>
                      <a:lnTo>
                        <a:pt x="777" y="213"/>
                      </a:lnTo>
                      <a:lnTo>
                        <a:pt x="901" y="148"/>
                      </a:lnTo>
                      <a:lnTo>
                        <a:pt x="1212" y="33"/>
                      </a:lnTo>
                      <a:lnTo>
                        <a:pt x="1388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02" name="任意多边形: 形状 101">
                  <a:extLst>
                    <a:ext uri="{FF2B5EF4-FFF2-40B4-BE49-F238E27FC236}">
                      <a16:creationId xmlns:a16="http://schemas.microsoft.com/office/drawing/2014/main" id="{2F466F36-0E0E-4489-8644-EB381E368775}"/>
                    </a:ext>
                  </a:extLst>
                </p:cNvPr>
                <p:cNvSpPr/>
                <p:nvPr/>
              </p:nvSpPr>
              <p:spPr>
                <a:xfrm>
                  <a:off x="9748940" y="3883257"/>
                  <a:ext cx="1769961" cy="220552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830"/>
                      </a:moveTo>
                      <a:lnTo>
                        <a:pt x="20351" y="21600"/>
                      </a:lnTo>
                      <a:lnTo>
                        <a:pt x="20433" y="21559"/>
                      </a:lnTo>
                      <a:lnTo>
                        <a:pt x="20638" y="21460"/>
                      </a:lnTo>
                      <a:lnTo>
                        <a:pt x="20771" y="21386"/>
                      </a:lnTo>
                      <a:lnTo>
                        <a:pt x="20914" y="21288"/>
                      </a:lnTo>
                      <a:lnTo>
                        <a:pt x="21211" y="21049"/>
                      </a:lnTo>
                      <a:lnTo>
                        <a:pt x="21334" y="20910"/>
                      </a:lnTo>
                      <a:lnTo>
                        <a:pt x="21457" y="20762"/>
                      </a:lnTo>
                      <a:lnTo>
                        <a:pt x="21498" y="20679"/>
                      </a:lnTo>
                      <a:lnTo>
                        <a:pt x="21539" y="20581"/>
                      </a:lnTo>
                      <a:lnTo>
                        <a:pt x="21559" y="20499"/>
                      </a:lnTo>
                      <a:lnTo>
                        <a:pt x="21590" y="20400"/>
                      </a:lnTo>
                      <a:lnTo>
                        <a:pt x="21600" y="20310"/>
                      </a:lnTo>
                      <a:lnTo>
                        <a:pt x="21600" y="20211"/>
                      </a:lnTo>
                      <a:lnTo>
                        <a:pt x="21590" y="20112"/>
                      </a:lnTo>
                      <a:lnTo>
                        <a:pt x="21559" y="20005"/>
                      </a:lnTo>
                      <a:lnTo>
                        <a:pt x="21518" y="19890"/>
                      </a:lnTo>
                      <a:lnTo>
                        <a:pt x="21467" y="19784"/>
                      </a:lnTo>
                      <a:lnTo>
                        <a:pt x="21405" y="19668"/>
                      </a:lnTo>
                      <a:lnTo>
                        <a:pt x="21313" y="19553"/>
                      </a:lnTo>
                      <a:lnTo>
                        <a:pt x="21180" y="19397"/>
                      </a:lnTo>
                      <a:lnTo>
                        <a:pt x="20986" y="19175"/>
                      </a:lnTo>
                      <a:lnTo>
                        <a:pt x="20392" y="18542"/>
                      </a:lnTo>
                      <a:lnTo>
                        <a:pt x="19594" y="17696"/>
                      </a:lnTo>
                      <a:lnTo>
                        <a:pt x="18611" y="16685"/>
                      </a:lnTo>
                      <a:lnTo>
                        <a:pt x="16246" y="14285"/>
                      </a:lnTo>
                      <a:lnTo>
                        <a:pt x="13625" y="11638"/>
                      </a:lnTo>
                      <a:lnTo>
                        <a:pt x="8855" y="6822"/>
                      </a:lnTo>
                      <a:lnTo>
                        <a:pt x="6705" y="4677"/>
                      </a:lnTo>
                      <a:lnTo>
                        <a:pt x="6644" y="4627"/>
                      </a:lnTo>
                      <a:lnTo>
                        <a:pt x="6572" y="4578"/>
                      </a:lnTo>
                      <a:lnTo>
                        <a:pt x="6470" y="4529"/>
                      </a:lnTo>
                      <a:lnTo>
                        <a:pt x="6337" y="4496"/>
                      </a:lnTo>
                      <a:lnTo>
                        <a:pt x="6275" y="4488"/>
                      </a:lnTo>
                      <a:lnTo>
                        <a:pt x="6193" y="4479"/>
                      </a:lnTo>
                      <a:lnTo>
                        <a:pt x="6122" y="4479"/>
                      </a:lnTo>
                      <a:lnTo>
                        <a:pt x="6040" y="4488"/>
                      </a:lnTo>
                      <a:lnTo>
                        <a:pt x="5948" y="4504"/>
                      </a:lnTo>
                      <a:lnTo>
                        <a:pt x="5856" y="4537"/>
                      </a:lnTo>
                      <a:lnTo>
                        <a:pt x="1402" y="0"/>
                      </a:lnTo>
                      <a:lnTo>
                        <a:pt x="1239" y="41"/>
                      </a:lnTo>
                      <a:lnTo>
                        <a:pt x="1075" y="99"/>
                      </a:lnTo>
                      <a:lnTo>
                        <a:pt x="870" y="173"/>
                      </a:lnTo>
                      <a:lnTo>
                        <a:pt x="635" y="288"/>
                      </a:lnTo>
                      <a:lnTo>
                        <a:pt x="522" y="353"/>
                      </a:lnTo>
                      <a:lnTo>
                        <a:pt x="420" y="419"/>
                      </a:lnTo>
                      <a:lnTo>
                        <a:pt x="297" y="518"/>
                      </a:lnTo>
                      <a:lnTo>
                        <a:pt x="92" y="715"/>
                      </a:lnTo>
                      <a:lnTo>
                        <a:pt x="0" y="83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03" name="任意多边形: 形状 102">
                  <a:extLst>
                    <a:ext uri="{FF2B5EF4-FFF2-40B4-BE49-F238E27FC236}">
                      <a16:creationId xmlns:a16="http://schemas.microsoft.com/office/drawing/2014/main" id="{82DEF4D0-4F42-4AF3-B25A-803F3DD3EC8B}"/>
                    </a:ext>
                  </a:extLst>
                </p:cNvPr>
                <p:cNvSpPr/>
                <p:nvPr/>
              </p:nvSpPr>
              <p:spPr>
                <a:xfrm>
                  <a:off x="10164363" y="4364142"/>
                  <a:ext cx="1299146" cy="1651625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20834" y="21600"/>
                      </a:moveTo>
                      <a:lnTo>
                        <a:pt x="20917" y="21567"/>
                      </a:lnTo>
                      <a:lnTo>
                        <a:pt x="21001" y="21523"/>
                      </a:lnTo>
                      <a:lnTo>
                        <a:pt x="21112" y="21468"/>
                      </a:lnTo>
                      <a:lnTo>
                        <a:pt x="21224" y="21391"/>
                      </a:lnTo>
                      <a:lnTo>
                        <a:pt x="21321" y="21293"/>
                      </a:lnTo>
                      <a:lnTo>
                        <a:pt x="21433" y="21161"/>
                      </a:lnTo>
                      <a:lnTo>
                        <a:pt x="21530" y="21007"/>
                      </a:lnTo>
                      <a:lnTo>
                        <a:pt x="21572" y="20820"/>
                      </a:lnTo>
                      <a:lnTo>
                        <a:pt x="21600" y="20722"/>
                      </a:lnTo>
                      <a:lnTo>
                        <a:pt x="21600" y="20502"/>
                      </a:lnTo>
                      <a:lnTo>
                        <a:pt x="21544" y="20238"/>
                      </a:lnTo>
                      <a:lnTo>
                        <a:pt x="21489" y="20096"/>
                      </a:lnTo>
                      <a:lnTo>
                        <a:pt x="21419" y="19942"/>
                      </a:lnTo>
                      <a:lnTo>
                        <a:pt x="21321" y="19766"/>
                      </a:lnTo>
                      <a:lnTo>
                        <a:pt x="21224" y="19601"/>
                      </a:lnTo>
                      <a:lnTo>
                        <a:pt x="21098" y="19415"/>
                      </a:lnTo>
                      <a:lnTo>
                        <a:pt x="20959" y="19239"/>
                      </a:lnTo>
                      <a:lnTo>
                        <a:pt x="20792" y="19019"/>
                      </a:lnTo>
                      <a:lnTo>
                        <a:pt x="20597" y="18811"/>
                      </a:lnTo>
                      <a:lnTo>
                        <a:pt x="20388" y="18602"/>
                      </a:lnTo>
                      <a:lnTo>
                        <a:pt x="1979" y="231"/>
                      </a:lnTo>
                      <a:lnTo>
                        <a:pt x="1853" y="132"/>
                      </a:lnTo>
                      <a:lnTo>
                        <a:pt x="1798" y="110"/>
                      </a:lnTo>
                      <a:lnTo>
                        <a:pt x="1714" y="66"/>
                      </a:lnTo>
                      <a:lnTo>
                        <a:pt x="1630" y="33"/>
                      </a:lnTo>
                      <a:lnTo>
                        <a:pt x="1505" y="11"/>
                      </a:lnTo>
                      <a:lnTo>
                        <a:pt x="1380" y="0"/>
                      </a:lnTo>
                      <a:lnTo>
                        <a:pt x="1240" y="0"/>
                      </a:lnTo>
                      <a:lnTo>
                        <a:pt x="1073" y="22"/>
                      </a:lnTo>
                      <a:lnTo>
                        <a:pt x="892" y="66"/>
                      </a:lnTo>
                      <a:lnTo>
                        <a:pt x="697" y="132"/>
                      </a:lnTo>
                      <a:lnTo>
                        <a:pt x="488" y="231"/>
                      </a:lnTo>
                      <a:lnTo>
                        <a:pt x="251" y="362"/>
                      </a:lnTo>
                      <a:lnTo>
                        <a:pt x="0" y="527"/>
                      </a:lnTo>
                      <a:lnTo>
                        <a:pt x="14" y="516"/>
                      </a:lnTo>
                      <a:lnTo>
                        <a:pt x="111" y="483"/>
                      </a:lnTo>
                      <a:lnTo>
                        <a:pt x="237" y="461"/>
                      </a:lnTo>
                      <a:lnTo>
                        <a:pt x="321" y="472"/>
                      </a:lnTo>
                      <a:lnTo>
                        <a:pt x="432" y="472"/>
                      </a:lnTo>
                      <a:lnTo>
                        <a:pt x="543" y="505"/>
                      </a:lnTo>
                      <a:lnTo>
                        <a:pt x="669" y="538"/>
                      </a:lnTo>
                      <a:lnTo>
                        <a:pt x="808" y="604"/>
                      </a:lnTo>
                      <a:lnTo>
                        <a:pt x="948" y="681"/>
                      </a:lnTo>
                      <a:lnTo>
                        <a:pt x="1310" y="922"/>
                      </a:lnTo>
                      <a:lnTo>
                        <a:pt x="1477" y="1087"/>
                      </a:lnTo>
                      <a:lnTo>
                        <a:pt x="1700" y="1285"/>
                      </a:lnTo>
                      <a:lnTo>
                        <a:pt x="4961" y="4667"/>
                      </a:lnTo>
                      <a:lnTo>
                        <a:pt x="11079" y="10992"/>
                      </a:lnTo>
                      <a:lnTo>
                        <a:pt x="19635" y="19854"/>
                      </a:lnTo>
                      <a:lnTo>
                        <a:pt x="19858" y="20052"/>
                      </a:lnTo>
                      <a:lnTo>
                        <a:pt x="20095" y="20271"/>
                      </a:lnTo>
                      <a:lnTo>
                        <a:pt x="20360" y="20546"/>
                      </a:lnTo>
                      <a:lnTo>
                        <a:pt x="20611" y="20842"/>
                      </a:lnTo>
                      <a:lnTo>
                        <a:pt x="20708" y="20974"/>
                      </a:lnTo>
                      <a:lnTo>
                        <a:pt x="20792" y="21117"/>
                      </a:lnTo>
                      <a:lnTo>
                        <a:pt x="20847" y="21260"/>
                      </a:lnTo>
                      <a:lnTo>
                        <a:pt x="20875" y="21391"/>
                      </a:lnTo>
                      <a:lnTo>
                        <a:pt x="20875" y="21501"/>
                      </a:lnTo>
                      <a:lnTo>
                        <a:pt x="20861" y="21556"/>
                      </a:lnTo>
                      <a:lnTo>
                        <a:pt x="20834" y="21600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104" name="任意多边形: 形状 103">
                  <a:extLst>
                    <a:ext uri="{FF2B5EF4-FFF2-40B4-BE49-F238E27FC236}">
                      <a16:creationId xmlns:a16="http://schemas.microsoft.com/office/drawing/2014/main" id="{C438A5ED-0545-413B-B3B7-5D77FEB9F3BE}"/>
                    </a:ext>
                  </a:extLst>
                </p:cNvPr>
                <p:cNvSpPr/>
                <p:nvPr/>
              </p:nvSpPr>
              <p:spPr>
                <a:xfrm>
                  <a:off x="8150186" y="2057912"/>
                  <a:ext cx="2019214" cy="201921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7883" y="2647"/>
                      </a:moveTo>
                      <a:lnTo>
                        <a:pt x="17677" y="2459"/>
                      </a:lnTo>
                      <a:lnTo>
                        <a:pt x="17461" y="2288"/>
                      </a:lnTo>
                      <a:lnTo>
                        <a:pt x="17237" y="2127"/>
                      </a:lnTo>
                      <a:lnTo>
                        <a:pt x="17021" y="1965"/>
                      </a:lnTo>
                      <a:lnTo>
                        <a:pt x="16564" y="1660"/>
                      </a:lnTo>
                      <a:lnTo>
                        <a:pt x="16106" y="1382"/>
                      </a:lnTo>
                      <a:lnTo>
                        <a:pt x="15630" y="1131"/>
                      </a:lnTo>
                      <a:lnTo>
                        <a:pt x="15145" y="906"/>
                      </a:lnTo>
                      <a:lnTo>
                        <a:pt x="14651" y="700"/>
                      </a:lnTo>
                      <a:lnTo>
                        <a:pt x="14158" y="529"/>
                      </a:lnTo>
                      <a:lnTo>
                        <a:pt x="13655" y="377"/>
                      </a:lnTo>
                      <a:lnTo>
                        <a:pt x="13152" y="251"/>
                      </a:lnTo>
                      <a:lnTo>
                        <a:pt x="12631" y="153"/>
                      </a:lnTo>
                      <a:lnTo>
                        <a:pt x="12111" y="72"/>
                      </a:lnTo>
                      <a:lnTo>
                        <a:pt x="11599" y="27"/>
                      </a:lnTo>
                      <a:lnTo>
                        <a:pt x="11078" y="0"/>
                      </a:lnTo>
                      <a:lnTo>
                        <a:pt x="10558" y="0"/>
                      </a:lnTo>
                      <a:lnTo>
                        <a:pt x="10046" y="27"/>
                      </a:lnTo>
                      <a:lnTo>
                        <a:pt x="9525" y="72"/>
                      </a:lnTo>
                      <a:lnTo>
                        <a:pt x="9022" y="144"/>
                      </a:lnTo>
                      <a:lnTo>
                        <a:pt x="8502" y="242"/>
                      </a:lnTo>
                      <a:lnTo>
                        <a:pt x="7999" y="359"/>
                      </a:lnTo>
                      <a:lnTo>
                        <a:pt x="7505" y="512"/>
                      </a:lnTo>
                      <a:lnTo>
                        <a:pt x="7011" y="682"/>
                      </a:lnTo>
                      <a:lnTo>
                        <a:pt x="6527" y="870"/>
                      </a:lnTo>
                      <a:lnTo>
                        <a:pt x="6042" y="1095"/>
                      </a:lnTo>
                      <a:lnTo>
                        <a:pt x="5575" y="1337"/>
                      </a:lnTo>
                      <a:lnTo>
                        <a:pt x="5126" y="1597"/>
                      </a:lnTo>
                      <a:lnTo>
                        <a:pt x="4677" y="1893"/>
                      </a:lnTo>
                      <a:lnTo>
                        <a:pt x="4237" y="2208"/>
                      </a:lnTo>
                      <a:lnTo>
                        <a:pt x="3815" y="2549"/>
                      </a:lnTo>
                      <a:lnTo>
                        <a:pt x="3411" y="2908"/>
                      </a:lnTo>
                      <a:lnTo>
                        <a:pt x="3016" y="3302"/>
                      </a:lnTo>
                      <a:lnTo>
                        <a:pt x="2837" y="3500"/>
                      </a:lnTo>
                      <a:lnTo>
                        <a:pt x="2639" y="3706"/>
                      </a:lnTo>
                      <a:lnTo>
                        <a:pt x="2298" y="4137"/>
                      </a:lnTo>
                      <a:lnTo>
                        <a:pt x="2128" y="4361"/>
                      </a:lnTo>
                      <a:lnTo>
                        <a:pt x="1966" y="4577"/>
                      </a:lnTo>
                      <a:lnTo>
                        <a:pt x="1661" y="5034"/>
                      </a:lnTo>
                      <a:lnTo>
                        <a:pt x="1374" y="5492"/>
                      </a:lnTo>
                      <a:lnTo>
                        <a:pt x="1131" y="5968"/>
                      </a:lnTo>
                      <a:lnTo>
                        <a:pt x="907" y="6452"/>
                      </a:lnTo>
                      <a:lnTo>
                        <a:pt x="700" y="6946"/>
                      </a:lnTo>
                      <a:lnTo>
                        <a:pt x="530" y="7439"/>
                      </a:lnTo>
                      <a:lnTo>
                        <a:pt x="377" y="7942"/>
                      </a:lnTo>
                      <a:lnTo>
                        <a:pt x="251" y="8453"/>
                      </a:lnTo>
                      <a:lnTo>
                        <a:pt x="144" y="8965"/>
                      </a:lnTo>
                      <a:lnTo>
                        <a:pt x="18" y="9988"/>
                      </a:lnTo>
                      <a:lnTo>
                        <a:pt x="0" y="10508"/>
                      </a:lnTo>
                      <a:lnTo>
                        <a:pt x="0" y="11038"/>
                      </a:lnTo>
                      <a:lnTo>
                        <a:pt x="18" y="11549"/>
                      </a:lnTo>
                      <a:lnTo>
                        <a:pt x="63" y="12070"/>
                      </a:lnTo>
                      <a:lnTo>
                        <a:pt x="144" y="12572"/>
                      </a:lnTo>
                      <a:lnTo>
                        <a:pt x="242" y="13093"/>
                      </a:lnTo>
                      <a:lnTo>
                        <a:pt x="368" y="13586"/>
                      </a:lnTo>
                      <a:lnTo>
                        <a:pt x="503" y="14089"/>
                      </a:lnTo>
                      <a:lnTo>
                        <a:pt x="673" y="14591"/>
                      </a:lnTo>
                      <a:lnTo>
                        <a:pt x="871" y="15067"/>
                      </a:lnTo>
                      <a:lnTo>
                        <a:pt x="1086" y="15552"/>
                      </a:lnTo>
                      <a:lnTo>
                        <a:pt x="1329" y="16009"/>
                      </a:lnTo>
                      <a:lnTo>
                        <a:pt x="1607" y="16476"/>
                      </a:lnTo>
                      <a:lnTo>
                        <a:pt x="1894" y="16925"/>
                      </a:lnTo>
                      <a:lnTo>
                        <a:pt x="2208" y="17355"/>
                      </a:lnTo>
                      <a:lnTo>
                        <a:pt x="2550" y="17768"/>
                      </a:lnTo>
                      <a:lnTo>
                        <a:pt x="2918" y="18181"/>
                      </a:lnTo>
                      <a:lnTo>
                        <a:pt x="3097" y="18378"/>
                      </a:lnTo>
                      <a:lnTo>
                        <a:pt x="3295" y="18576"/>
                      </a:lnTo>
                      <a:lnTo>
                        <a:pt x="3501" y="18755"/>
                      </a:lnTo>
                      <a:lnTo>
                        <a:pt x="3708" y="18944"/>
                      </a:lnTo>
                      <a:lnTo>
                        <a:pt x="3914" y="19123"/>
                      </a:lnTo>
                      <a:lnTo>
                        <a:pt x="4139" y="19303"/>
                      </a:lnTo>
                      <a:lnTo>
                        <a:pt x="4354" y="19473"/>
                      </a:lnTo>
                      <a:lnTo>
                        <a:pt x="4588" y="19635"/>
                      </a:lnTo>
                      <a:lnTo>
                        <a:pt x="5036" y="19931"/>
                      </a:lnTo>
                      <a:lnTo>
                        <a:pt x="5494" y="20209"/>
                      </a:lnTo>
                      <a:lnTo>
                        <a:pt x="5979" y="20460"/>
                      </a:lnTo>
                      <a:lnTo>
                        <a:pt x="6446" y="20694"/>
                      </a:lnTo>
                      <a:lnTo>
                        <a:pt x="7433" y="21071"/>
                      </a:lnTo>
                      <a:lnTo>
                        <a:pt x="7945" y="21223"/>
                      </a:lnTo>
                      <a:lnTo>
                        <a:pt x="8448" y="21349"/>
                      </a:lnTo>
                      <a:lnTo>
                        <a:pt x="8960" y="21447"/>
                      </a:lnTo>
                      <a:lnTo>
                        <a:pt x="9480" y="21519"/>
                      </a:lnTo>
                      <a:lnTo>
                        <a:pt x="10001" y="21573"/>
                      </a:lnTo>
                      <a:lnTo>
                        <a:pt x="10513" y="21600"/>
                      </a:lnTo>
                      <a:lnTo>
                        <a:pt x="11033" y="21600"/>
                      </a:lnTo>
                      <a:lnTo>
                        <a:pt x="11554" y="21573"/>
                      </a:lnTo>
                      <a:lnTo>
                        <a:pt x="12066" y="21528"/>
                      </a:lnTo>
                      <a:lnTo>
                        <a:pt x="12587" y="21447"/>
                      </a:lnTo>
                      <a:lnTo>
                        <a:pt x="13089" y="21358"/>
                      </a:lnTo>
                      <a:lnTo>
                        <a:pt x="13601" y="21232"/>
                      </a:lnTo>
                      <a:lnTo>
                        <a:pt x="14095" y="21080"/>
                      </a:lnTo>
                      <a:lnTo>
                        <a:pt x="14589" y="20918"/>
                      </a:lnTo>
                      <a:lnTo>
                        <a:pt x="15064" y="20721"/>
                      </a:lnTo>
                      <a:lnTo>
                        <a:pt x="15549" y="20505"/>
                      </a:lnTo>
                      <a:lnTo>
                        <a:pt x="16025" y="20254"/>
                      </a:lnTo>
                      <a:lnTo>
                        <a:pt x="16483" y="19985"/>
                      </a:lnTo>
                      <a:lnTo>
                        <a:pt x="16923" y="19698"/>
                      </a:lnTo>
                      <a:lnTo>
                        <a:pt x="17354" y="19383"/>
                      </a:lnTo>
                      <a:lnTo>
                        <a:pt x="17785" y="19042"/>
                      </a:lnTo>
                      <a:lnTo>
                        <a:pt x="18180" y="18675"/>
                      </a:lnTo>
                      <a:lnTo>
                        <a:pt x="18377" y="18495"/>
                      </a:lnTo>
                      <a:lnTo>
                        <a:pt x="18575" y="18298"/>
                      </a:lnTo>
                      <a:lnTo>
                        <a:pt x="18772" y="18091"/>
                      </a:lnTo>
                      <a:lnTo>
                        <a:pt x="18952" y="17885"/>
                      </a:lnTo>
                      <a:lnTo>
                        <a:pt x="19131" y="17669"/>
                      </a:lnTo>
                      <a:lnTo>
                        <a:pt x="19311" y="17463"/>
                      </a:lnTo>
                      <a:lnTo>
                        <a:pt x="19796" y="16790"/>
                      </a:lnTo>
                      <a:lnTo>
                        <a:pt x="19939" y="16566"/>
                      </a:lnTo>
                      <a:lnTo>
                        <a:pt x="20217" y="16108"/>
                      </a:lnTo>
                      <a:lnTo>
                        <a:pt x="20469" y="15623"/>
                      </a:lnTo>
                      <a:lnTo>
                        <a:pt x="20693" y="15139"/>
                      </a:lnTo>
                      <a:lnTo>
                        <a:pt x="20900" y="14654"/>
                      </a:lnTo>
                      <a:lnTo>
                        <a:pt x="21070" y="14152"/>
                      </a:lnTo>
                      <a:lnTo>
                        <a:pt x="21223" y="13658"/>
                      </a:lnTo>
                      <a:lnTo>
                        <a:pt x="21349" y="13138"/>
                      </a:lnTo>
                      <a:lnTo>
                        <a:pt x="21447" y="12635"/>
                      </a:lnTo>
                      <a:lnTo>
                        <a:pt x="21519" y="12115"/>
                      </a:lnTo>
                      <a:lnTo>
                        <a:pt x="21573" y="11594"/>
                      </a:lnTo>
                      <a:lnTo>
                        <a:pt x="21600" y="11083"/>
                      </a:lnTo>
                      <a:lnTo>
                        <a:pt x="21600" y="10562"/>
                      </a:lnTo>
                      <a:lnTo>
                        <a:pt x="21573" y="10051"/>
                      </a:lnTo>
                      <a:lnTo>
                        <a:pt x="21528" y="9530"/>
                      </a:lnTo>
                      <a:lnTo>
                        <a:pt x="21456" y="9010"/>
                      </a:lnTo>
                      <a:lnTo>
                        <a:pt x="21358" y="8507"/>
                      </a:lnTo>
                      <a:lnTo>
                        <a:pt x="21241" y="8005"/>
                      </a:lnTo>
                      <a:lnTo>
                        <a:pt x="21088" y="7511"/>
                      </a:lnTo>
                      <a:lnTo>
                        <a:pt x="20918" y="7009"/>
                      </a:lnTo>
                      <a:lnTo>
                        <a:pt x="20729" y="6515"/>
                      </a:lnTo>
                      <a:lnTo>
                        <a:pt x="20505" y="6048"/>
                      </a:lnTo>
                      <a:lnTo>
                        <a:pt x="20262" y="5573"/>
                      </a:lnTo>
                      <a:lnTo>
                        <a:pt x="19993" y="5115"/>
                      </a:lnTo>
                      <a:lnTo>
                        <a:pt x="19706" y="4666"/>
                      </a:lnTo>
                      <a:lnTo>
                        <a:pt x="19392" y="4245"/>
                      </a:lnTo>
                      <a:lnTo>
                        <a:pt x="19050" y="3814"/>
                      </a:lnTo>
                      <a:lnTo>
                        <a:pt x="18691" y="3419"/>
                      </a:lnTo>
                      <a:lnTo>
                        <a:pt x="18296" y="3024"/>
                      </a:lnTo>
                      <a:lnTo>
                        <a:pt x="18090" y="2827"/>
                      </a:lnTo>
                      <a:lnTo>
                        <a:pt x="17883" y="2647"/>
                      </a:lnTo>
                      <a:close/>
                    </a:path>
                  </a:pathLst>
                </a:custGeom>
                <a:solidFill>
                  <a:schemeClr val="bg1">
                    <a:alpha val="42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91440" tIns="45720" rIns="91440" bIns="45720" numCol="1" anchor="t">
                  <a:norm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1pPr>
                  <a:lvl2pPr marL="0" marR="0" indent="457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2pPr>
                  <a:lvl3pPr marL="0" marR="0" indent="914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3pPr>
                  <a:lvl4pPr marL="0" marR="0" indent="1371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4pPr>
                  <a:lvl5pPr marL="0" marR="0" indent="18288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5pPr>
                  <a:lvl6pPr marL="0" marR="0" indent="22860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6pPr>
                  <a:lvl7pPr marL="0" marR="0" indent="27432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7pPr>
                  <a:lvl8pPr marL="0" marR="0" indent="32004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8pPr>
                  <a:lvl9pPr marL="0" marR="0" indent="365760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lvl9pPr>
                </a:lstStyle>
                <a:p>
                  <a:endParaRPr dirty="0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1" name="组合 20">
                <a:extLst>
                  <a:ext uri="{FF2B5EF4-FFF2-40B4-BE49-F238E27FC236}">
                    <a16:creationId xmlns:a16="http://schemas.microsoft.com/office/drawing/2014/main" id="{AE50297D-305D-4299-9EAD-7AD426A00E11}"/>
                  </a:ext>
                </a:extLst>
              </p:cNvPr>
              <p:cNvGrpSpPr/>
              <p:nvPr/>
            </p:nvGrpSpPr>
            <p:grpSpPr>
              <a:xfrm>
                <a:off x="7737632" y="1577346"/>
                <a:ext cx="1968137" cy="1899814"/>
                <a:chOff x="2689611" y="1235368"/>
                <a:chExt cx="3978276" cy="3840163"/>
              </a:xfrm>
            </p:grpSpPr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5C82D3FA-C645-49A1-BD5F-BC601EB44868}"/>
                    </a:ext>
                  </a:extLst>
                </p:cNvPr>
                <p:cNvSpPr/>
                <p:nvPr/>
              </p:nvSpPr>
              <p:spPr bwMode="auto">
                <a:xfrm>
                  <a:off x="2692786" y="3976981"/>
                  <a:ext cx="1574800" cy="1098550"/>
                </a:xfrm>
                <a:custGeom>
                  <a:avLst/>
                  <a:gdLst>
                    <a:gd name="T0" fmla="*/ 473 w 477"/>
                    <a:gd name="T1" fmla="*/ 250 h 333"/>
                    <a:gd name="T2" fmla="*/ 462 w 477"/>
                    <a:gd name="T3" fmla="*/ 226 h 333"/>
                    <a:gd name="T4" fmla="*/ 79 w 477"/>
                    <a:gd name="T5" fmla="*/ 5 h 333"/>
                    <a:gd name="T6" fmla="*/ 41 w 477"/>
                    <a:gd name="T7" fmla="*/ 10 h 333"/>
                    <a:gd name="T8" fmla="*/ 0 w 477"/>
                    <a:gd name="T9" fmla="*/ 81 h 333"/>
                    <a:gd name="T10" fmla="*/ 12 w 477"/>
                    <a:gd name="T11" fmla="*/ 107 h 333"/>
                    <a:gd name="T12" fmla="*/ 203 w 477"/>
                    <a:gd name="T13" fmla="*/ 218 h 333"/>
                    <a:gd name="T14" fmla="*/ 224 w 477"/>
                    <a:gd name="T15" fmla="*/ 230 h 333"/>
                    <a:gd name="T16" fmla="*/ 224 w 477"/>
                    <a:gd name="T17" fmla="*/ 230 h 333"/>
                    <a:gd name="T18" fmla="*/ 395 w 477"/>
                    <a:gd name="T19" fmla="*/ 328 h 333"/>
                    <a:gd name="T20" fmla="*/ 424 w 477"/>
                    <a:gd name="T21" fmla="*/ 325 h 333"/>
                    <a:gd name="T22" fmla="*/ 425 w 477"/>
                    <a:gd name="T23" fmla="*/ 324 h 333"/>
                    <a:gd name="T24" fmla="*/ 431 w 477"/>
                    <a:gd name="T25" fmla="*/ 328 h 333"/>
                    <a:gd name="T26" fmla="*/ 473 w 477"/>
                    <a:gd name="T27" fmla="*/ 250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477" h="333">
                      <a:moveTo>
                        <a:pt x="473" y="250"/>
                      </a:moveTo>
                      <a:cubicBezTo>
                        <a:pt x="473" y="238"/>
                        <a:pt x="469" y="230"/>
                        <a:pt x="462" y="226"/>
                      </a:cubicBezTo>
                      <a:cubicBezTo>
                        <a:pt x="79" y="5"/>
                        <a:pt x="79" y="5"/>
                        <a:pt x="79" y="5"/>
                      </a:cubicBezTo>
                      <a:cubicBezTo>
                        <a:pt x="70" y="0"/>
                        <a:pt x="57" y="1"/>
                        <a:pt x="41" y="10"/>
                      </a:cubicBezTo>
                      <a:cubicBezTo>
                        <a:pt x="18" y="23"/>
                        <a:pt x="0" y="55"/>
                        <a:pt x="0" y="81"/>
                      </a:cubicBezTo>
                      <a:cubicBezTo>
                        <a:pt x="0" y="94"/>
                        <a:pt x="5" y="103"/>
                        <a:pt x="12" y="107"/>
                      </a:cubicBezTo>
                      <a:cubicBezTo>
                        <a:pt x="203" y="218"/>
                        <a:pt x="203" y="218"/>
                        <a:pt x="203" y="218"/>
                      </a:cubicBezTo>
                      <a:cubicBezTo>
                        <a:pt x="224" y="230"/>
                        <a:pt x="224" y="230"/>
                        <a:pt x="224" y="230"/>
                      </a:cubicBezTo>
                      <a:cubicBezTo>
                        <a:pt x="224" y="230"/>
                        <a:pt x="224" y="230"/>
                        <a:pt x="224" y="230"/>
                      </a:cubicBezTo>
                      <a:cubicBezTo>
                        <a:pt x="395" y="328"/>
                        <a:pt x="395" y="328"/>
                        <a:pt x="395" y="328"/>
                      </a:cubicBezTo>
                      <a:cubicBezTo>
                        <a:pt x="402" y="333"/>
                        <a:pt x="412" y="332"/>
                        <a:pt x="424" y="325"/>
                      </a:cubicBezTo>
                      <a:cubicBezTo>
                        <a:pt x="424" y="325"/>
                        <a:pt x="425" y="325"/>
                        <a:pt x="425" y="324"/>
                      </a:cubicBezTo>
                      <a:cubicBezTo>
                        <a:pt x="431" y="328"/>
                        <a:pt x="431" y="328"/>
                        <a:pt x="431" y="328"/>
                      </a:cubicBezTo>
                      <a:cubicBezTo>
                        <a:pt x="477" y="297"/>
                        <a:pt x="473" y="250"/>
                        <a:pt x="473" y="250"/>
                      </a:cubicBezTo>
                      <a:close/>
                    </a:path>
                  </a:pathLst>
                </a:custGeom>
                <a:solidFill>
                  <a:srgbClr val="A5A5A5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BBD32992-010C-489A-9D95-DAEA68009E3B}"/>
                    </a:ext>
                  </a:extLst>
                </p:cNvPr>
                <p:cNvSpPr/>
                <p:nvPr/>
              </p:nvSpPr>
              <p:spPr bwMode="auto">
                <a:xfrm>
                  <a:off x="3056324" y="2975268"/>
                  <a:ext cx="3030538" cy="1760538"/>
                </a:xfrm>
                <a:custGeom>
                  <a:avLst/>
                  <a:gdLst>
                    <a:gd name="T0" fmla="*/ 1015 w 1909"/>
                    <a:gd name="T1" fmla="*/ 1109 h 1109"/>
                    <a:gd name="T2" fmla="*/ 1909 w 1909"/>
                    <a:gd name="T3" fmla="*/ 596 h 1109"/>
                    <a:gd name="T4" fmla="*/ 884 w 1909"/>
                    <a:gd name="T5" fmla="*/ 0 h 1109"/>
                    <a:gd name="T6" fmla="*/ 0 w 1909"/>
                    <a:gd name="T7" fmla="*/ 511 h 1109"/>
                    <a:gd name="T8" fmla="*/ 1015 w 1909"/>
                    <a:gd name="T9" fmla="*/ 1109 h 1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09" h="1109">
                      <a:moveTo>
                        <a:pt x="1015" y="1109"/>
                      </a:moveTo>
                      <a:lnTo>
                        <a:pt x="1909" y="596"/>
                      </a:lnTo>
                      <a:lnTo>
                        <a:pt x="884" y="0"/>
                      </a:lnTo>
                      <a:lnTo>
                        <a:pt x="0" y="511"/>
                      </a:lnTo>
                      <a:lnTo>
                        <a:pt x="1015" y="1109"/>
                      </a:ln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05D0001E-E028-4159-A35C-247ABF0E35FA}"/>
                    </a:ext>
                  </a:extLst>
                </p:cNvPr>
                <p:cNvSpPr/>
                <p:nvPr/>
              </p:nvSpPr>
              <p:spPr bwMode="auto">
                <a:xfrm>
                  <a:off x="5875724" y="4316706"/>
                  <a:ext cx="792163" cy="419100"/>
                </a:xfrm>
                <a:custGeom>
                  <a:avLst/>
                  <a:gdLst>
                    <a:gd name="T0" fmla="*/ 237 w 240"/>
                    <a:gd name="T1" fmla="*/ 61 h 127"/>
                    <a:gd name="T2" fmla="*/ 113 w 240"/>
                    <a:gd name="T3" fmla="*/ 124 h 127"/>
                    <a:gd name="T4" fmla="*/ 3 w 240"/>
                    <a:gd name="T5" fmla="*/ 52 h 127"/>
                    <a:gd name="T6" fmla="*/ 122 w 240"/>
                    <a:gd name="T7" fmla="*/ 2 h 127"/>
                    <a:gd name="T8" fmla="*/ 237 w 240"/>
                    <a:gd name="T9" fmla="*/ 61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40" h="127">
                      <a:moveTo>
                        <a:pt x="237" y="61"/>
                      </a:moveTo>
                      <a:cubicBezTo>
                        <a:pt x="240" y="86"/>
                        <a:pt x="195" y="127"/>
                        <a:pt x="113" y="124"/>
                      </a:cubicBezTo>
                      <a:cubicBezTo>
                        <a:pt x="31" y="122"/>
                        <a:pt x="0" y="84"/>
                        <a:pt x="3" y="52"/>
                      </a:cubicBezTo>
                      <a:cubicBezTo>
                        <a:pt x="6" y="22"/>
                        <a:pt x="57" y="0"/>
                        <a:pt x="122" y="2"/>
                      </a:cubicBezTo>
                      <a:cubicBezTo>
                        <a:pt x="186" y="4"/>
                        <a:pt x="233" y="31"/>
                        <a:pt x="237" y="61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47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881D1FDE-11F0-488C-B5F8-274B00CA2A65}"/>
                    </a:ext>
                  </a:extLst>
                </p:cNvPr>
                <p:cNvSpPr/>
                <p:nvPr/>
              </p:nvSpPr>
              <p:spPr bwMode="auto">
                <a:xfrm>
                  <a:off x="6010661" y="3822993"/>
                  <a:ext cx="439738" cy="55563"/>
                </a:xfrm>
                <a:custGeom>
                  <a:avLst/>
                  <a:gdLst>
                    <a:gd name="T0" fmla="*/ 7 w 133"/>
                    <a:gd name="T1" fmla="*/ 3 h 17"/>
                    <a:gd name="T2" fmla="*/ 7 w 133"/>
                    <a:gd name="T3" fmla="*/ 3 h 17"/>
                    <a:gd name="T4" fmla="*/ 0 w 133"/>
                    <a:gd name="T5" fmla="*/ 0 h 17"/>
                    <a:gd name="T6" fmla="*/ 7 w 133"/>
                    <a:gd name="T7" fmla="*/ 3 h 17"/>
                    <a:gd name="T8" fmla="*/ 55 w 133"/>
                    <a:gd name="T9" fmla="*/ 17 h 17"/>
                    <a:gd name="T10" fmla="*/ 53 w 133"/>
                    <a:gd name="T11" fmla="*/ 17 h 17"/>
                    <a:gd name="T12" fmla="*/ 55 w 133"/>
                    <a:gd name="T13" fmla="*/ 17 h 17"/>
                    <a:gd name="T14" fmla="*/ 133 w 133"/>
                    <a:gd name="T15" fmla="*/ 13 h 17"/>
                    <a:gd name="T16" fmla="*/ 128 w 133"/>
                    <a:gd name="T17" fmla="*/ 14 h 17"/>
                    <a:gd name="T18" fmla="*/ 133 w 133"/>
                    <a:gd name="T19" fmla="*/ 13 h 17"/>
                    <a:gd name="T20" fmla="*/ 114 w 133"/>
                    <a:gd name="T21" fmla="*/ 17 h 17"/>
                    <a:gd name="T22" fmla="*/ 114 w 133"/>
                    <a:gd name="T23" fmla="*/ 17 h 17"/>
                    <a:gd name="T24" fmla="*/ 114 w 133"/>
                    <a:gd name="T25" fmla="*/ 17 h 17"/>
                    <a:gd name="T26" fmla="*/ 123 w 133"/>
                    <a:gd name="T27" fmla="*/ 15 h 17"/>
                    <a:gd name="T28" fmla="*/ 119 w 133"/>
                    <a:gd name="T29" fmla="*/ 16 h 17"/>
                    <a:gd name="T30" fmla="*/ 123 w 13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3" h="17">
                      <a:moveTo>
                        <a:pt x="7" y="3"/>
                      </a:moveTo>
                      <a:cubicBezTo>
                        <a:pt x="7" y="3"/>
                        <a:pt x="7" y="3"/>
                        <a:pt x="7" y="3"/>
                      </a:cubicBezTo>
                      <a:cubicBezTo>
                        <a:pt x="4" y="2"/>
                        <a:pt x="2" y="1"/>
                        <a:pt x="0" y="0"/>
                      </a:cubicBezTo>
                      <a:cubicBezTo>
                        <a:pt x="2" y="1"/>
                        <a:pt x="4" y="2"/>
                        <a:pt x="7" y="3"/>
                      </a:cubicBezTo>
                      <a:close/>
                      <a:moveTo>
                        <a:pt x="55" y="17"/>
                      </a:moveTo>
                      <a:cubicBezTo>
                        <a:pt x="54" y="17"/>
                        <a:pt x="54" y="17"/>
                        <a:pt x="53" y="17"/>
                      </a:cubicBezTo>
                      <a:cubicBezTo>
                        <a:pt x="54" y="17"/>
                        <a:pt x="54" y="17"/>
                        <a:pt x="55" y="17"/>
                      </a:cubicBezTo>
                      <a:close/>
                      <a:moveTo>
                        <a:pt x="133" y="13"/>
                      </a:moveTo>
                      <a:cubicBezTo>
                        <a:pt x="131" y="13"/>
                        <a:pt x="129" y="14"/>
                        <a:pt x="128" y="14"/>
                      </a:cubicBezTo>
                      <a:cubicBezTo>
                        <a:pt x="129" y="14"/>
                        <a:pt x="131" y="13"/>
                        <a:pt x="133" y="13"/>
                      </a:cubicBezTo>
                      <a:close/>
                      <a:moveTo>
                        <a:pt x="114" y="17"/>
                      </a:moveTo>
                      <a:cubicBezTo>
                        <a:pt x="114" y="17"/>
                        <a:pt x="114" y="17"/>
                        <a:pt x="114" y="17"/>
                      </a:cubicBezTo>
                      <a:cubicBezTo>
                        <a:pt x="114" y="17"/>
                        <a:pt x="114" y="17"/>
                        <a:pt x="114" y="17"/>
                      </a:cubicBezTo>
                      <a:close/>
                      <a:moveTo>
                        <a:pt x="123" y="15"/>
                      </a:moveTo>
                      <a:cubicBezTo>
                        <a:pt x="122" y="15"/>
                        <a:pt x="120" y="16"/>
                        <a:pt x="119" y="16"/>
                      </a:cubicBezTo>
                      <a:cubicBezTo>
                        <a:pt x="120" y="16"/>
                        <a:pt x="122" y="15"/>
                        <a:pt x="123" y="15"/>
                      </a:cubicBezTo>
                      <a:close/>
                    </a:path>
                  </a:pathLst>
                </a:custGeom>
                <a:solidFill>
                  <a:srgbClr val="162C4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5CF70C86-99F3-4DE0-8B34-21CFC0DCCD54}"/>
                    </a:ext>
                  </a:extLst>
                </p:cNvPr>
                <p:cNvSpPr/>
                <p:nvPr/>
              </p:nvSpPr>
              <p:spPr bwMode="auto">
                <a:xfrm>
                  <a:off x="3056324" y="2899068"/>
                  <a:ext cx="3017838" cy="1733550"/>
                </a:xfrm>
                <a:custGeom>
                  <a:avLst/>
                  <a:gdLst>
                    <a:gd name="T0" fmla="*/ 1017 w 1901"/>
                    <a:gd name="T1" fmla="*/ 1092 h 1092"/>
                    <a:gd name="T2" fmla="*/ 1901 w 1901"/>
                    <a:gd name="T3" fmla="*/ 584 h 1092"/>
                    <a:gd name="T4" fmla="*/ 884 w 1901"/>
                    <a:gd name="T5" fmla="*/ 0 h 1092"/>
                    <a:gd name="T6" fmla="*/ 0 w 1901"/>
                    <a:gd name="T7" fmla="*/ 511 h 1092"/>
                    <a:gd name="T8" fmla="*/ 1017 w 1901"/>
                    <a:gd name="T9" fmla="*/ 1092 h 1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01" h="1092">
                      <a:moveTo>
                        <a:pt x="1017" y="1092"/>
                      </a:moveTo>
                      <a:lnTo>
                        <a:pt x="1901" y="584"/>
                      </a:lnTo>
                      <a:lnTo>
                        <a:pt x="884" y="0"/>
                      </a:lnTo>
                      <a:lnTo>
                        <a:pt x="0" y="511"/>
                      </a:lnTo>
                      <a:lnTo>
                        <a:pt x="1017" y="1092"/>
                      </a:lnTo>
                      <a:close/>
                    </a:path>
                  </a:pathLst>
                </a:custGeom>
                <a:solidFill>
                  <a:srgbClr val="FFC5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A7FFEC78-3600-4C77-B1AA-A71AF416BDD2}"/>
                    </a:ext>
                  </a:extLst>
                </p:cNvPr>
                <p:cNvSpPr/>
                <p:nvPr/>
              </p:nvSpPr>
              <p:spPr bwMode="auto">
                <a:xfrm>
                  <a:off x="4670811" y="3826168"/>
                  <a:ext cx="1403350" cy="879475"/>
                </a:xfrm>
                <a:custGeom>
                  <a:avLst/>
                  <a:gdLst>
                    <a:gd name="T0" fmla="*/ 0 w 884"/>
                    <a:gd name="T1" fmla="*/ 508 h 554"/>
                    <a:gd name="T2" fmla="*/ 0 w 884"/>
                    <a:gd name="T3" fmla="*/ 554 h 554"/>
                    <a:gd name="T4" fmla="*/ 884 w 884"/>
                    <a:gd name="T5" fmla="*/ 45 h 554"/>
                    <a:gd name="T6" fmla="*/ 884 w 884"/>
                    <a:gd name="T7" fmla="*/ 0 h 554"/>
                    <a:gd name="T8" fmla="*/ 0 w 884"/>
                    <a:gd name="T9" fmla="*/ 508 h 5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84" h="554">
                      <a:moveTo>
                        <a:pt x="0" y="508"/>
                      </a:moveTo>
                      <a:lnTo>
                        <a:pt x="0" y="554"/>
                      </a:lnTo>
                      <a:lnTo>
                        <a:pt x="884" y="45"/>
                      </a:lnTo>
                      <a:lnTo>
                        <a:pt x="884" y="0"/>
                      </a:lnTo>
                      <a:lnTo>
                        <a:pt x="0" y="508"/>
                      </a:lnTo>
                      <a:close/>
                    </a:path>
                  </a:pathLst>
                </a:custGeom>
                <a:solidFill>
                  <a:srgbClr val="FFA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A83309BB-A80C-48CB-85F1-89ECE834E082}"/>
                    </a:ext>
                  </a:extLst>
                </p:cNvPr>
                <p:cNvSpPr/>
                <p:nvPr/>
              </p:nvSpPr>
              <p:spPr bwMode="auto">
                <a:xfrm>
                  <a:off x="3056324" y="2497431"/>
                  <a:ext cx="3017838" cy="1733550"/>
                </a:xfrm>
                <a:custGeom>
                  <a:avLst/>
                  <a:gdLst>
                    <a:gd name="T0" fmla="*/ 1017 w 1901"/>
                    <a:gd name="T1" fmla="*/ 1092 h 1092"/>
                    <a:gd name="T2" fmla="*/ 1901 w 1901"/>
                    <a:gd name="T3" fmla="*/ 581 h 1092"/>
                    <a:gd name="T4" fmla="*/ 884 w 1901"/>
                    <a:gd name="T5" fmla="*/ 0 h 1092"/>
                    <a:gd name="T6" fmla="*/ 0 w 1901"/>
                    <a:gd name="T7" fmla="*/ 509 h 1092"/>
                    <a:gd name="T8" fmla="*/ 1017 w 1901"/>
                    <a:gd name="T9" fmla="*/ 1092 h 1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01" h="1092">
                      <a:moveTo>
                        <a:pt x="1017" y="1092"/>
                      </a:moveTo>
                      <a:lnTo>
                        <a:pt x="1901" y="581"/>
                      </a:lnTo>
                      <a:lnTo>
                        <a:pt x="884" y="0"/>
                      </a:lnTo>
                      <a:lnTo>
                        <a:pt x="0" y="509"/>
                      </a:lnTo>
                      <a:lnTo>
                        <a:pt x="1017" y="1092"/>
                      </a:lnTo>
                      <a:close/>
                    </a:path>
                  </a:pathLst>
                </a:custGeom>
                <a:solidFill>
                  <a:srgbClr val="FFC5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3DF71823-21A0-4F7B-A341-5DABD38E6C09}"/>
                    </a:ext>
                  </a:extLst>
                </p:cNvPr>
                <p:cNvSpPr/>
                <p:nvPr/>
              </p:nvSpPr>
              <p:spPr bwMode="auto">
                <a:xfrm>
                  <a:off x="4670811" y="3419768"/>
                  <a:ext cx="1403350" cy="884238"/>
                </a:xfrm>
                <a:custGeom>
                  <a:avLst/>
                  <a:gdLst>
                    <a:gd name="T0" fmla="*/ 0 w 884"/>
                    <a:gd name="T1" fmla="*/ 511 h 557"/>
                    <a:gd name="T2" fmla="*/ 0 w 884"/>
                    <a:gd name="T3" fmla="*/ 557 h 557"/>
                    <a:gd name="T4" fmla="*/ 884 w 884"/>
                    <a:gd name="T5" fmla="*/ 46 h 557"/>
                    <a:gd name="T6" fmla="*/ 884 w 884"/>
                    <a:gd name="T7" fmla="*/ 0 h 557"/>
                    <a:gd name="T8" fmla="*/ 0 w 884"/>
                    <a:gd name="T9" fmla="*/ 511 h 5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84" h="557">
                      <a:moveTo>
                        <a:pt x="0" y="511"/>
                      </a:moveTo>
                      <a:lnTo>
                        <a:pt x="0" y="557"/>
                      </a:lnTo>
                      <a:lnTo>
                        <a:pt x="884" y="46"/>
                      </a:lnTo>
                      <a:lnTo>
                        <a:pt x="884" y="0"/>
                      </a:lnTo>
                      <a:lnTo>
                        <a:pt x="0" y="511"/>
                      </a:lnTo>
                      <a:close/>
                    </a:path>
                  </a:pathLst>
                </a:custGeom>
                <a:solidFill>
                  <a:srgbClr val="FFA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3DABC568-4711-4DE8-8BB9-470AC1215DAF}"/>
                    </a:ext>
                  </a:extLst>
                </p:cNvPr>
                <p:cNvSpPr/>
                <p:nvPr/>
              </p:nvSpPr>
              <p:spPr bwMode="auto">
                <a:xfrm>
                  <a:off x="3056324" y="3305468"/>
                  <a:ext cx="1614488" cy="1400175"/>
                </a:xfrm>
                <a:custGeom>
                  <a:avLst/>
                  <a:gdLst>
                    <a:gd name="T0" fmla="*/ 1017 w 1017"/>
                    <a:gd name="T1" fmla="*/ 583 h 882"/>
                    <a:gd name="T2" fmla="*/ 1017 w 1017"/>
                    <a:gd name="T3" fmla="*/ 882 h 882"/>
                    <a:gd name="T4" fmla="*/ 0 w 1017"/>
                    <a:gd name="T5" fmla="*/ 301 h 882"/>
                    <a:gd name="T6" fmla="*/ 0 w 1017"/>
                    <a:gd name="T7" fmla="*/ 0 h 882"/>
                    <a:gd name="T8" fmla="*/ 1017 w 1017"/>
                    <a:gd name="T9" fmla="*/ 583 h 8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17" h="882">
                      <a:moveTo>
                        <a:pt x="1017" y="583"/>
                      </a:moveTo>
                      <a:lnTo>
                        <a:pt x="1017" y="882"/>
                      </a:lnTo>
                      <a:lnTo>
                        <a:pt x="0" y="301"/>
                      </a:lnTo>
                      <a:lnTo>
                        <a:pt x="0" y="0"/>
                      </a:lnTo>
                      <a:lnTo>
                        <a:pt x="1017" y="583"/>
                      </a:lnTo>
                      <a:close/>
                    </a:path>
                  </a:pathLst>
                </a:custGeom>
                <a:solidFill>
                  <a:srgbClr val="FFA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390DB282-0079-427A-AFB5-8378865D68B1}"/>
                    </a:ext>
                  </a:extLst>
                </p:cNvPr>
                <p:cNvSpPr/>
                <p:nvPr/>
              </p:nvSpPr>
              <p:spPr bwMode="auto">
                <a:xfrm>
                  <a:off x="4704149" y="3542006"/>
                  <a:ext cx="1287463" cy="1012825"/>
                </a:xfrm>
                <a:custGeom>
                  <a:avLst/>
                  <a:gdLst>
                    <a:gd name="T0" fmla="*/ 0 w 811"/>
                    <a:gd name="T1" fmla="*/ 467 h 638"/>
                    <a:gd name="T2" fmla="*/ 0 w 811"/>
                    <a:gd name="T3" fmla="*/ 638 h 638"/>
                    <a:gd name="T4" fmla="*/ 811 w 811"/>
                    <a:gd name="T5" fmla="*/ 168 h 638"/>
                    <a:gd name="T6" fmla="*/ 811 w 811"/>
                    <a:gd name="T7" fmla="*/ 0 h 638"/>
                    <a:gd name="T8" fmla="*/ 0 w 811"/>
                    <a:gd name="T9" fmla="*/ 467 h 6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1" h="638">
                      <a:moveTo>
                        <a:pt x="0" y="467"/>
                      </a:moveTo>
                      <a:lnTo>
                        <a:pt x="0" y="638"/>
                      </a:lnTo>
                      <a:lnTo>
                        <a:pt x="811" y="168"/>
                      </a:lnTo>
                      <a:lnTo>
                        <a:pt x="811" y="0"/>
                      </a:lnTo>
                      <a:lnTo>
                        <a:pt x="0" y="467"/>
                      </a:lnTo>
                      <a:close/>
                    </a:path>
                  </a:pathLst>
                </a:custGeom>
                <a:solidFill>
                  <a:srgbClr val="F9EF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2" name="任意多边形: 形状 31">
                  <a:extLst>
                    <a:ext uri="{FF2B5EF4-FFF2-40B4-BE49-F238E27FC236}">
                      <a16:creationId xmlns:a16="http://schemas.microsoft.com/office/drawing/2014/main" id="{0297C80E-3EB2-437B-942E-B3920543A504}"/>
                    </a:ext>
                  </a:extLst>
                </p:cNvPr>
                <p:cNvSpPr/>
                <p:nvPr/>
              </p:nvSpPr>
              <p:spPr bwMode="auto">
                <a:xfrm>
                  <a:off x="4670811" y="4211931"/>
                  <a:ext cx="33338" cy="493713"/>
                </a:xfrm>
                <a:custGeom>
                  <a:avLst/>
                  <a:gdLst>
                    <a:gd name="T0" fmla="*/ 0 w 21"/>
                    <a:gd name="T1" fmla="*/ 12 h 311"/>
                    <a:gd name="T2" fmla="*/ 0 w 21"/>
                    <a:gd name="T3" fmla="*/ 311 h 311"/>
                    <a:gd name="T4" fmla="*/ 21 w 21"/>
                    <a:gd name="T5" fmla="*/ 301 h 311"/>
                    <a:gd name="T6" fmla="*/ 21 w 21"/>
                    <a:gd name="T7" fmla="*/ 0 h 311"/>
                    <a:gd name="T8" fmla="*/ 0 w 21"/>
                    <a:gd name="T9" fmla="*/ 12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311">
                      <a:moveTo>
                        <a:pt x="0" y="12"/>
                      </a:moveTo>
                      <a:lnTo>
                        <a:pt x="0" y="311"/>
                      </a:lnTo>
                      <a:lnTo>
                        <a:pt x="21" y="301"/>
                      </a:lnTo>
                      <a:lnTo>
                        <a:pt x="21" y="0"/>
                      </a:lnTo>
                      <a:lnTo>
                        <a:pt x="0" y="12"/>
                      </a:lnTo>
                      <a:close/>
                    </a:path>
                  </a:pathLst>
                </a:custGeom>
                <a:solidFill>
                  <a:srgbClr val="FFA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50D96560-807D-442A-9BE3-3942034287C7}"/>
                    </a:ext>
                  </a:extLst>
                </p:cNvPr>
                <p:cNvSpPr/>
                <p:nvPr/>
              </p:nvSpPr>
              <p:spPr bwMode="auto">
                <a:xfrm>
                  <a:off x="3056324" y="2356143"/>
                  <a:ext cx="3017838" cy="1733550"/>
                </a:xfrm>
                <a:custGeom>
                  <a:avLst/>
                  <a:gdLst>
                    <a:gd name="T0" fmla="*/ 1017 w 1901"/>
                    <a:gd name="T1" fmla="*/ 1092 h 1092"/>
                    <a:gd name="T2" fmla="*/ 1901 w 1901"/>
                    <a:gd name="T3" fmla="*/ 581 h 1092"/>
                    <a:gd name="T4" fmla="*/ 884 w 1901"/>
                    <a:gd name="T5" fmla="*/ 0 h 1092"/>
                    <a:gd name="T6" fmla="*/ 0 w 1901"/>
                    <a:gd name="T7" fmla="*/ 508 h 1092"/>
                    <a:gd name="T8" fmla="*/ 1017 w 1901"/>
                    <a:gd name="T9" fmla="*/ 1092 h 1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01" h="1092">
                      <a:moveTo>
                        <a:pt x="1017" y="1092"/>
                      </a:moveTo>
                      <a:lnTo>
                        <a:pt x="1901" y="581"/>
                      </a:lnTo>
                      <a:lnTo>
                        <a:pt x="884" y="0"/>
                      </a:lnTo>
                      <a:lnTo>
                        <a:pt x="0" y="508"/>
                      </a:lnTo>
                      <a:lnTo>
                        <a:pt x="1017" y="1092"/>
                      </a:lnTo>
                      <a:close/>
                    </a:path>
                  </a:pathLst>
                </a:custGeom>
                <a:solidFill>
                  <a:srgbClr val="FF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84C3C214-B7BD-4E02-B9E7-CFC5B8AF8327}"/>
                    </a:ext>
                  </a:extLst>
                </p:cNvPr>
                <p:cNvSpPr/>
                <p:nvPr/>
              </p:nvSpPr>
              <p:spPr bwMode="auto">
                <a:xfrm>
                  <a:off x="4670811" y="3278481"/>
                  <a:ext cx="1403350" cy="882650"/>
                </a:xfrm>
                <a:custGeom>
                  <a:avLst/>
                  <a:gdLst>
                    <a:gd name="T0" fmla="*/ 0 w 884"/>
                    <a:gd name="T1" fmla="*/ 511 h 556"/>
                    <a:gd name="T2" fmla="*/ 0 w 884"/>
                    <a:gd name="T3" fmla="*/ 556 h 556"/>
                    <a:gd name="T4" fmla="*/ 884 w 884"/>
                    <a:gd name="T5" fmla="*/ 46 h 556"/>
                    <a:gd name="T6" fmla="*/ 884 w 884"/>
                    <a:gd name="T7" fmla="*/ 0 h 556"/>
                    <a:gd name="T8" fmla="*/ 0 w 884"/>
                    <a:gd name="T9" fmla="*/ 511 h 5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84" h="556">
                      <a:moveTo>
                        <a:pt x="0" y="511"/>
                      </a:moveTo>
                      <a:lnTo>
                        <a:pt x="0" y="556"/>
                      </a:lnTo>
                      <a:lnTo>
                        <a:pt x="884" y="46"/>
                      </a:lnTo>
                      <a:lnTo>
                        <a:pt x="884" y="0"/>
                      </a:lnTo>
                      <a:lnTo>
                        <a:pt x="0" y="511"/>
                      </a:lnTo>
                      <a:close/>
                    </a:path>
                  </a:pathLst>
                </a:custGeom>
                <a:solidFill>
                  <a:srgbClr val="E5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B8D9E697-0599-4EB7-A984-340F1DED731C}"/>
                    </a:ext>
                  </a:extLst>
                </p:cNvPr>
                <p:cNvSpPr/>
                <p:nvPr/>
              </p:nvSpPr>
              <p:spPr bwMode="auto">
                <a:xfrm>
                  <a:off x="3056324" y="1949743"/>
                  <a:ext cx="3017838" cy="1733550"/>
                </a:xfrm>
                <a:custGeom>
                  <a:avLst/>
                  <a:gdLst>
                    <a:gd name="T0" fmla="*/ 1017 w 1901"/>
                    <a:gd name="T1" fmla="*/ 1092 h 1092"/>
                    <a:gd name="T2" fmla="*/ 1901 w 1901"/>
                    <a:gd name="T3" fmla="*/ 584 h 1092"/>
                    <a:gd name="T4" fmla="*/ 884 w 1901"/>
                    <a:gd name="T5" fmla="*/ 0 h 1092"/>
                    <a:gd name="T6" fmla="*/ 0 w 1901"/>
                    <a:gd name="T7" fmla="*/ 509 h 1092"/>
                    <a:gd name="T8" fmla="*/ 1017 w 1901"/>
                    <a:gd name="T9" fmla="*/ 1092 h 10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01" h="1092">
                      <a:moveTo>
                        <a:pt x="1017" y="1092"/>
                      </a:moveTo>
                      <a:lnTo>
                        <a:pt x="1901" y="584"/>
                      </a:lnTo>
                      <a:lnTo>
                        <a:pt x="884" y="0"/>
                      </a:lnTo>
                      <a:lnTo>
                        <a:pt x="0" y="509"/>
                      </a:lnTo>
                      <a:lnTo>
                        <a:pt x="1017" y="1092"/>
                      </a:lnTo>
                      <a:close/>
                    </a:path>
                  </a:pathLst>
                </a:custGeom>
                <a:solidFill>
                  <a:srgbClr val="FF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65BE123A-C5AB-457A-A842-B567919FE905}"/>
                    </a:ext>
                  </a:extLst>
                </p:cNvPr>
                <p:cNvSpPr/>
                <p:nvPr/>
              </p:nvSpPr>
              <p:spPr bwMode="auto">
                <a:xfrm>
                  <a:off x="4670811" y="2876843"/>
                  <a:ext cx="1403350" cy="879475"/>
                </a:xfrm>
                <a:custGeom>
                  <a:avLst/>
                  <a:gdLst>
                    <a:gd name="T0" fmla="*/ 0 w 884"/>
                    <a:gd name="T1" fmla="*/ 508 h 554"/>
                    <a:gd name="T2" fmla="*/ 0 w 884"/>
                    <a:gd name="T3" fmla="*/ 554 h 554"/>
                    <a:gd name="T4" fmla="*/ 884 w 884"/>
                    <a:gd name="T5" fmla="*/ 45 h 554"/>
                    <a:gd name="T6" fmla="*/ 884 w 884"/>
                    <a:gd name="T7" fmla="*/ 0 h 554"/>
                    <a:gd name="T8" fmla="*/ 0 w 884"/>
                    <a:gd name="T9" fmla="*/ 508 h 5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84" h="554">
                      <a:moveTo>
                        <a:pt x="0" y="508"/>
                      </a:moveTo>
                      <a:lnTo>
                        <a:pt x="0" y="554"/>
                      </a:lnTo>
                      <a:lnTo>
                        <a:pt x="884" y="45"/>
                      </a:lnTo>
                      <a:lnTo>
                        <a:pt x="884" y="0"/>
                      </a:lnTo>
                      <a:lnTo>
                        <a:pt x="0" y="508"/>
                      </a:lnTo>
                      <a:close/>
                    </a:path>
                  </a:pathLst>
                </a:custGeom>
                <a:solidFill>
                  <a:srgbClr val="E5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36166679-5381-4D9A-8A5C-593B39F3F804}"/>
                    </a:ext>
                  </a:extLst>
                </p:cNvPr>
                <p:cNvSpPr/>
                <p:nvPr/>
              </p:nvSpPr>
              <p:spPr bwMode="auto">
                <a:xfrm>
                  <a:off x="3056324" y="2757781"/>
                  <a:ext cx="1614488" cy="1403350"/>
                </a:xfrm>
                <a:custGeom>
                  <a:avLst/>
                  <a:gdLst>
                    <a:gd name="T0" fmla="*/ 1017 w 1017"/>
                    <a:gd name="T1" fmla="*/ 583 h 884"/>
                    <a:gd name="T2" fmla="*/ 1017 w 1017"/>
                    <a:gd name="T3" fmla="*/ 884 h 884"/>
                    <a:gd name="T4" fmla="*/ 0 w 1017"/>
                    <a:gd name="T5" fmla="*/ 301 h 884"/>
                    <a:gd name="T6" fmla="*/ 0 w 1017"/>
                    <a:gd name="T7" fmla="*/ 0 h 884"/>
                    <a:gd name="T8" fmla="*/ 1017 w 1017"/>
                    <a:gd name="T9" fmla="*/ 583 h 8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17" h="884">
                      <a:moveTo>
                        <a:pt x="1017" y="583"/>
                      </a:moveTo>
                      <a:lnTo>
                        <a:pt x="1017" y="884"/>
                      </a:lnTo>
                      <a:lnTo>
                        <a:pt x="0" y="301"/>
                      </a:lnTo>
                      <a:lnTo>
                        <a:pt x="0" y="0"/>
                      </a:lnTo>
                      <a:lnTo>
                        <a:pt x="1017" y="583"/>
                      </a:lnTo>
                      <a:close/>
                    </a:path>
                  </a:pathLst>
                </a:custGeom>
                <a:solidFill>
                  <a:srgbClr val="E5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3EE6EF5E-04E4-4BC1-8BE4-4DF35A155D45}"/>
                    </a:ext>
                  </a:extLst>
                </p:cNvPr>
                <p:cNvSpPr/>
                <p:nvPr/>
              </p:nvSpPr>
              <p:spPr bwMode="auto">
                <a:xfrm>
                  <a:off x="4704149" y="2994318"/>
                  <a:ext cx="1287463" cy="1012825"/>
                </a:xfrm>
                <a:custGeom>
                  <a:avLst/>
                  <a:gdLst>
                    <a:gd name="T0" fmla="*/ 0 w 811"/>
                    <a:gd name="T1" fmla="*/ 468 h 638"/>
                    <a:gd name="T2" fmla="*/ 0 w 811"/>
                    <a:gd name="T3" fmla="*/ 638 h 638"/>
                    <a:gd name="T4" fmla="*/ 811 w 811"/>
                    <a:gd name="T5" fmla="*/ 171 h 638"/>
                    <a:gd name="T6" fmla="*/ 811 w 811"/>
                    <a:gd name="T7" fmla="*/ 0 h 638"/>
                    <a:gd name="T8" fmla="*/ 0 w 811"/>
                    <a:gd name="T9" fmla="*/ 468 h 6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1" h="638">
                      <a:moveTo>
                        <a:pt x="0" y="468"/>
                      </a:moveTo>
                      <a:lnTo>
                        <a:pt x="0" y="638"/>
                      </a:lnTo>
                      <a:lnTo>
                        <a:pt x="811" y="171"/>
                      </a:lnTo>
                      <a:lnTo>
                        <a:pt x="811" y="0"/>
                      </a:lnTo>
                      <a:lnTo>
                        <a:pt x="0" y="468"/>
                      </a:lnTo>
                      <a:close/>
                    </a:path>
                  </a:pathLst>
                </a:custGeom>
                <a:solidFill>
                  <a:srgbClr val="F9EFE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A5F76938-0DAE-4420-80A6-E100468D33E7}"/>
                    </a:ext>
                  </a:extLst>
                </p:cNvPr>
                <p:cNvSpPr/>
                <p:nvPr/>
              </p:nvSpPr>
              <p:spPr bwMode="auto">
                <a:xfrm>
                  <a:off x="4670811" y="3667418"/>
                  <a:ext cx="33338" cy="493713"/>
                </a:xfrm>
                <a:custGeom>
                  <a:avLst/>
                  <a:gdLst>
                    <a:gd name="T0" fmla="*/ 0 w 21"/>
                    <a:gd name="T1" fmla="*/ 10 h 311"/>
                    <a:gd name="T2" fmla="*/ 0 w 21"/>
                    <a:gd name="T3" fmla="*/ 311 h 311"/>
                    <a:gd name="T4" fmla="*/ 21 w 21"/>
                    <a:gd name="T5" fmla="*/ 299 h 311"/>
                    <a:gd name="T6" fmla="*/ 21 w 21"/>
                    <a:gd name="T7" fmla="*/ 0 h 311"/>
                    <a:gd name="T8" fmla="*/ 0 w 21"/>
                    <a:gd name="T9" fmla="*/ 10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" h="311">
                      <a:moveTo>
                        <a:pt x="0" y="10"/>
                      </a:moveTo>
                      <a:lnTo>
                        <a:pt x="0" y="311"/>
                      </a:lnTo>
                      <a:lnTo>
                        <a:pt x="21" y="299"/>
                      </a:lnTo>
                      <a:lnTo>
                        <a:pt x="21" y="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solidFill>
                  <a:srgbClr val="E5005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12287FD1-FF24-4F38-8F1F-36F177CDF4E6}"/>
                    </a:ext>
                  </a:extLst>
                </p:cNvPr>
                <p:cNvSpPr/>
                <p:nvPr/>
              </p:nvSpPr>
              <p:spPr bwMode="auto">
                <a:xfrm>
                  <a:off x="4072324" y="4678656"/>
                  <a:ext cx="192088" cy="354013"/>
                </a:xfrm>
                <a:custGeom>
                  <a:avLst/>
                  <a:gdLst>
                    <a:gd name="T0" fmla="*/ 54 w 58"/>
                    <a:gd name="T1" fmla="*/ 29 h 107"/>
                    <a:gd name="T2" fmla="*/ 43 w 58"/>
                    <a:gd name="T3" fmla="*/ 5 h 107"/>
                    <a:gd name="T4" fmla="*/ 5 w 58"/>
                    <a:gd name="T5" fmla="*/ 10 h 107"/>
                    <a:gd name="T6" fmla="*/ 0 w 58"/>
                    <a:gd name="T7" fmla="*/ 14 h 107"/>
                    <a:gd name="T8" fmla="*/ 43 w 58"/>
                    <a:gd name="T9" fmla="*/ 39 h 107"/>
                    <a:gd name="T10" fmla="*/ 6 w 58"/>
                    <a:gd name="T11" fmla="*/ 104 h 107"/>
                    <a:gd name="T12" fmla="*/ 12 w 58"/>
                    <a:gd name="T13" fmla="*/ 107 h 107"/>
                    <a:gd name="T14" fmla="*/ 54 w 58"/>
                    <a:gd name="T15" fmla="*/ 29 h 1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8" h="107">
                      <a:moveTo>
                        <a:pt x="54" y="29"/>
                      </a:moveTo>
                      <a:cubicBezTo>
                        <a:pt x="54" y="17"/>
                        <a:pt x="50" y="9"/>
                        <a:pt x="43" y="5"/>
                      </a:cubicBezTo>
                      <a:cubicBezTo>
                        <a:pt x="34" y="0"/>
                        <a:pt x="21" y="1"/>
                        <a:pt x="5" y="10"/>
                      </a:cubicBezTo>
                      <a:cubicBezTo>
                        <a:pt x="3" y="11"/>
                        <a:pt x="1" y="13"/>
                        <a:pt x="0" y="14"/>
                      </a:cubicBezTo>
                      <a:cubicBezTo>
                        <a:pt x="43" y="39"/>
                        <a:pt x="43" y="39"/>
                        <a:pt x="43" y="39"/>
                      </a:cubicBezTo>
                      <a:cubicBezTo>
                        <a:pt x="43" y="64"/>
                        <a:pt x="28" y="90"/>
                        <a:pt x="6" y="104"/>
                      </a:cubicBezTo>
                      <a:cubicBezTo>
                        <a:pt x="12" y="107"/>
                        <a:pt x="12" y="107"/>
                        <a:pt x="12" y="107"/>
                      </a:cubicBezTo>
                      <a:cubicBezTo>
                        <a:pt x="58" y="76"/>
                        <a:pt x="54" y="29"/>
                        <a:pt x="54" y="29"/>
                      </a:cubicBezTo>
                      <a:close/>
                    </a:path>
                  </a:pathLst>
                </a:custGeom>
                <a:solidFill>
                  <a:srgbClr val="D5D8D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32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BA356247-C824-4C8E-8CE4-F0026D2A66CA}"/>
                    </a:ext>
                  </a:extLst>
                </p:cNvPr>
                <p:cNvSpPr/>
                <p:nvPr/>
              </p:nvSpPr>
              <p:spPr bwMode="auto">
                <a:xfrm>
                  <a:off x="3954849" y="4724693"/>
                  <a:ext cx="260350" cy="323850"/>
                </a:xfrm>
                <a:custGeom>
                  <a:avLst/>
                  <a:gdLst>
                    <a:gd name="T0" fmla="*/ 36 w 79"/>
                    <a:gd name="T1" fmla="*/ 0 h 98"/>
                    <a:gd name="T2" fmla="*/ 0 w 79"/>
                    <a:gd name="T3" fmla="*/ 65 h 98"/>
                    <a:gd name="T4" fmla="*/ 0 w 79"/>
                    <a:gd name="T5" fmla="*/ 67 h 98"/>
                    <a:gd name="T6" fmla="*/ 12 w 79"/>
                    <a:gd name="T7" fmla="*/ 94 h 98"/>
                    <a:gd name="T8" fmla="*/ 41 w 79"/>
                    <a:gd name="T9" fmla="*/ 91 h 98"/>
                    <a:gd name="T10" fmla="*/ 42 w 79"/>
                    <a:gd name="T11" fmla="*/ 90 h 98"/>
                    <a:gd name="T12" fmla="*/ 79 w 79"/>
                    <a:gd name="T13" fmla="*/ 25 h 98"/>
                    <a:gd name="T14" fmla="*/ 36 w 79"/>
                    <a:gd name="T15" fmla="*/ 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9" h="98">
                      <a:moveTo>
                        <a:pt x="36" y="0"/>
                      </a:moveTo>
                      <a:cubicBezTo>
                        <a:pt x="16" y="14"/>
                        <a:pt x="1" y="42"/>
                        <a:pt x="0" y="65"/>
                      </a:cubicBezTo>
                      <a:cubicBezTo>
                        <a:pt x="0" y="66"/>
                        <a:pt x="0" y="67"/>
                        <a:pt x="0" y="67"/>
                      </a:cubicBezTo>
                      <a:cubicBezTo>
                        <a:pt x="0" y="80"/>
                        <a:pt x="4" y="89"/>
                        <a:pt x="12" y="94"/>
                      </a:cubicBezTo>
                      <a:cubicBezTo>
                        <a:pt x="19" y="98"/>
                        <a:pt x="29" y="97"/>
                        <a:pt x="41" y="91"/>
                      </a:cubicBezTo>
                      <a:cubicBezTo>
                        <a:pt x="41" y="90"/>
                        <a:pt x="42" y="90"/>
                        <a:pt x="42" y="90"/>
                      </a:cubicBezTo>
                      <a:cubicBezTo>
                        <a:pt x="64" y="76"/>
                        <a:pt x="79" y="50"/>
                        <a:pt x="79" y="25"/>
                      </a:cubicBez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rgbClr val="C1C4C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D8F59490-6B07-482A-B457-00411A74475A}"/>
                    </a:ext>
                  </a:extLst>
                </p:cNvPr>
                <p:cNvSpPr/>
                <p:nvPr/>
              </p:nvSpPr>
              <p:spPr bwMode="auto">
                <a:xfrm>
                  <a:off x="2689611" y="3951581"/>
                  <a:ext cx="1525588" cy="1084263"/>
                </a:xfrm>
                <a:custGeom>
                  <a:avLst/>
                  <a:gdLst>
                    <a:gd name="T0" fmla="*/ 79 w 462"/>
                    <a:gd name="T1" fmla="*/ 5 h 329"/>
                    <a:gd name="T2" fmla="*/ 41 w 462"/>
                    <a:gd name="T3" fmla="*/ 10 h 329"/>
                    <a:gd name="T4" fmla="*/ 0 w 462"/>
                    <a:gd name="T5" fmla="*/ 81 h 329"/>
                    <a:gd name="T6" fmla="*/ 12 w 462"/>
                    <a:gd name="T7" fmla="*/ 108 h 329"/>
                    <a:gd name="T8" fmla="*/ 395 w 462"/>
                    <a:gd name="T9" fmla="*/ 329 h 329"/>
                    <a:gd name="T10" fmla="*/ 383 w 462"/>
                    <a:gd name="T11" fmla="*/ 302 h 329"/>
                    <a:gd name="T12" fmla="*/ 383 w 462"/>
                    <a:gd name="T13" fmla="*/ 300 h 329"/>
                    <a:gd name="T14" fmla="*/ 419 w 462"/>
                    <a:gd name="T15" fmla="*/ 235 h 329"/>
                    <a:gd name="T16" fmla="*/ 424 w 462"/>
                    <a:gd name="T17" fmla="*/ 231 h 329"/>
                    <a:gd name="T18" fmla="*/ 462 w 462"/>
                    <a:gd name="T19" fmla="*/ 226 h 329"/>
                    <a:gd name="T20" fmla="*/ 79 w 462"/>
                    <a:gd name="T21" fmla="*/ 5 h 3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462" h="329">
                      <a:moveTo>
                        <a:pt x="79" y="5"/>
                      </a:moveTo>
                      <a:cubicBezTo>
                        <a:pt x="70" y="0"/>
                        <a:pt x="57" y="1"/>
                        <a:pt x="41" y="10"/>
                      </a:cubicBezTo>
                      <a:cubicBezTo>
                        <a:pt x="18" y="23"/>
                        <a:pt x="0" y="55"/>
                        <a:pt x="0" y="81"/>
                      </a:cubicBezTo>
                      <a:cubicBezTo>
                        <a:pt x="0" y="94"/>
                        <a:pt x="5" y="103"/>
                        <a:pt x="12" y="108"/>
                      </a:cubicBezTo>
                      <a:cubicBezTo>
                        <a:pt x="395" y="329"/>
                        <a:pt x="395" y="329"/>
                        <a:pt x="395" y="329"/>
                      </a:cubicBezTo>
                      <a:cubicBezTo>
                        <a:pt x="387" y="324"/>
                        <a:pt x="383" y="315"/>
                        <a:pt x="383" y="302"/>
                      </a:cubicBezTo>
                      <a:cubicBezTo>
                        <a:pt x="383" y="302"/>
                        <a:pt x="383" y="301"/>
                        <a:pt x="383" y="300"/>
                      </a:cubicBezTo>
                      <a:cubicBezTo>
                        <a:pt x="384" y="277"/>
                        <a:pt x="399" y="249"/>
                        <a:pt x="419" y="235"/>
                      </a:cubicBezTo>
                      <a:cubicBezTo>
                        <a:pt x="420" y="234"/>
                        <a:pt x="422" y="232"/>
                        <a:pt x="424" y="231"/>
                      </a:cubicBezTo>
                      <a:cubicBezTo>
                        <a:pt x="440" y="222"/>
                        <a:pt x="453" y="221"/>
                        <a:pt x="462" y="226"/>
                      </a:cubicBezTo>
                      <a:lnTo>
                        <a:pt x="79" y="5"/>
                      </a:lnTo>
                      <a:close/>
                    </a:path>
                  </a:pathLst>
                </a:custGeom>
                <a:solidFill>
                  <a:srgbClr val="FCFCF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F4F7B95C-EA9C-4A26-924D-2E0D6E920C56}"/>
                    </a:ext>
                  </a:extLst>
                </p:cNvPr>
                <p:cNvSpPr/>
                <p:nvPr/>
              </p:nvSpPr>
              <p:spPr bwMode="auto">
                <a:xfrm>
                  <a:off x="3254761" y="4273843"/>
                  <a:ext cx="395288" cy="434975"/>
                </a:xfrm>
                <a:custGeom>
                  <a:avLst/>
                  <a:gdLst>
                    <a:gd name="T0" fmla="*/ 79 w 120"/>
                    <a:gd name="T1" fmla="*/ 6 h 132"/>
                    <a:gd name="T2" fmla="*/ 41 w 120"/>
                    <a:gd name="T3" fmla="*/ 11 h 132"/>
                    <a:gd name="T4" fmla="*/ 0 w 120"/>
                    <a:gd name="T5" fmla="*/ 82 h 132"/>
                    <a:gd name="T6" fmla="*/ 12 w 120"/>
                    <a:gd name="T7" fmla="*/ 108 h 132"/>
                    <a:gd name="T8" fmla="*/ 53 w 120"/>
                    <a:gd name="T9" fmla="*/ 132 h 132"/>
                    <a:gd name="T10" fmla="*/ 41 w 120"/>
                    <a:gd name="T11" fmla="*/ 106 h 132"/>
                    <a:gd name="T12" fmla="*/ 41 w 120"/>
                    <a:gd name="T13" fmla="*/ 104 h 132"/>
                    <a:gd name="T14" fmla="*/ 60 w 120"/>
                    <a:gd name="T15" fmla="*/ 55 h 132"/>
                    <a:gd name="T16" fmla="*/ 77 w 120"/>
                    <a:gd name="T17" fmla="*/ 38 h 132"/>
                    <a:gd name="T18" fmla="*/ 82 w 120"/>
                    <a:gd name="T19" fmla="*/ 35 h 132"/>
                    <a:gd name="T20" fmla="*/ 120 w 120"/>
                    <a:gd name="T21" fmla="*/ 30 h 132"/>
                    <a:gd name="T22" fmla="*/ 79 w 120"/>
                    <a:gd name="T23" fmla="*/ 6 h 1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0" h="132">
                      <a:moveTo>
                        <a:pt x="79" y="6"/>
                      </a:moveTo>
                      <a:cubicBezTo>
                        <a:pt x="70" y="0"/>
                        <a:pt x="57" y="2"/>
                        <a:pt x="41" y="11"/>
                      </a:cubicBezTo>
                      <a:cubicBezTo>
                        <a:pt x="18" y="24"/>
                        <a:pt x="0" y="56"/>
                        <a:pt x="0" y="82"/>
                      </a:cubicBezTo>
                      <a:cubicBezTo>
                        <a:pt x="0" y="95"/>
                        <a:pt x="4" y="104"/>
                        <a:pt x="12" y="108"/>
                      </a:cubicBezTo>
                      <a:cubicBezTo>
                        <a:pt x="53" y="132"/>
                        <a:pt x="53" y="132"/>
                        <a:pt x="53" y="132"/>
                      </a:cubicBezTo>
                      <a:cubicBezTo>
                        <a:pt x="46" y="128"/>
                        <a:pt x="41" y="119"/>
                        <a:pt x="41" y="106"/>
                      </a:cubicBezTo>
                      <a:cubicBezTo>
                        <a:pt x="41" y="105"/>
                        <a:pt x="41" y="104"/>
                        <a:pt x="41" y="104"/>
                      </a:cubicBezTo>
                      <a:cubicBezTo>
                        <a:pt x="42" y="88"/>
                        <a:pt x="49" y="70"/>
                        <a:pt x="60" y="55"/>
                      </a:cubicBezTo>
                      <a:cubicBezTo>
                        <a:pt x="65" y="49"/>
                        <a:pt x="71" y="43"/>
                        <a:pt x="77" y="38"/>
                      </a:cubicBezTo>
                      <a:cubicBezTo>
                        <a:pt x="79" y="37"/>
                        <a:pt x="80" y="36"/>
                        <a:pt x="82" y="35"/>
                      </a:cubicBezTo>
                      <a:cubicBezTo>
                        <a:pt x="98" y="26"/>
                        <a:pt x="112" y="24"/>
                        <a:pt x="120" y="30"/>
                      </a:cubicBezTo>
                      <a:lnTo>
                        <a:pt x="79" y="6"/>
                      </a:lnTo>
                      <a:close/>
                    </a:path>
                  </a:pathLst>
                </a:custGeom>
                <a:solidFill>
                  <a:srgbClr val="FFA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323D6E21-1386-4604-B1FD-B72AFE2A6C42}"/>
                    </a:ext>
                  </a:extLst>
                </p:cNvPr>
                <p:cNvSpPr/>
                <p:nvPr/>
              </p:nvSpPr>
              <p:spPr bwMode="auto">
                <a:xfrm>
                  <a:off x="4013586" y="2478381"/>
                  <a:ext cx="2060575" cy="1225550"/>
                </a:xfrm>
                <a:custGeom>
                  <a:avLst/>
                  <a:gdLst>
                    <a:gd name="T0" fmla="*/ 713 w 1298"/>
                    <a:gd name="T1" fmla="*/ 0 h 772"/>
                    <a:gd name="T2" fmla="*/ 713 w 1298"/>
                    <a:gd name="T3" fmla="*/ 0 h 772"/>
                    <a:gd name="T4" fmla="*/ 1298 w 1298"/>
                    <a:gd name="T5" fmla="*/ 336 h 772"/>
                    <a:gd name="T6" fmla="*/ 541 w 1298"/>
                    <a:gd name="T7" fmla="*/ 772 h 772"/>
                    <a:gd name="T8" fmla="*/ 0 w 1298"/>
                    <a:gd name="T9" fmla="*/ 460 h 772"/>
                    <a:gd name="T10" fmla="*/ 757 w 1298"/>
                    <a:gd name="T11" fmla="*/ 24 h 772"/>
                    <a:gd name="T12" fmla="*/ 713 w 1298"/>
                    <a:gd name="T13" fmla="*/ 0 h 7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98" h="772">
                      <a:moveTo>
                        <a:pt x="713" y="0"/>
                      </a:moveTo>
                      <a:lnTo>
                        <a:pt x="713" y="0"/>
                      </a:lnTo>
                      <a:lnTo>
                        <a:pt x="1298" y="336"/>
                      </a:lnTo>
                      <a:lnTo>
                        <a:pt x="541" y="772"/>
                      </a:lnTo>
                      <a:lnTo>
                        <a:pt x="0" y="460"/>
                      </a:lnTo>
                      <a:lnTo>
                        <a:pt x="757" y="24"/>
                      </a:lnTo>
                      <a:lnTo>
                        <a:pt x="713" y="0"/>
                      </a:lnTo>
                      <a:close/>
                    </a:path>
                  </a:pathLst>
                </a:custGeom>
                <a:solidFill>
                  <a:srgbClr val="3652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E6A2AEA2-4909-40C0-A0AA-8D1FAE40B322}"/>
                    </a:ext>
                  </a:extLst>
                </p:cNvPr>
                <p:cNvSpPr/>
                <p:nvPr/>
              </p:nvSpPr>
              <p:spPr bwMode="auto">
                <a:xfrm>
                  <a:off x="3086486" y="1983081"/>
                  <a:ext cx="2058988" cy="1225550"/>
                </a:xfrm>
                <a:custGeom>
                  <a:avLst/>
                  <a:gdLst>
                    <a:gd name="T0" fmla="*/ 0 w 1297"/>
                    <a:gd name="T1" fmla="*/ 436 h 772"/>
                    <a:gd name="T2" fmla="*/ 757 w 1297"/>
                    <a:gd name="T3" fmla="*/ 0 h 772"/>
                    <a:gd name="T4" fmla="*/ 1297 w 1297"/>
                    <a:gd name="T5" fmla="*/ 312 h 772"/>
                    <a:gd name="T6" fmla="*/ 540 w 1297"/>
                    <a:gd name="T7" fmla="*/ 748 h 772"/>
                    <a:gd name="T8" fmla="*/ 584 w 1297"/>
                    <a:gd name="T9" fmla="*/ 772 h 772"/>
                    <a:gd name="T10" fmla="*/ 584 w 1297"/>
                    <a:gd name="T11" fmla="*/ 772 h 772"/>
                    <a:gd name="T12" fmla="*/ 0 w 1297"/>
                    <a:gd name="T13" fmla="*/ 436 h 7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97" h="772">
                      <a:moveTo>
                        <a:pt x="0" y="436"/>
                      </a:moveTo>
                      <a:lnTo>
                        <a:pt x="757" y="0"/>
                      </a:lnTo>
                      <a:lnTo>
                        <a:pt x="1297" y="312"/>
                      </a:lnTo>
                      <a:lnTo>
                        <a:pt x="540" y="748"/>
                      </a:lnTo>
                      <a:lnTo>
                        <a:pt x="584" y="772"/>
                      </a:lnTo>
                      <a:lnTo>
                        <a:pt x="584" y="772"/>
                      </a:lnTo>
                      <a:lnTo>
                        <a:pt x="0" y="436"/>
                      </a:lnTo>
                      <a:close/>
                    </a:path>
                  </a:pathLst>
                </a:custGeom>
                <a:solidFill>
                  <a:srgbClr val="3652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ABCCF65E-6A2F-4DF0-A682-A624C87058B1}"/>
                    </a:ext>
                  </a:extLst>
                </p:cNvPr>
                <p:cNvSpPr/>
                <p:nvPr/>
              </p:nvSpPr>
              <p:spPr bwMode="auto">
                <a:xfrm>
                  <a:off x="3943736" y="2478381"/>
                  <a:ext cx="1271588" cy="730250"/>
                </a:xfrm>
                <a:custGeom>
                  <a:avLst/>
                  <a:gdLst>
                    <a:gd name="T0" fmla="*/ 757 w 801"/>
                    <a:gd name="T1" fmla="*/ 0 h 460"/>
                    <a:gd name="T2" fmla="*/ 801 w 801"/>
                    <a:gd name="T3" fmla="*/ 24 h 460"/>
                    <a:gd name="T4" fmla="*/ 44 w 801"/>
                    <a:gd name="T5" fmla="*/ 460 h 460"/>
                    <a:gd name="T6" fmla="*/ 0 w 801"/>
                    <a:gd name="T7" fmla="*/ 436 h 460"/>
                    <a:gd name="T8" fmla="*/ 757 w 801"/>
                    <a:gd name="T9" fmla="*/ 0 h 4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1" h="460">
                      <a:moveTo>
                        <a:pt x="757" y="0"/>
                      </a:moveTo>
                      <a:lnTo>
                        <a:pt x="801" y="24"/>
                      </a:lnTo>
                      <a:lnTo>
                        <a:pt x="44" y="460"/>
                      </a:lnTo>
                      <a:lnTo>
                        <a:pt x="0" y="436"/>
                      </a:lnTo>
                      <a:lnTo>
                        <a:pt x="757" y="0"/>
                      </a:lnTo>
                      <a:close/>
                    </a:path>
                  </a:pathLst>
                </a:custGeom>
                <a:solidFill>
                  <a:srgbClr val="EF804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04821983-5164-4005-90A8-F798A74ED743}"/>
                    </a:ext>
                  </a:extLst>
                </p:cNvPr>
                <p:cNvSpPr/>
                <p:nvPr/>
              </p:nvSpPr>
              <p:spPr bwMode="auto">
                <a:xfrm>
                  <a:off x="3086486" y="2675231"/>
                  <a:ext cx="857250" cy="520700"/>
                </a:xfrm>
                <a:custGeom>
                  <a:avLst/>
                  <a:gdLst>
                    <a:gd name="T0" fmla="*/ 0 w 540"/>
                    <a:gd name="T1" fmla="*/ 0 h 328"/>
                    <a:gd name="T2" fmla="*/ 0 w 540"/>
                    <a:gd name="T3" fmla="*/ 17 h 328"/>
                    <a:gd name="T4" fmla="*/ 540 w 540"/>
                    <a:gd name="T5" fmla="*/ 328 h 328"/>
                    <a:gd name="T6" fmla="*/ 540 w 540"/>
                    <a:gd name="T7" fmla="*/ 312 h 328"/>
                    <a:gd name="T8" fmla="*/ 0 w 540"/>
                    <a:gd name="T9" fmla="*/ 0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0" h="328">
                      <a:moveTo>
                        <a:pt x="0" y="0"/>
                      </a:moveTo>
                      <a:lnTo>
                        <a:pt x="0" y="17"/>
                      </a:lnTo>
                      <a:lnTo>
                        <a:pt x="540" y="328"/>
                      </a:lnTo>
                      <a:lnTo>
                        <a:pt x="540" y="31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02B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4EE02B0D-6D5D-4697-A400-E18E5EC29580}"/>
                    </a:ext>
                  </a:extLst>
                </p:cNvPr>
                <p:cNvSpPr/>
                <p:nvPr/>
              </p:nvSpPr>
              <p:spPr bwMode="auto">
                <a:xfrm>
                  <a:off x="4013586" y="3208631"/>
                  <a:ext cx="858838" cy="520700"/>
                </a:xfrm>
                <a:custGeom>
                  <a:avLst/>
                  <a:gdLst>
                    <a:gd name="T0" fmla="*/ 0 w 541"/>
                    <a:gd name="T1" fmla="*/ 17 h 328"/>
                    <a:gd name="T2" fmla="*/ 0 w 541"/>
                    <a:gd name="T3" fmla="*/ 0 h 328"/>
                    <a:gd name="T4" fmla="*/ 541 w 541"/>
                    <a:gd name="T5" fmla="*/ 312 h 328"/>
                    <a:gd name="T6" fmla="*/ 541 w 541"/>
                    <a:gd name="T7" fmla="*/ 328 h 328"/>
                    <a:gd name="T8" fmla="*/ 0 w 541"/>
                    <a:gd name="T9" fmla="*/ 17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41" h="328">
                      <a:moveTo>
                        <a:pt x="0" y="17"/>
                      </a:moveTo>
                      <a:lnTo>
                        <a:pt x="0" y="0"/>
                      </a:lnTo>
                      <a:lnTo>
                        <a:pt x="541" y="312"/>
                      </a:lnTo>
                      <a:lnTo>
                        <a:pt x="541" y="328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solidFill>
                  <a:srgbClr val="202B5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49" name="任意多边形: 形状 48">
                  <a:extLst>
                    <a:ext uri="{FF2B5EF4-FFF2-40B4-BE49-F238E27FC236}">
                      <a16:creationId xmlns:a16="http://schemas.microsoft.com/office/drawing/2014/main" id="{93505F36-FED5-410D-BA2E-1445925375EA}"/>
                    </a:ext>
                  </a:extLst>
                </p:cNvPr>
                <p:cNvSpPr/>
                <p:nvPr/>
              </p:nvSpPr>
              <p:spPr bwMode="auto">
                <a:xfrm>
                  <a:off x="3943736" y="3170531"/>
                  <a:ext cx="69850" cy="65088"/>
                </a:xfrm>
                <a:custGeom>
                  <a:avLst/>
                  <a:gdLst>
                    <a:gd name="T0" fmla="*/ 44 w 44"/>
                    <a:gd name="T1" fmla="*/ 41 h 41"/>
                    <a:gd name="T2" fmla="*/ 0 w 44"/>
                    <a:gd name="T3" fmla="*/ 16 h 41"/>
                    <a:gd name="T4" fmla="*/ 0 w 44"/>
                    <a:gd name="T5" fmla="*/ 0 h 41"/>
                    <a:gd name="T6" fmla="*/ 44 w 44"/>
                    <a:gd name="T7" fmla="*/ 24 h 41"/>
                    <a:gd name="T8" fmla="*/ 44 w 44"/>
                    <a:gd name="T9" fmla="*/ 41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4" h="41">
                      <a:moveTo>
                        <a:pt x="44" y="41"/>
                      </a:moveTo>
                      <a:lnTo>
                        <a:pt x="0" y="16"/>
                      </a:lnTo>
                      <a:lnTo>
                        <a:pt x="0" y="0"/>
                      </a:lnTo>
                      <a:lnTo>
                        <a:pt x="44" y="24"/>
                      </a:lnTo>
                      <a:lnTo>
                        <a:pt x="44" y="41"/>
                      </a:lnTo>
                      <a:close/>
                    </a:path>
                  </a:pathLst>
                </a:custGeom>
                <a:solidFill>
                  <a:srgbClr val="C017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0" name="任意多边形: 形状 49">
                  <a:extLst>
                    <a:ext uri="{FF2B5EF4-FFF2-40B4-BE49-F238E27FC236}">
                      <a16:creationId xmlns:a16="http://schemas.microsoft.com/office/drawing/2014/main" id="{E5C344AB-89A5-4DF1-9F0D-090120C85F5A}"/>
                    </a:ext>
                  </a:extLst>
                </p:cNvPr>
                <p:cNvSpPr/>
                <p:nvPr/>
              </p:nvSpPr>
              <p:spPr bwMode="auto">
                <a:xfrm>
                  <a:off x="4861311" y="2776831"/>
                  <a:ext cx="1093788" cy="887413"/>
                </a:xfrm>
                <a:custGeom>
                  <a:avLst/>
                  <a:gdLst>
                    <a:gd name="T0" fmla="*/ 286 w 331"/>
                    <a:gd name="T1" fmla="*/ 26 h 269"/>
                    <a:gd name="T2" fmla="*/ 331 w 331"/>
                    <a:gd name="T3" fmla="*/ 0 h 269"/>
                    <a:gd name="T4" fmla="*/ 331 w 331"/>
                    <a:gd name="T5" fmla="*/ 79 h 269"/>
                    <a:gd name="T6" fmla="*/ 3 w 331"/>
                    <a:gd name="T7" fmla="*/ 269 h 269"/>
                    <a:gd name="T8" fmla="*/ 0 w 331"/>
                    <a:gd name="T9" fmla="*/ 265 h 269"/>
                    <a:gd name="T10" fmla="*/ 0 w 331"/>
                    <a:gd name="T11" fmla="*/ 191 h 269"/>
                    <a:gd name="T12" fmla="*/ 286 w 331"/>
                    <a:gd name="T13" fmla="*/ 26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31" h="269">
                      <a:moveTo>
                        <a:pt x="286" y="26"/>
                      </a:moveTo>
                      <a:cubicBezTo>
                        <a:pt x="331" y="0"/>
                        <a:pt x="331" y="0"/>
                        <a:pt x="331" y="0"/>
                      </a:cubicBezTo>
                      <a:cubicBezTo>
                        <a:pt x="331" y="79"/>
                        <a:pt x="331" y="79"/>
                        <a:pt x="331" y="79"/>
                      </a:cubicBezTo>
                      <a:cubicBezTo>
                        <a:pt x="222" y="142"/>
                        <a:pt x="112" y="206"/>
                        <a:pt x="3" y="269"/>
                      </a:cubicBezTo>
                      <a:cubicBezTo>
                        <a:pt x="2" y="268"/>
                        <a:pt x="1" y="266"/>
                        <a:pt x="0" y="265"/>
                      </a:cubicBezTo>
                      <a:cubicBezTo>
                        <a:pt x="0" y="191"/>
                        <a:pt x="0" y="191"/>
                        <a:pt x="0" y="191"/>
                      </a:cubicBezTo>
                      <a:cubicBezTo>
                        <a:pt x="95" y="136"/>
                        <a:pt x="190" y="81"/>
                        <a:pt x="286" y="26"/>
                      </a:cubicBezTo>
                      <a:close/>
                    </a:path>
                  </a:pathLst>
                </a:custGeom>
                <a:solidFill>
                  <a:srgbClr val="FCFCF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1" name="任意多边形: 形状 50">
                  <a:extLst>
                    <a:ext uri="{FF2B5EF4-FFF2-40B4-BE49-F238E27FC236}">
                      <a16:creationId xmlns:a16="http://schemas.microsoft.com/office/drawing/2014/main" id="{6F3F6CFD-EE4E-45C9-8E86-57A7737DB023}"/>
                    </a:ext>
                  </a:extLst>
                </p:cNvPr>
                <p:cNvSpPr/>
                <p:nvPr/>
              </p:nvSpPr>
              <p:spPr bwMode="auto">
                <a:xfrm>
                  <a:off x="3138874" y="2414881"/>
                  <a:ext cx="1722438" cy="1236663"/>
                </a:xfrm>
                <a:custGeom>
                  <a:avLst/>
                  <a:gdLst>
                    <a:gd name="T0" fmla="*/ 94 w 522"/>
                    <a:gd name="T1" fmla="*/ 25 h 375"/>
                    <a:gd name="T2" fmla="*/ 261 w 522"/>
                    <a:gd name="T3" fmla="*/ 143 h 375"/>
                    <a:gd name="T4" fmla="*/ 261 w 522"/>
                    <a:gd name="T5" fmla="*/ 143 h 375"/>
                    <a:gd name="T6" fmla="*/ 360 w 522"/>
                    <a:gd name="T7" fmla="*/ 173 h 375"/>
                    <a:gd name="T8" fmla="*/ 360 w 522"/>
                    <a:gd name="T9" fmla="*/ 173 h 375"/>
                    <a:gd name="T10" fmla="*/ 522 w 522"/>
                    <a:gd name="T11" fmla="*/ 301 h 375"/>
                    <a:gd name="T12" fmla="*/ 522 w 522"/>
                    <a:gd name="T13" fmla="*/ 375 h 375"/>
                    <a:gd name="T14" fmla="*/ 264 w 522"/>
                    <a:gd name="T15" fmla="*/ 228 h 375"/>
                    <a:gd name="T16" fmla="*/ 264 w 522"/>
                    <a:gd name="T17" fmla="*/ 228 h 375"/>
                    <a:gd name="T18" fmla="*/ 3 w 522"/>
                    <a:gd name="T19" fmla="*/ 77 h 375"/>
                    <a:gd name="T20" fmla="*/ 0 w 522"/>
                    <a:gd name="T21" fmla="*/ 0 h 375"/>
                    <a:gd name="T22" fmla="*/ 94 w 522"/>
                    <a:gd name="T23" fmla="*/ 25 h 3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22" h="375">
                      <a:moveTo>
                        <a:pt x="94" y="25"/>
                      </a:moveTo>
                      <a:cubicBezTo>
                        <a:pt x="171" y="52"/>
                        <a:pt x="229" y="93"/>
                        <a:pt x="261" y="143"/>
                      </a:cubicBezTo>
                      <a:cubicBezTo>
                        <a:pt x="261" y="143"/>
                        <a:pt x="261" y="143"/>
                        <a:pt x="261" y="143"/>
                      </a:cubicBezTo>
                      <a:cubicBezTo>
                        <a:pt x="297" y="149"/>
                        <a:pt x="330" y="160"/>
                        <a:pt x="360" y="173"/>
                      </a:cubicBezTo>
                      <a:cubicBezTo>
                        <a:pt x="360" y="173"/>
                        <a:pt x="360" y="173"/>
                        <a:pt x="360" y="173"/>
                      </a:cubicBezTo>
                      <a:cubicBezTo>
                        <a:pt x="434" y="204"/>
                        <a:pt x="491" y="253"/>
                        <a:pt x="522" y="301"/>
                      </a:cubicBezTo>
                      <a:cubicBezTo>
                        <a:pt x="522" y="375"/>
                        <a:pt x="522" y="375"/>
                        <a:pt x="522" y="375"/>
                      </a:cubicBezTo>
                      <a:cubicBezTo>
                        <a:pt x="477" y="308"/>
                        <a:pt x="385" y="250"/>
                        <a:pt x="264" y="228"/>
                      </a:cubicBezTo>
                      <a:cubicBezTo>
                        <a:pt x="264" y="228"/>
                        <a:pt x="264" y="228"/>
                        <a:pt x="264" y="228"/>
                      </a:cubicBezTo>
                      <a:cubicBezTo>
                        <a:pt x="220" y="160"/>
                        <a:pt x="126" y="99"/>
                        <a:pt x="3" y="77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4" y="6"/>
                        <a:pt x="65" y="14"/>
                        <a:pt x="94" y="25"/>
                      </a:cubicBezTo>
                      <a:close/>
                    </a:path>
                  </a:pathLst>
                </a:custGeom>
                <a:solidFill>
                  <a:srgbClr val="D7D7D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2" name="任意多边形: 形状 51">
                  <a:extLst>
                    <a:ext uri="{FF2B5EF4-FFF2-40B4-BE49-F238E27FC236}">
                      <a16:creationId xmlns:a16="http://schemas.microsoft.com/office/drawing/2014/main" id="{D8D16928-A449-4441-A54A-DE363FD68955}"/>
                    </a:ext>
                  </a:extLst>
                </p:cNvPr>
                <p:cNvSpPr/>
                <p:nvPr/>
              </p:nvSpPr>
              <p:spPr bwMode="auto">
                <a:xfrm>
                  <a:off x="4000886" y="2249781"/>
                  <a:ext cx="1957388" cy="1157288"/>
                </a:xfrm>
                <a:custGeom>
                  <a:avLst/>
                  <a:gdLst>
                    <a:gd name="T0" fmla="*/ 261 w 593"/>
                    <a:gd name="T1" fmla="*/ 351 h 351"/>
                    <a:gd name="T2" fmla="*/ 593 w 593"/>
                    <a:gd name="T3" fmla="*/ 160 h 351"/>
                    <a:gd name="T4" fmla="*/ 329 w 593"/>
                    <a:gd name="T5" fmla="*/ 0 h 351"/>
                    <a:gd name="T6" fmla="*/ 0 w 593"/>
                    <a:gd name="T7" fmla="*/ 193 h 351"/>
                    <a:gd name="T8" fmla="*/ 261 w 593"/>
                    <a:gd name="T9" fmla="*/ 351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93" h="351">
                      <a:moveTo>
                        <a:pt x="261" y="351"/>
                      </a:moveTo>
                      <a:cubicBezTo>
                        <a:pt x="372" y="287"/>
                        <a:pt x="482" y="224"/>
                        <a:pt x="593" y="160"/>
                      </a:cubicBezTo>
                      <a:cubicBezTo>
                        <a:pt x="549" y="91"/>
                        <a:pt x="453" y="22"/>
                        <a:pt x="329" y="0"/>
                      </a:cubicBezTo>
                      <a:cubicBezTo>
                        <a:pt x="218" y="64"/>
                        <a:pt x="110" y="129"/>
                        <a:pt x="0" y="193"/>
                      </a:cubicBezTo>
                      <a:cubicBezTo>
                        <a:pt x="125" y="217"/>
                        <a:pt x="216" y="284"/>
                        <a:pt x="261" y="35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44980E93-8BE9-4074-8FF6-962C8DB4A460}"/>
                    </a:ext>
                  </a:extLst>
                </p:cNvPr>
                <p:cNvSpPr/>
                <p:nvPr/>
              </p:nvSpPr>
              <p:spPr bwMode="auto">
                <a:xfrm>
                  <a:off x="3138874" y="1789406"/>
                  <a:ext cx="1944688" cy="1096963"/>
                </a:xfrm>
                <a:custGeom>
                  <a:avLst/>
                  <a:gdLst>
                    <a:gd name="T0" fmla="*/ 261 w 589"/>
                    <a:gd name="T1" fmla="*/ 333 h 333"/>
                    <a:gd name="T2" fmla="*/ 589 w 589"/>
                    <a:gd name="T3" fmla="*/ 143 h 333"/>
                    <a:gd name="T4" fmla="*/ 328 w 589"/>
                    <a:gd name="T5" fmla="*/ 0 h 333"/>
                    <a:gd name="T6" fmla="*/ 0 w 589"/>
                    <a:gd name="T7" fmla="*/ 190 h 333"/>
                    <a:gd name="T8" fmla="*/ 261 w 589"/>
                    <a:gd name="T9" fmla="*/ 333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89" h="333">
                      <a:moveTo>
                        <a:pt x="261" y="333"/>
                      </a:moveTo>
                      <a:cubicBezTo>
                        <a:pt x="370" y="270"/>
                        <a:pt x="480" y="206"/>
                        <a:pt x="589" y="143"/>
                      </a:cubicBezTo>
                      <a:cubicBezTo>
                        <a:pt x="546" y="75"/>
                        <a:pt x="452" y="22"/>
                        <a:pt x="328" y="0"/>
                      </a:cubicBezTo>
                      <a:cubicBezTo>
                        <a:pt x="219" y="63"/>
                        <a:pt x="109" y="127"/>
                        <a:pt x="0" y="190"/>
                      </a:cubicBezTo>
                      <a:cubicBezTo>
                        <a:pt x="123" y="212"/>
                        <a:pt x="217" y="265"/>
                        <a:pt x="261" y="33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4" name="任意多边形: 形状 53">
                  <a:extLst>
                    <a:ext uri="{FF2B5EF4-FFF2-40B4-BE49-F238E27FC236}">
                      <a16:creationId xmlns:a16="http://schemas.microsoft.com/office/drawing/2014/main" id="{D434569B-EEF1-4F26-8D0A-31BA62E43C43}"/>
                    </a:ext>
                  </a:extLst>
                </p:cNvPr>
                <p:cNvSpPr/>
                <p:nvPr/>
              </p:nvSpPr>
              <p:spPr bwMode="auto">
                <a:xfrm>
                  <a:off x="5056574" y="2381543"/>
                  <a:ext cx="700088" cy="400050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5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3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5" name="任意多边形: 形状 54">
                  <a:extLst>
                    <a:ext uri="{FF2B5EF4-FFF2-40B4-BE49-F238E27FC236}">
                      <a16:creationId xmlns:a16="http://schemas.microsoft.com/office/drawing/2014/main" id="{3925AD0F-FF45-496F-BD14-A73F32B948CC}"/>
                    </a:ext>
                  </a:extLst>
                </p:cNvPr>
                <p:cNvSpPr/>
                <p:nvPr/>
              </p:nvSpPr>
              <p:spPr bwMode="auto">
                <a:xfrm>
                  <a:off x="4980374" y="2424406"/>
                  <a:ext cx="700088" cy="400050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7" y="68"/>
                        <a:pt x="93" y="26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6" name="任意多边形: 形状 55">
                  <a:extLst>
                    <a:ext uri="{FF2B5EF4-FFF2-40B4-BE49-F238E27FC236}">
                      <a16:creationId xmlns:a16="http://schemas.microsoft.com/office/drawing/2014/main" id="{B5710401-6F34-43AB-82B4-5A597D8AE96B}"/>
                    </a:ext>
                  </a:extLst>
                </p:cNvPr>
                <p:cNvSpPr/>
                <p:nvPr/>
              </p:nvSpPr>
              <p:spPr bwMode="auto">
                <a:xfrm>
                  <a:off x="4897824" y="2473618"/>
                  <a:ext cx="700088" cy="400050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1 h 121"/>
                    <a:gd name="T4" fmla="*/ 0 w 212"/>
                    <a:gd name="T5" fmla="*/ 0 h 121"/>
                    <a:gd name="T6" fmla="*/ 212 w 212"/>
                    <a:gd name="T7" fmla="*/ 119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7"/>
                        <a:pt x="93" y="25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3"/>
                        <a:pt x="169" y="66"/>
                        <a:pt x="212" y="119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7" name="任意多边形: 形状 56">
                  <a:extLst>
                    <a:ext uri="{FF2B5EF4-FFF2-40B4-BE49-F238E27FC236}">
                      <a16:creationId xmlns:a16="http://schemas.microsoft.com/office/drawing/2014/main" id="{0E017AE0-8468-47BB-93E9-359062A9AF27}"/>
                    </a:ext>
                  </a:extLst>
                </p:cNvPr>
                <p:cNvSpPr/>
                <p:nvPr/>
              </p:nvSpPr>
              <p:spPr bwMode="auto">
                <a:xfrm>
                  <a:off x="4815274" y="2521243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5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8" name="任意多边形: 形状 57">
                  <a:extLst>
                    <a:ext uri="{FF2B5EF4-FFF2-40B4-BE49-F238E27FC236}">
                      <a16:creationId xmlns:a16="http://schemas.microsoft.com/office/drawing/2014/main" id="{1C737BCB-34BB-40E1-B473-6DDF1A408126}"/>
                    </a:ext>
                  </a:extLst>
                </p:cNvPr>
                <p:cNvSpPr/>
                <p:nvPr/>
              </p:nvSpPr>
              <p:spPr bwMode="auto">
                <a:xfrm>
                  <a:off x="4732724" y="2567281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7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3EE43A0-4090-4997-841D-1CC35BC8BC6B}"/>
                    </a:ext>
                  </a:extLst>
                </p:cNvPr>
                <p:cNvSpPr/>
                <p:nvPr/>
              </p:nvSpPr>
              <p:spPr bwMode="auto">
                <a:xfrm>
                  <a:off x="4650174" y="2616493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7"/>
                        <a:pt x="93" y="25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3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F0C99E35-C283-4EF6-81AD-BE4500368360}"/>
                    </a:ext>
                  </a:extLst>
                </p:cNvPr>
                <p:cNvSpPr/>
                <p:nvPr/>
              </p:nvSpPr>
              <p:spPr bwMode="auto">
                <a:xfrm>
                  <a:off x="4567624" y="2662531"/>
                  <a:ext cx="700088" cy="398463"/>
                </a:xfrm>
                <a:custGeom>
                  <a:avLst/>
                  <a:gdLst>
                    <a:gd name="T0" fmla="*/ 211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1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1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1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962D828-5CC4-4AA8-8457-88D224C0652F}"/>
                    </a:ext>
                  </a:extLst>
                </p:cNvPr>
                <p:cNvSpPr/>
                <p:nvPr/>
              </p:nvSpPr>
              <p:spPr bwMode="auto">
                <a:xfrm>
                  <a:off x="4485074" y="2708568"/>
                  <a:ext cx="700088" cy="398463"/>
                </a:xfrm>
                <a:custGeom>
                  <a:avLst/>
                  <a:gdLst>
                    <a:gd name="T0" fmla="*/ 211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1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1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7"/>
                        <a:pt x="212" y="120"/>
                      </a:cubicBezTo>
                      <a:lnTo>
                        <a:pt x="211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E53DFA80-6204-4E31-81C8-60B7DF676B81}"/>
                    </a:ext>
                  </a:extLst>
                </p:cNvPr>
                <p:cNvSpPr/>
                <p:nvPr/>
              </p:nvSpPr>
              <p:spPr bwMode="auto">
                <a:xfrm>
                  <a:off x="4405699" y="2757781"/>
                  <a:ext cx="696913" cy="398463"/>
                </a:xfrm>
                <a:custGeom>
                  <a:avLst/>
                  <a:gdLst>
                    <a:gd name="T0" fmla="*/ 210 w 211"/>
                    <a:gd name="T1" fmla="*/ 121 h 121"/>
                    <a:gd name="T2" fmla="*/ 0 w 211"/>
                    <a:gd name="T3" fmla="*/ 2 h 121"/>
                    <a:gd name="T4" fmla="*/ 0 w 211"/>
                    <a:gd name="T5" fmla="*/ 0 h 121"/>
                    <a:gd name="T6" fmla="*/ 211 w 211"/>
                    <a:gd name="T7" fmla="*/ 120 h 121"/>
                    <a:gd name="T8" fmla="*/ 210 w 211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" h="121">
                      <a:moveTo>
                        <a:pt x="210" y="121"/>
                      </a:moveTo>
                      <a:cubicBezTo>
                        <a:pt x="167" y="68"/>
                        <a:pt x="93" y="25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3" y="24"/>
                        <a:pt x="169" y="66"/>
                        <a:pt x="211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1DD97EAC-6565-4A93-B602-1210A3A1BED0}"/>
                    </a:ext>
                  </a:extLst>
                </p:cNvPr>
                <p:cNvSpPr/>
                <p:nvPr/>
              </p:nvSpPr>
              <p:spPr bwMode="auto">
                <a:xfrm>
                  <a:off x="4323149" y="2803818"/>
                  <a:ext cx="696913" cy="398463"/>
                </a:xfrm>
                <a:custGeom>
                  <a:avLst/>
                  <a:gdLst>
                    <a:gd name="T0" fmla="*/ 210 w 211"/>
                    <a:gd name="T1" fmla="*/ 121 h 121"/>
                    <a:gd name="T2" fmla="*/ 0 w 211"/>
                    <a:gd name="T3" fmla="*/ 2 h 121"/>
                    <a:gd name="T4" fmla="*/ 0 w 211"/>
                    <a:gd name="T5" fmla="*/ 0 h 121"/>
                    <a:gd name="T6" fmla="*/ 211 w 211"/>
                    <a:gd name="T7" fmla="*/ 120 h 121"/>
                    <a:gd name="T8" fmla="*/ 210 w 211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" h="121">
                      <a:moveTo>
                        <a:pt x="210" y="121"/>
                      </a:moveTo>
                      <a:cubicBezTo>
                        <a:pt x="167" y="68"/>
                        <a:pt x="93" y="26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6"/>
                        <a:pt x="211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3C4413ED-19C5-466A-A677-61AADF38F23C}"/>
                    </a:ext>
                  </a:extLst>
                </p:cNvPr>
                <p:cNvSpPr/>
                <p:nvPr/>
              </p:nvSpPr>
              <p:spPr bwMode="auto">
                <a:xfrm>
                  <a:off x="4202499" y="1887831"/>
                  <a:ext cx="698500" cy="398463"/>
                </a:xfrm>
                <a:custGeom>
                  <a:avLst/>
                  <a:gdLst>
                    <a:gd name="T0" fmla="*/ 211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1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1" y="121"/>
                      </a:moveTo>
                      <a:cubicBezTo>
                        <a:pt x="168" y="67"/>
                        <a:pt x="93" y="25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3"/>
                        <a:pt x="169" y="66"/>
                        <a:pt x="212" y="120"/>
                      </a:cubicBezTo>
                      <a:lnTo>
                        <a:pt x="211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104F043E-388E-4B94-9AD7-A4ABB16BD2A1}"/>
                    </a:ext>
                  </a:extLst>
                </p:cNvPr>
                <p:cNvSpPr/>
                <p:nvPr/>
              </p:nvSpPr>
              <p:spPr bwMode="auto">
                <a:xfrm>
                  <a:off x="4126299" y="1930693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599780F0-3259-48BA-8ECA-95592EC15325}"/>
                    </a:ext>
                  </a:extLst>
                </p:cNvPr>
                <p:cNvSpPr/>
                <p:nvPr/>
              </p:nvSpPr>
              <p:spPr bwMode="auto">
                <a:xfrm>
                  <a:off x="4043749" y="1979906"/>
                  <a:ext cx="700088" cy="395288"/>
                </a:xfrm>
                <a:custGeom>
                  <a:avLst/>
                  <a:gdLst>
                    <a:gd name="T0" fmla="*/ 211 w 212"/>
                    <a:gd name="T1" fmla="*/ 120 h 120"/>
                    <a:gd name="T2" fmla="*/ 0 w 212"/>
                    <a:gd name="T3" fmla="*/ 1 h 120"/>
                    <a:gd name="T4" fmla="*/ 1 w 212"/>
                    <a:gd name="T5" fmla="*/ 0 h 120"/>
                    <a:gd name="T6" fmla="*/ 212 w 212"/>
                    <a:gd name="T7" fmla="*/ 119 h 120"/>
                    <a:gd name="T8" fmla="*/ 211 w 212"/>
                    <a:gd name="T9" fmla="*/ 12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0">
                      <a:moveTo>
                        <a:pt x="211" y="120"/>
                      </a:moveTo>
                      <a:cubicBezTo>
                        <a:pt x="168" y="67"/>
                        <a:pt x="93" y="25"/>
                        <a:pt x="0" y="1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3"/>
                        <a:pt x="169" y="66"/>
                        <a:pt x="212" y="119"/>
                      </a:cubicBezTo>
                      <a:lnTo>
                        <a:pt x="211" y="120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7" name="任意多边形: 形状 66">
                  <a:extLst>
                    <a:ext uri="{FF2B5EF4-FFF2-40B4-BE49-F238E27FC236}">
                      <a16:creationId xmlns:a16="http://schemas.microsoft.com/office/drawing/2014/main" id="{F4A09DBB-0970-4401-BB6F-5DE668EBA69B}"/>
                    </a:ext>
                  </a:extLst>
                </p:cNvPr>
                <p:cNvSpPr/>
                <p:nvPr/>
              </p:nvSpPr>
              <p:spPr bwMode="auto">
                <a:xfrm>
                  <a:off x="3961199" y="2025943"/>
                  <a:ext cx="700088" cy="398463"/>
                </a:xfrm>
                <a:custGeom>
                  <a:avLst/>
                  <a:gdLst>
                    <a:gd name="T0" fmla="*/ 211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1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1" y="121"/>
                      </a:moveTo>
                      <a:cubicBezTo>
                        <a:pt x="168" y="68"/>
                        <a:pt x="93" y="25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1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8" name="任意多边形: 形状 67">
                  <a:extLst>
                    <a:ext uri="{FF2B5EF4-FFF2-40B4-BE49-F238E27FC236}">
                      <a16:creationId xmlns:a16="http://schemas.microsoft.com/office/drawing/2014/main" id="{6E07CE39-FA8E-4385-AD98-2CE12A88A560}"/>
                    </a:ext>
                  </a:extLst>
                </p:cNvPr>
                <p:cNvSpPr/>
                <p:nvPr/>
              </p:nvSpPr>
              <p:spPr bwMode="auto">
                <a:xfrm>
                  <a:off x="3878649" y="2071981"/>
                  <a:ext cx="700088" cy="398463"/>
                </a:xfrm>
                <a:custGeom>
                  <a:avLst/>
                  <a:gdLst>
                    <a:gd name="T0" fmla="*/ 211 w 212"/>
                    <a:gd name="T1" fmla="*/ 121 h 121"/>
                    <a:gd name="T2" fmla="*/ 0 w 212"/>
                    <a:gd name="T3" fmla="*/ 2 h 121"/>
                    <a:gd name="T4" fmla="*/ 1 w 212"/>
                    <a:gd name="T5" fmla="*/ 0 h 121"/>
                    <a:gd name="T6" fmla="*/ 212 w 212"/>
                    <a:gd name="T7" fmla="*/ 120 h 121"/>
                    <a:gd name="T8" fmla="*/ 211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1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1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69" name="任意多边形: 形状 68">
                  <a:extLst>
                    <a:ext uri="{FF2B5EF4-FFF2-40B4-BE49-F238E27FC236}">
                      <a16:creationId xmlns:a16="http://schemas.microsoft.com/office/drawing/2014/main" id="{6671B42E-A105-4826-B82C-94C535134557}"/>
                    </a:ext>
                  </a:extLst>
                </p:cNvPr>
                <p:cNvSpPr/>
                <p:nvPr/>
              </p:nvSpPr>
              <p:spPr bwMode="auto">
                <a:xfrm>
                  <a:off x="3799274" y="2121193"/>
                  <a:ext cx="696913" cy="400050"/>
                </a:xfrm>
                <a:custGeom>
                  <a:avLst/>
                  <a:gdLst>
                    <a:gd name="T0" fmla="*/ 210 w 211"/>
                    <a:gd name="T1" fmla="*/ 121 h 121"/>
                    <a:gd name="T2" fmla="*/ 0 w 211"/>
                    <a:gd name="T3" fmla="*/ 1 h 121"/>
                    <a:gd name="T4" fmla="*/ 0 w 211"/>
                    <a:gd name="T5" fmla="*/ 0 h 121"/>
                    <a:gd name="T6" fmla="*/ 211 w 211"/>
                    <a:gd name="T7" fmla="*/ 119 h 121"/>
                    <a:gd name="T8" fmla="*/ 210 w 211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" h="121">
                      <a:moveTo>
                        <a:pt x="210" y="121"/>
                      </a:moveTo>
                      <a:cubicBezTo>
                        <a:pt x="167" y="67"/>
                        <a:pt x="93" y="25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3" y="23"/>
                        <a:pt x="169" y="66"/>
                        <a:pt x="211" y="119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0" name="任意多边形: 形状 69">
                  <a:extLst>
                    <a:ext uri="{FF2B5EF4-FFF2-40B4-BE49-F238E27FC236}">
                      <a16:creationId xmlns:a16="http://schemas.microsoft.com/office/drawing/2014/main" id="{16CAF677-5C97-4F25-A530-221F1AD2BAC2}"/>
                    </a:ext>
                  </a:extLst>
                </p:cNvPr>
                <p:cNvSpPr/>
                <p:nvPr/>
              </p:nvSpPr>
              <p:spPr bwMode="auto">
                <a:xfrm>
                  <a:off x="3716724" y="2167231"/>
                  <a:ext cx="696913" cy="400050"/>
                </a:xfrm>
                <a:custGeom>
                  <a:avLst/>
                  <a:gdLst>
                    <a:gd name="T0" fmla="*/ 210 w 211"/>
                    <a:gd name="T1" fmla="*/ 121 h 121"/>
                    <a:gd name="T2" fmla="*/ 0 w 211"/>
                    <a:gd name="T3" fmla="*/ 2 h 121"/>
                    <a:gd name="T4" fmla="*/ 0 w 211"/>
                    <a:gd name="T5" fmla="*/ 0 h 121"/>
                    <a:gd name="T6" fmla="*/ 211 w 211"/>
                    <a:gd name="T7" fmla="*/ 120 h 121"/>
                    <a:gd name="T8" fmla="*/ 210 w 211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1" h="121">
                      <a:moveTo>
                        <a:pt x="210" y="121"/>
                      </a:moveTo>
                      <a:cubicBezTo>
                        <a:pt x="167" y="68"/>
                        <a:pt x="93" y="25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6"/>
                        <a:pt x="211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1" name="任意多边形: 形状 70">
                  <a:extLst>
                    <a:ext uri="{FF2B5EF4-FFF2-40B4-BE49-F238E27FC236}">
                      <a16:creationId xmlns:a16="http://schemas.microsoft.com/office/drawing/2014/main" id="{5B76DFEE-4370-416C-9645-1A91CF8C9B52}"/>
                    </a:ext>
                  </a:extLst>
                </p:cNvPr>
                <p:cNvSpPr/>
                <p:nvPr/>
              </p:nvSpPr>
              <p:spPr bwMode="auto">
                <a:xfrm>
                  <a:off x="3634174" y="2213268"/>
                  <a:ext cx="700088" cy="400050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7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2" name="任意多边形: 形状 71">
                  <a:extLst>
                    <a:ext uri="{FF2B5EF4-FFF2-40B4-BE49-F238E27FC236}">
                      <a16:creationId xmlns:a16="http://schemas.microsoft.com/office/drawing/2014/main" id="{BD284ED8-56FC-4C00-92B7-7F3292FA80D0}"/>
                    </a:ext>
                  </a:extLst>
                </p:cNvPr>
                <p:cNvSpPr/>
                <p:nvPr/>
              </p:nvSpPr>
              <p:spPr bwMode="auto">
                <a:xfrm>
                  <a:off x="3551624" y="2264068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7"/>
                        <a:pt x="93" y="25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3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3" name="任意多边形: 形状 72">
                  <a:extLst>
                    <a:ext uri="{FF2B5EF4-FFF2-40B4-BE49-F238E27FC236}">
                      <a16:creationId xmlns:a16="http://schemas.microsoft.com/office/drawing/2014/main" id="{F505B91B-DE9F-4D23-BE1F-C16A9A019561}"/>
                    </a:ext>
                  </a:extLst>
                </p:cNvPr>
                <p:cNvSpPr/>
                <p:nvPr/>
              </p:nvSpPr>
              <p:spPr bwMode="auto">
                <a:xfrm>
                  <a:off x="3469074" y="2310106"/>
                  <a:ext cx="700088" cy="398463"/>
                </a:xfrm>
                <a:custGeom>
                  <a:avLst/>
                  <a:gdLst>
                    <a:gd name="T0" fmla="*/ 210 w 212"/>
                    <a:gd name="T1" fmla="*/ 121 h 121"/>
                    <a:gd name="T2" fmla="*/ 0 w 212"/>
                    <a:gd name="T3" fmla="*/ 2 h 121"/>
                    <a:gd name="T4" fmla="*/ 0 w 212"/>
                    <a:gd name="T5" fmla="*/ 0 h 121"/>
                    <a:gd name="T6" fmla="*/ 212 w 212"/>
                    <a:gd name="T7" fmla="*/ 120 h 121"/>
                    <a:gd name="T8" fmla="*/ 210 w 212"/>
                    <a:gd name="T9" fmla="*/ 121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12" h="121">
                      <a:moveTo>
                        <a:pt x="210" y="121"/>
                      </a:moveTo>
                      <a:cubicBezTo>
                        <a:pt x="168" y="68"/>
                        <a:pt x="93" y="26"/>
                        <a:pt x="0" y="2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4" y="24"/>
                        <a:pt x="169" y="66"/>
                        <a:pt x="212" y="120"/>
                      </a:cubicBezTo>
                      <a:lnTo>
                        <a:pt x="210" y="121"/>
                      </a:lnTo>
                      <a:close/>
                    </a:path>
                  </a:pathLst>
                </a:custGeom>
                <a:solidFill>
                  <a:srgbClr val="C6C5C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4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4" name="任意多边形: 形状 73">
                  <a:extLst>
                    <a:ext uri="{FF2B5EF4-FFF2-40B4-BE49-F238E27FC236}">
                      <a16:creationId xmlns:a16="http://schemas.microsoft.com/office/drawing/2014/main" id="{F26A7229-C8AD-4090-8D3E-CD91045CDFE0}"/>
                    </a:ext>
                  </a:extLst>
                </p:cNvPr>
                <p:cNvSpPr/>
                <p:nvPr/>
              </p:nvSpPr>
              <p:spPr bwMode="auto">
                <a:xfrm>
                  <a:off x="4872424" y="3011781"/>
                  <a:ext cx="1201738" cy="717550"/>
                </a:xfrm>
                <a:custGeom>
                  <a:avLst/>
                  <a:gdLst>
                    <a:gd name="T0" fmla="*/ 757 w 757"/>
                    <a:gd name="T1" fmla="*/ 0 h 452"/>
                    <a:gd name="T2" fmla="*/ 757 w 757"/>
                    <a:gd name="T3" fmla="*/ 14 h 452"/>
                    <a:gd name="T4" fmla="*/ 0 w 757"/>
                    <a:gd name="T5" fmla="*/ 452 h 452"/>
                    <a:gd name="T6" fmla="*/ 0 w 757"/>
                    <a:gd name="T7" fmla="*/ 436 h 452"/>
                    <a:gd name="T8" fmla="*/ 757 w 757"/>
                    <a:gd name="T9" fmla="*/ 0 h 4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57" h="452">
                      <a:moveTo>
                        <a:pt x="757" y="0"/>
                      </a:moveTo>
                      <a:lnTo>
                        <a:pt x="757" y="14"/>
                      </a:lnTo>
                      <a:lnTo>
                        <a:pt x="0" y="452"/>
                      </a:lnTo>
                      <a:lnTo>
                        <a:pt x="0" y="436"/>
                      </a:lnTo>
                      <a:lnTo>
                        <a:pt x="757" y="0"/>
                      </a:lnTo>
                      <a:close/>
                    </a:path>
                  </a:pathLst>
                </a:custGeom>
                <a:solidFill>
                  <a:srgbClr val="2934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lnSpcReduction="1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5" name="任意多边形: 形状 74">
                  <a:extLst>
                    <a:ext uri="{FF2B5EF4-FFF2-40B4-BE49-F238E27FC236}">
                      <a16:creationId xmlns:a16="http://schemas.microsoft.com/office/drawing/2014/main" id="{23E97883-DE38-4114-BEC0-7608DEF93984}"/>
                    </a:ext>
                  </a:extLst>
                </p:cNvPr>
                <p:cNvSpPr/>
                <p:nvPr/>
              </p:nvSpPr>
              <p:spPr bwMode="auto">
                <a:xfrm>
                  <a:off x="4234249" y="2270418"/>
                  <a:ext cx="1295400" cy="520700"/>
                </a:xfrm>
                <a:custGeom>
                  <a:avLst/>
                  <a:gdLst>
                    <a:gd name="T0" fmla="*/ 282 w 392"/>
                    <a:gd name="T1" fmla="*/ 0 h 158"/>
                    <a:gd name="T2" fmla="*/ 392 w 392"/>
                    <a:gd name="T3" fmla="*/ 40 h 158"/>
                    <a:gd name="T4" fmla="*/ 243 w 392"/>
                    <a:gd name="T5" fmla="*/ 135 h 158"/>
                    <a:gd name="T6" fmla="*/ 43 w 392"/>
                    <a:gd name="T7" fmla="*/ 125 h 158"/>
                    <a:gd name="T8" fmla="*/ 5 w 392"/>
                    <a:gd name="T9" fmla="*/ 53 h 158"/>
                    <a:gd name="T10" fmla="*/ 282 w 392"/>
                    <a:gd name="T11" fmla="*/ 0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92" h="158">
                      <a:moveTo>
                        <a:pt x="282" y="0"/>
                      </a:moveTo>
                      <a:cubicBezTo>
                        <a:pt x="303" y="5"/>
                        <a:pt x="351" y="16"/>
                        <a:pt x="392" y="40"/>
                      </a:cubicBezTo>
                      <a:cubicBezTo>
                        <a:pt x="387" y="87"/>
                        <a:pt x="328" y="112"/>
                        <a:pt x="243" y="135"/>
                      </a:cubicBezTo>
                      <a:cubicBezTo>
                        <a:pt x="158" y="158"/>
                        <a:pt x="79" y="125"/>
                        <a:pt x="43" y="125"/>
                      </a:cubicBezTo>
                      <a:cubicBezTo>
                        <a:pt x="47" y="96"/>
                        <a:pt x="0" y="89"/>
                        <a:pt x="5" y="53"/>
                      </a:cubicBezTo>
                      <a:cubicBezTo>
                        <a:pt x="46" y="35"/>
                        <a:pt x="282" y="0"/>
                        <a:pt x="282" y="0"/>
                      </a:cubicBezTo>
                      <a:close/>
                    </a:path>
                  </a:pathLst>
                </a:custGeom>
                <a:solidFill>
                  <a:srgbClr val="E8EEE4">
                    <a:alpha val="50000"/>
                  </a:srgbClr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70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6" name="任意多边形: 形状 75">
                  <a:extLst>
                    <a:ext uri="{FF2B5EF4-FFF2-40B4-BE49-F238E27FC236}">
                      <a16:creationId xmlns:a16="http://schemas.microsoft.com/office/drawing/2014/main" id="{42A8698D-C040-4987-90B8-F5C49BBF7D67}"/>
                    </a:ext>
                  </a:extLst>
                </p:cNvPr>
                <p:cNvSpPr/>
                <p:nvPr/>
              </p:nvSpPr>
              <p:spPr bwMode="auto">
                <a:xfrm>
                  <a:off x="4231074" y="1917993"/>
                  <a:ext cx="1109663" cy="803275"/>
                </a:xfrm>
                <a:custGeom>
                  <a:avLst/>
                  <a:gdLst>
                    <a:gd name="T0" fmla="*/ 0 w 336"/>
                    <a:gd name="T1" fmla="*/ 8 h 244"/>
                    <a:gd name="T2" fmla="*/ 0 w 336"/>
                    <a:gd name="T3" fmla="*/ 141 h 244"/>
                    <a:gd name="T4" fmla="*/ 37 w 336"/>
                    <a:gd name="T5" fmla="*/ 194 h 244"/>
                    <a:gd name="T6" fmla="*/ 54 w 336"/>
                    <a:gd name="T7" fmla="*/ 216 h 244"/>
                    <a:gd name="T8" fmla="*/ 69 w 336"/>
                    <a:gd name="T9" fmla="*/ 213 h 244"/>
                    <a:gd name="T10" fmla="*/ 282 w 336"/>
                    <a:gd name="T11" fmla="*/ 204 h 244"/>
                    <a:gd name="T12" fmla="*/ 284 w 336"/>
                    <a:gd name="T13" fmla="*/ 203 h 244"/>
                    <a:gd name="T14" fmla="*/ 336 w 336"/>
                    <a:gd name="T15" fmla="*/ 134 h 244"/>
                    <a:gd name="T16" fmla="*/ 336 w 336"/>
                    <a:gd name="T17" fmla="*/ 0 h 244"/>
                    <a:gd name="T18" fmla="*/ 0 w 336"/>
                    <a:gd name="T19" fmla="*/ 8 h 2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36" h="244">
                      <a:moveTo>
                        <a:pt x="0" y="8"/>
                      </a:moveTo>
                      <a:cubicBezTo>
                        <a:pt x="0" y="141"/>
                        <a:pt x="0" y="141"/>
                        <a:pt x="0" y="141"/>
                      </a:cubicBezTo>
                      <a:cubicBezTo>
                        <a:pt x="0" y="161"/>
                        <a:pt x="12" y="180"/>
                        <a:pt x="37" y="194"/>
                      </a:cubicBezTo>
                      <a:cubicBezTo>
                        <a:pt x="37" y="194"/>
                        <a:pt x="50" y="201"/>
                        <a:pt x="54" y="216"/>
                      </a:cubicBezTo>
                      <a:cubicBezTo>
                        <a:pt x="60" y="209"/>
                        <a:pt x="66" y="211"/>
                        <a:pt x="69" y="213"/>
                      </a:cubicBezTo>
                      <a:cubicBezTo>
                        <a:pt x="123" y="244"/>
                        <a:pt x="219" y="241"/>
                        <a:pt x="282" y="204"/>
                      </a:cubicBezTo>
                      <a:cubicBezTo>
                        <a:pt x="284" y="203"/>
                        <a:pt x="284" y="203"/>
                        <a:pt x="284" y="203"/>
                      </a:cubicBezTo>
                      <a:cubicBezTo>
                        <a:pt x="319" y="183"/>
                        <a:pt x="336" y="158"/>
                        <a:pt x="336" y="134"/>
                      </a:cubicBezTo>
                      <a:cubicBezTo>
                        <a:pt x="336" y="0"/>
                        <a:pt x="336" y="0"/>
                        <a:pt x="336" y="0"/>
                      </a:cubicBezTo>
                      <a:lnTo>
                        <a:pt x="0" y="8"/>
                      </a:lnTo>
                      <a:close/>
                    </a:path>
                  </a:pathLst>
                </a:custGeom>
                <a:solidFill>
                  <a:srgbClr val="2B28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7" name="任意多边形: 形状 76">
                  <a:extLst>
                    <a:ext uri="{FF2B5EF4-FFF2-40B4-BE49-F238E27FC236}">
                      <a16:creationId xmlns:a16="http://schemas.microsoft.com/office/drawing/2014/main" id="{435ED325-094C-4988-A6FD-D100F57F0C9D}"/>
                    </a:ext>
                  </a:extLst>
                </p:cNvPr>
                <p:cNvSpPr/>
                <p:nvPr/>
              </p:nvSpPr>
              <p:spPr bwMode="auto">
                <a:xfrm>
                  <a:off x="3835786" y="1786231"/>
                  <a:ext cx="1901825" cy="592138"/>
                </a:xfrm>
                <a:custGeom>
                  <a:avLst/>
                  <a:gdLst>
                    <a:gd name="T0" fmla="*/ 569 w 576"/>
                    <a:gd name="T1" fmla="*/ 9 h 180"/>
                    <a:gd name="T2" fmla="*/ 303 w 576"/>
                    <a:gd name="T3" fmla="*/ 162 h 180"/>
                    <a:gd name="T4" fmla="*/ 275 w 576"/>
                    <a:gd name="T5" fmla="*/ 163 h 180"/>
                    <a:gd name="T6" fmla="*/ 5 w 576"/>
                    <a:gd name="T7" fmla="*/ 8 h 180"/>
                    <a:gd name="T8" fmla="*/ 0 w 576"/>
                    <a:gd name="T9" fmla="*/ 1 h 180"/>
                    <a:gd name="T10" fmla="*/ 0 w 576"/>
                    <a:gd name="T11" fmla="*/ 13 h 180"/>
                    <a:gd name="T12" fmla="*/ 5 w 576"/>
                    <a:gd name="T13" fmla="*/ 20 h 180"/>
                    <a:gd name="T14" fmla="*/ 275 w 576"/>
                    <a:gd name="T15" fmla="*/ 176 h 180"/>
                    <a:gd name="T16" fmla="*/ 303 w 576"/>
                    <a:gd name="T17" fmla="*/ 175 h 180"/>
                    <a:gd name="T18" fmla="*/ 569 w 576"/>
                    <a:gd name="T19" fmla="*/ 21 h 180"/>
                    <a:gd name="T20" fmla="*/ 576 w 576"/>
                    <a:gd name="T21" fmla="*/ 12 h 180"/>
                    <a:gd name="T22" fmla="*/ 576 w 576"/>
                    <a:gd name="T23" fmla="*/ 0 h 180"/>
                    <a:gd name="T24" fmla="*/ 569 w 576"/>
                    <a:gd name="T25" fmla="*/ 9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76" h="180">
                      <a:moveTo>
                        <a:pt x="569" y="9"/>
                      </a:moveTo>
                      <a:cubicBezTo>
                        <a:pt x="303" y="162"/>
                        <a:pt x="303" y="162"/>
                        <a:pt x="303" y="162"/>
                      </a:cubicBezTo>
                      <a:cubicBezTo>
                        <a:pt x="295" y="167"/>
                        <a:pt x="282" y="168"/>
                        <a:pt x="275" y="163"/>
                      </a:cubicBezTo>
                      <a:cubicBezTo>
                        <a:pt x="5" y="8"/>
                        <a:pt x="5" y="8"/>
                        <a:pt x="5" y="8"/>
                      </a:cubicBezTo>
                      <a:cubicBezTo>
                        <a:pt x="2" y="6"/>
                        <a:pt x="0" y="3"/>
                        <a:pt x="0" y="1"/>
                      </a:cubicBezTo>
                      <a:cubicBezTo>
                        <a:pt x="0" y="13"/>
                        <a:pt x="0" y="13"/>
                        <a:pt x="0" y="13"/>
                      </a:cubicBezTo>
                      <a:cubicBezTo>
                        <a:pt x="0" y="16"/>
                        <a:pt x="2" y="18"/>
                        <a:pt x="5" y="20"/>
                      </a:cubicBezTo>
                      <a:cubicBezTo>
                        <a:pt x="275" y="176"/>
                        <a:pt x="275" y="176"/>
                        <a:pt x="275" y="176"/>
                      </a:cubicBezTo>
                      <a:cubicBezTo>
                        <a:pt x="282" y="180"/>
                        <a:pt x="295" y="179"/>
                        <a:pt x="303" y="175"/>
                      </a:cubicBezTo>
                      <a:cubicBezTo>
                        <a:pt x="569" y="21"/>
                        <a:pt x="569" y="21"/>
                        <a:pt x="569" y="21"/>
                      </a:cubicBezTo>
                      <a:cubicBezTo>
                        <a:pt x="573" y="19"/>
                        <a:pt x="576" y="15"/>
                        <a:pt x="576" y="12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cubicBezTo>
                        <a:pt x="576" y="3"/>
                        <a:pt x="573" y="6"/>
                        <a:pt x="569" y="9"/>
                      </a:cubicBezTo>
                      <a:close/>
                    </a:path>
                  </a:pathLst>
                </a:custGeom>
                <a:solidFill>
                  <a:srgbClr val="3B3A3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8" name="任意多边形: 形状 77">
                  <a:extLst>
                    <a:ext uri="{FF2B5EF4-FFF2-40B4-BE49-F238E27FC236}">
                      <a16:creationId xmlns:a16="http://schemas.microsoft.com/office/drawing/2014/main" id="{93665757-E3B8-4EE3-998E-B40BC684FDA4}"/>
                    </a:ext>
                  </a:extLst>
                </p:cNvPr>
                <p:cNvSpPr/>
                <p:nvPr/>
              </p:nvSpPr>
              <p:spPr bwMode="auto">
                <a:xfrm>
                  <a:off x="3835786" y="1235368"/>
                  <a:ext cx="1901825" cy="1103313"/>
                </a:xfrm>
                <a:custGeom>
                  <a:avLst/>
                  <a:gdLst>
                    <a:gd name="T0" fmla="*/ 275 w 576"/>
                    <a:gd name="T1" fmla="*/ 330 h 335"/>
                    <a:gd name="T2" fmla="*/ 5 w 576"/>
                    <a:gd name="T3" fmla="*/ 175 h 335"/>
                    <a:gd name="T4" fmla="*/ 0 w 576"/>
                    <a:gd name="T5" fmla="*/ 168 h 335"/>
                    <a:gd name="T6" fmla="*/ 7 w 576"/>
                    <a:gd name="T7" fmla="*/ 158 h 335"/>
                    <a:gd name="T8" fmla="*/ 273 w 576"/>
                    <a:gd name="T9" fmla="*/ 5 h 335"/>
                    <a:gd name="T10" fmla="*/ 301 w 576"/>
                    <a:gd name="T11" fmla="*/ 4 h 335"/>
                    <a:gd name="T12" fmla="*/ 571 w 576"/>
                    <a:gd name="T13" fmla="*/ 160 h 335"/>
                    <a:gd name="T14" fmla="*/ 576 w 576"/>
                    <a:gd name="T15" fmla="*/ 167 h 335"/>
                    <a:gd name="T16" fmla="*/ 569 w 576"/>
                    <a:gd name="T17" fmla="*/ 176 h 335"/>
                    <a:gd name="T18" fmla="*/ 303 w 576"/>
                    <a:gd name="T19" fmla="*/ 329 h 335"/>
                    <a:gd name="T20" fmla="*/ 275 w 576"/>
                    <a:gd name="T21" fmla="*/ 330 h 3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76" h="335">
                      <a:moveTo>
                        <a:pt x="275" y="330"/>
                      </a:moveTo>
                      <a:cubicBezTo>
                        <a:pt x="5" y="175"/>
                        <a:pt x="5" y="175"/>
                        <a:pt x="5" y="175"/>
                      </a:cubicBezTo>
                      <a:cubicBezTo>
                        <a:pt x="2" y="173"/>
                        <a:pt x="0" y="170"/>
                        <a:pt x="0" y="168"/>
                      </a:cubicBezTo>
                      <a:cubicBezTo>
                        <a:pt x="0" y="164"/>
                        <a:pt x="3" y="161"/>
                        <a:pt x="7" y="158"/>
                      </a:cubicBezTo>
                      <a:cubicBezTo>
                        <a:pt x="273" y="5"/>
                        <a:pt x="273" y="5"/>
                        <a:pt x="273" y="5"/>
                      </a:cubicBezTo>
                      <a:cubicBezTo>
                        <a:pt x="281" y="0"/>
                        <a:pt x="294" y="0"/>
                        <a:pt x="301" y="4"/>
                      </a:cubicBezTo>
                      <a:cubicBezTo>
                        <a:pt x="571" y="160"/>
                        <a:pt x="571" y="160"/>
                        <a:pt x="571" y="160"/>
                      </a:cubicBezTo>
                      <a:cubicBezTo>
                        <a:pt x="574" y="161"/>
                        <a:pt x="576" y="164"/>
                        <a:pt x="576" y="167"/>
                      </a:cubicBezTo>
                      <a:cubicBezTo>
                        <a:pt x="576" y="170"/>
                        <a:pt x="573" y="173"/>
                        <a:pt x="569" y="176"/>
                      </a:cubicBezTo>
                      <a:cubicBezTo>
                        <a:pt x="303" y="329"/>
                        <a:pt x="303" y="329"/>
                        <a:pt x="303" y="329"/>
                      </a:cubicBezTo>
                      <a:cubicBezTo>
                        <a:pt x="295" y="334"/>
                        <a:pt x="282" y="335"/>
                        <a:pt x="275" y="330"/>
                      </a:cubicBezTo>
                      <a:close/>
                    </a:path>
                  </a:pathLst>
                </a:custGeom>
                <a:solidFill>
                  <a:srgbClr val="2B2829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79" name="椭圆 78">
                  <a:extLst>
                    <a:ext uri="{FF2B5EF4-FFF2-40B4-BE49-F238E27FC236}">
                      <a16:creationId xmlns:a16="http://schemas.microsoft.com/office/drawing/2014/main" id="{3BBE99C2-B563-4E16-8391-D9B9783D856B}"/>
                    </a:ext>
                  </a:extLst>
                </p:cNvPr>
                <p:cNvSpPr/>
                <p:nvPr/>
              </p:nvSpPr>
              <p:spPr bwMode="auto">
                <a:xfrm>
                  <a:off x="5234374" y="2218031"/>
                  <a:ext cx="122238" cy="120650"/>
                </a:xfrm>
                <a:prstGeom prst="ellipse">
                  <a:avLst/>
                </a:prstGeom>
                <a:solidFill>
                  <a:srgbClr val="E4EAE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0" name="任意多边形: 形状 79">
                  <a:extLst>
                    <a:ext uri="{FF2B5EF4-FFF2-40B4-BE49-F238E27FC236}">
                      <a16:creationId xmlns:a16="http://schemas.microsoft.com/office/drawing/2014/main" id="{F46A75C5-51C7-460D-86CF-2D7327722C89}"/>
                    </a:ext>
                  </a:extLst>
                </p:cNvPr>
                <p:cNvSpPr/>
                <p:nvPr/>
              </p:nvSpPr>
              <p:spPr bwMode="auto">
                <a:xfrm>
                  <a:off x="5234374" y="2319631"/>
                  <a:ext cx="125413" cy="250825"/>
                </a:xfrm>
                <a:custGeom>
                  <a:avLst/>
                  <a:gdLst>
                    <a:gd name="T0" fmla="*/ 38 w 38"/>
                    <a:gd name="T1" fmla="*/ 18 h 76"/>
                    <a:gd name="T2" fmla="*/ 19 w 38"/>
                    <a:gd name="T3" fmla="*/ 0 h 76"/>
                    <a:gd name="T4" fmla="*/ 0 w 38"/>
                    <a:gd name="T5" fmla="*/ 18 h 76"/>
                    <a:gd name="T6" fmla="*/ 0 w 38"/>
                    <a:gd name="T7" fmla="*/ 18 h 76"/>
                    <a:gd name="T8" fmla="*/ 0 w 38"/>
                    <a:gd name="T9" fmla="*/ 66 h 76"/>
                    <a:gd name="T10" fmla="*/ 5 w 38"/>
                    <a:gd name="T11" fmla="*/ 73 h 76"/>
                    <a:gd name="T12" fmla="*/ 32 w 38"/>
                    <a:gd name="T13" fmla="*/ 73 h 76"/>
                    <a:gd name="T14" fmla="*/ 38 w 38"/>
                    <a:gd name="T15" fmla="*/ 66 h 76"/>
                    <a:gd name="T16" fmla="*/ 38 w 38"/>
                    <a:gd name="T17" fmla="*/ 18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8" h="76">
                      <a:moveTo>
                        <a:pt x="38" y="18"/>
                      </a:moveTo>
                      <a:cubicBezTo>
                        <a:pt x="38" y="8"/>
                        <a:pt x="29" y="0"/>
                        <a:pt x="19" y="0"/>
                      </a:cubicBezTo>
                      <a:cubicBezTo>
                        <a:pt x="9" y="0"/>
                        <a:pt x="0" y="8"/>
                        <a:pt x="0" y="18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66"/>
                        <a:pt x="0" y="66"/>
                        <a:pt x="0" y="66"/>
                      </a:cubicBezTo>
                      <a:cubicBezTo>
                        <a:pt x="0" y="68"/>
                        <a:pt x="0" y="70"/>
                        <a:pt x="5" y="73"/>
                      </a:cubicBezTo>
                      <a:cubicBezTo>
                        <a:pt x="11" y="76"/>
                        <a:pt x="27" y="76"/>
                        <a:pt x="32" y="73"/>
                      </a:cubicBezTo>
                      <a:cubicBezTo>
                        <a:pt x="38" y="70"/>
                        <a:pt x="38" y="68"/>
                        <a:pt x="38" y="66"/>
                      </a:cubicBezTo>
                      <a:cubicBezTo>
                        <a:pt x="38" y="18"/>
                        <a:pt x="38" y="18"/>
                        <a:pt x="38" y="18"/>
                      </a:cubicBezTo>
                      <a:close/>
                    </a:path>
                  </a:pathLst>
                </a:custGeom>
                <a:solidFill>
                  <a:srgbClr val="FFB1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1" name="任意多边形: 形状 80">
                  <a:extLst>
                    <a:ext uri="{FF2B5EF4-FFF2-40B4-BE49-F238E27FC236}">
                      <a16:creationId xmlns:a16="http://schemas.microsoft.com/office/drawing/2014/main" id="{4A1FCB0F-8B25-4768-A9EF-E5BFFB99F6AE}"/>
                    </a:ext>
                  </a:extLst>
                </p:cNvPr>
                <p:cNvSpPr/>
                <p:nvPr/>
              </p:nvSpPr>
              <p:spPr bwMode="auto">
                <a:xfrm>
                  <a:off x="5234374" y="2322806"/>
                  <a:ext cx="125413" cy="247650"/>
                </a:xfrm>
                <a:custGeom>
                  <a:avLst/>
                  <a:gdLst>
                    <a:gd name="T0" fmla="*/ 0 w 38"/>
                    <a:gd name="T1" fmla="*/ 17 h 75"/>
                    <a:gd name="T2" fmla="*/ 0 w 38"/>
                    <a:gd name="T3" fmla="*/ 51 h 75"/>
                    <a:gd name="T4" fmla="*/ 0 w 38"/>
                    <a:gd name="T5" fmla="*/ 17 h 75"/>
                    <a:gd name="T6" fmla="*/ 38 w 38"/>
                    <a:gd name="T7" fmla="*/ 65 h 75"/>
                    <a:gd name="T8" fmla="*/ 32 w 38"/>
                    <a:gd name="T9" fmla="*/ 72 h 75"/>
                    <a:gd name="T10" fmla="*/ 5 w 38"/>
                    <a:gd name="T11" fmla="*/ 72 h 75"/>
                    <a:gd name="T12" fmla="*/ 5 w 38"/>
                    <a:gd name="T13" fmla="*/ 71 h 75"/>
                    <a:gd name="T14" fmla="*/ 5 w 38"/>
                    <a:gd name="T15" fmla="*/ 17 h 75"/>
                    <a:gd name="T16" fmla="*/ 21 w 38"/>
                    <a:gd name="T17" fmla="*/ 0 h 75"/>
                    <a:gd name="T18" fmla="*/ 38 w 38"/>
                    <a:gd name="T19" fmla="*/ 17 h 75"/>
                    <a:gd name="T20" fmla="*/ 38 w 38"/>
                    <a:gd name="T21" fmla="*/ 65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75">
                      <a:moveTo>
                        <a:pt x="0" y="17"/>
                      </a:moveTo>
                      <a:cubicBezTo>
                        <a:pt x="0" y="51"/>
                        <a:pt x="0" y="51"/>
                        <a:pt x="0" y="51"/>
                      </a:cubicBezTo>
                      <a:cubicBezTo>
                        <a:pt x="0" y="17"/>
                        <a:pt x="0" y="17"/>
                        <a:pt x="0" y="17"/>
                      </a:cubicBezTo>
                      <a:close/>
                      <a:moveTo>
                        <a:pt x="38" y="65"/>
                      </a:moveTo>
                      <a:cubicBezTo>
                        <a:pt x="38" y="67"/>
                        <a:pt x="38" y="69"/>
                        <a:pt x="32" y="72"/>
                      </a:cubicBezTo>
                      <a:cubicBezTo>
                        <a:pt x="27" y="75"/>
                        <a:pt x="9" y="74"/>
                        <a:pt x="5" y="72"/>
                      </a:cubicBezTo>
                      <a:cubicBezTo>
                        <a:pt x="2" y="70"/>
                        <a:pt x="5" y="72"/>
                        <a:pt x="5" y="71"/>
                      </a:cubicBezTo>
                      <a:cubicBezTo>
                        <a:pt x="5" y="58"/>
                        <a:pt x="5" y="30"/>
                        <a:pt x="5" y="17"/>
                      </a:cubicBezTo>
                      <a:cubicBezTo>
                        <a:pt x="5" y="8"/>
                        <a:pt x="10" y="0"/>
                        <a:pt x="21" y="0"/>
                      </a:cubicBezTo>
                      <a:cubicBezTo>
                        <a:pt x="32" y="1"/>
                        <a:pt x="38" y="12"/>
                        <a:pt x="38" y="17"/>
                      </a:cubicBezTo>
                      <a:lnTo>
                        <a:pt x="38" y="65"/>
                      </a:lnTo>
                      <a:close/>
                    </a:path>
                  </a:pathLst>
                </a:custGeom>
                <a:solidFill>
                  <a:srgbClr val="FFC1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2" name="椭圆 81">
                  <a:extLst>
                    <a:ext uri="{FF2B5EF4-FFF2-40B4-BE49-F238E27FC236}">
                      <a16:creationId xmlns:a16="http://schemas.microsoft.com/office/drawing/2014/main" id="{AC89DDEA-D5A1-435E-BDC3-07F37F56235D}"/>
                    </a:ext>
                  </a:extLst>
                </p:cNvPr>
                <p:cNvSpPr/>
                <p:nvPr/>
              </p:nvSpPr>
              <p:spPr bwMode="auto">
                <a:xfrm>
                  <a:off x="5234374" y="2218031"/>
                  <a:ext cx="122238" cy="120650"/>
                </a:xfrm>
                <a:prstGeom prst="ellipse">
                  <a:avLst/>
                </a:prstGeom>
                <a:solidFill>
                  <a:srgbClr val="FFB1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3" name="椭圆 82">
                  <a:extLst>
                    <a:ext uri="{FF2B5EF4-FFF2-40B4-BE49-F238E27FC236}">
                      <a16:creationId xmlns:a16="http://schemas.microsoft.com/office/drawing/2014/main" id="{39008B06-3CAA-4418-9E7C-FB0DB10D0935}"/>
                    </a:ext>
                  </a:extLst>
                </p:cNvPr>
                <p:cNvSpPr/>
                <p:nvPr/>
              </p:nvSpPr>
              <p:spPr bwMode="auto">
                <a:xfrm>
                  <a:off x="5251836" y="2221206"/>
                  <a:ext cx="104775" cy="104775"/>
                </a:xfrm>
                <a:prstGeom prst="ellipse">
                  <a:avLst/>
                </a:prstGeom>
                <a:solidFill>
                  <a:srgbClr val="FFC12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4" name="任意多边形: 形状 83">
                  <a:extLst>
                    <a:ext uri="{FF2B5EF4-FFF2-40B4-BE49-F238E27FC236}">
                      <a16:creationId xmlns:a16="http://schemas.microsoft.com/office/drawing/2014/main" id="{1EEFD41F-6B18-40F6-8FB2-7C8B9A982E57}"/>
                    </a:ext>
                  </a:extLst>
                </p:cNvPr>
                <p:cNvSpPr/>
                <p:nvPr/>
              </p:nvSpPr>
              <p:spPr bwMode="auto">
                <a:xfrm>
                  <a:off x="4799399" y="1762418"/>
                  <a:ext cx="504825" cy="458788"/>
                </a:xfrm>
                <a:custGeom>
                  <a:avLst/>
                  <a:gdLst>
                    <a:gd name="T0" fmla="*/ 153 w 153"/>
                    <a:gd name="T1" fmla="*/ 139 h 139"/>
                    <a:gd name="T2" fmla="*/ 153 w 153"/>
                    <a:gd name="T3" fmla="*/ 104 h 139"/>
                    <a:gd name="T4" fmla="*/ 139 w 153"/>
                    <a:gd name="T5" fmla="*/ 79 h 139"/>
                    <a:gd name="T6" fmla="*/ 3 w 153"/>
                    <a:gd name="T7" fmla="*/ 0 h 139"/>
                    <a:gd name="T8" fmla="*/ 0 w 153"/>
                    <a:gd name="T9" fmla="*/ 5 h 139"/>
                    <a:gd name="T10" fmla="*/ 136 w 153"/>
                    <a:gd name="T11" fmla="*/ 84 h 139"/>
                    <a:gd name="T12" fmla="*/ 147 w 153"/>
                    <a:gd name="T13" fmla="*/ 104 h 139"/>
                    <a:gd name="T14" fmla="*/ 147 w 153"/>
                    <a:gd name="T15" fmla="*/ 139 h 139"/>
                    <a:gd name="T16" fmla="*/ 153 w 153"/>
                    <a:gd name="T17" fmla="*/ 139 h 1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3" h="139">
                      <a:moveTo>
                        <a:pt x="153" y="139"/>
                      </a:moveTo>
                      <a:cubicBezTo>
                        <a:pt x="153" y="104"/>
                        <a:pt x="153" y="104"/>
                        <a:pt x="153" y="104"/>
                      </a:cubicBezTo>
                      <a:cubicBezTo>
                        <a:pt x="153" y="94"/>
                        <a:pt x="148" y="84"/>
                        <a:pt x="139" y="79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136" y="84"/>
                        <a:pt x="136" y="84"/>
                        <a:pt x="136" y="84"/>
                      </a:cubicBezTo>
                      <a:cubicBezTo>
                        <a:pt x="143" y="89"/>
                        <a:pt x="147" y="96"/>
                        <a:pt x="147" y="104"/>
                      </a:cubicBezTo>
                      <a:cubicBezTo>
                        <a:pt x="147" y="139"/>
                        <a:pt x="147" y="139"/>
                        <a:pt x="147" y="139"/>
                      </a:cubicBezTo>
                      <a:cubicBezTo>
                        <a:pt x="153" y="139"/>
                        <a:pt x="153" y="139"/>
                        <a:pt x="153" y="139"/>
                      </a:cubicBezTo>
                      <a:close/>
                    </a:path>
                  </a:pathLst>
                </a:custGeom>
                <a:solidFill>
                  <a:srgbClr val="FFB1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5" name="任意多边形: 形状 84">
                  <a:extLst>
                    <a:ext uri="{FF2B5EF4-FFF2-40B4-BE49-F238E27FC236}">
                      <a16:creationId xmlns:a16="http://schemas.microsoft.com/office/drawing/2014/main" id="{81E74956-72E9-4B36-8119-BD443C5F85DE}"/>
                    </a:ext>
                  </a:extLst>
                </p:cNvPr>
                <p:cNvSpPr/>
                <p:nvPr/>
              </p:nvSpPr>
              <p:spPr bwMode="auto">
                <a:xfrm>
                  <a:off x="5885249" y="3367381"/>
                  <a:ext cx="773113" cy="244475"/>
                </a:xfrm>
                <a:custGeom>
                  <a:avLst/>
                  <a:gdLst>
                    <a:gd name="T0" fmla="*/ 9 w 234"/>
                    <a:gd name="T1" fmla="*/ 74 h 74"/>
                    <a:gd name="T2" fmla="*/ 40 w 234"/>
                    <a:gd name="T3" fmla="*/ 30 h 74"/>
                    <a:gd name="T4" fmla="*/ 194 w 234"/>
                    <a:gd name="T5" fmla="*/ 30 h 74"/>
                    <a:gd name="T6" fmla="*/ 225 w 234"/>
                    <a:gd name="T7" fmla="*/ 74 h 74"/>
                    <a:gd name="T8" fmla="*/ 234 w 234"/>
                    <a:gd name="T9" fmla="*/ 74 h 74"/>
                    <a:gd name="T10" fmla="*/ 200 w 234"/>
                    <a:gd name="T11" fmla="*/ 26 h 74"/>
                    <a:gd name="T12" fmla="*/ 34 w 234"/>
                    <a:gd name="T13" fmla="*/ 26 h 74"/>
                    <a:gd name="T14" fmla="*/ 0 w 234"/>
                    <a:gd name="T15" fmla="*/ 74 h 74"/>
                    <a:gd name="T16" fmla="*/ 0 w 234"/>
                    <a:gd name="T17" fmla="*/ 74 h 74"/>
                    <a:gd name="T18" fmla="*/ 9 w 234"/>
                    <a:gd name="T19" fmla="*/ 74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4" h="74">
                      <a:moveTo>
                        <a:pt x="9" y="74"/>
                      </a:moveTo>
                      <a:cubicBezTo>
                        <a:pt x="9" y="58"/>
                        <a:pt x="19" y="42"/>
                        <a:pt x="40" y="30"/>
                      </a:cubicBezTo>
                      <a:cubicBezTo>
                        <a:pt x="83" y="5"/>
                        <a:pt x="151" y="5"/>
                        <a:pt x="194" y="30"/>
                      </a:cubicBezTo>
                      <a:cubicBezTo>
                        <a:pt x="215" y="42"/>
                        <a:pt x="225" y="58"/>
                        <a:pt x="225" y="74"/>
                      </a:cubicBezTo>
                      <a:cubicBezTo>
                        <a:pt x="234" y="74"/>
                        <a:pt x="234" y="74"/>
                        <a:pt x="234" y="74"/>
                      </a:cubicBezTo>
                      <a:cubicBezTo>
                        <a:pt x="234" y="57"/>
                        <a:pt x="222" y="39"/>
                        <a:pt x="200" y="26"/>
                      </a:cubicBezTo>
                      <a:cubicBezTo>
                        <a:pt x="154" y="0"/>
                        <a:pt x="80" y="0"/>
                        <a:pt x="34" y="26"/>
                      </a:cubicBezTo>
                      <a:cubicBezTo>
                        <a:pt x="11" y="39"/>
                        <a:pt x="0" y="57"/>
                        <a:pt x="0" y="74"/>
                      </a:cubicBezTo>
                      <a:cubicBezTo>
                        <a:pt x="0" y="74"/>
                        <a:pt x="0" y="74"/>
                        <a:pt x="0" y="74"/>
                      </a:cubicBezTo>
                      <a:lnTo>
                        <a:pt x="9" y="74"/>
                      </a:lnTo>
                      <a:close/>
                    </a:path>
                  </a:pathLst>
                </a:custGeom>
                <a:solidFill>
                  <a:srgbClr val="3652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6" name="任意多边形: 形状 85">
                  <a:extLst>
                    <a:ext uri="{FF2B5EF4-FFF2-40B4-BE49-F238E27FC236}">
                      <a16:creationId xmlns:a16="http://schemas.microsoft.com/office/drawing/2014/main" id="{0BE869EE-427B-466A-9D0D-AD231DCEAFCC}"/>
                    </a:ext>
                  </a:extLst>
                </p:cNvPr>
                <p:cNvSpPr/>
                <p:nvPr/>
              </p:nvSpPr>
              <p:spPr bwMode="auto">
                <a:xfrm>
                  <a:off x="5915411" y="3383256"/>
                  <a:ext cx="712788" cy="455613"/>
                </a:xfrm>
                <a:custGeom>
                  <a:avLst/>
                  <a:gdLst>
                    <a:gd name="T0" fmla="*/ 185 w 216"/>
                    <a:gd name="T1" fmla="*/ 25 h 138"/>
                    <a:gd name="T2" fmla="*/ 31 w 216"/>
                    <a:gd name="T3" fmla="*/ 25 h 138"/>
                    <a:gd name="T4" fmla="*/ 0 w 216"/>
                    <a:gd name="T5" fmla="*/ 69 h 138"/>
                    <a:gd name="T6" fmla="*/ 31 w 216"/>
                    <a:gd name="T7" fmla="*/ 113 h 138"/>
                    <a:gd name="T8" fmla="*/ 185 w 216"/>
                    <a:gd name="T9" fmla="*/ 113 h 138"/>
                    <a:gd name="T10" fmla="*/ 216 w 216"/>
                    <a:gd name="T11" fmla="*/ 69 h 138"/>
                    <a:gd name="T12" fmla="*/ 185 w 216"/>
                    <a:gd name="T13" fmla="*/ 25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16" h="138">
                      <a:moveTo>
                        <a:pt x="185" y="25"/>
                      </a:moveTo>
                      <a:cubicBezTo>
                        <a:pt x="142" y="0"/>
                        <a:pt x="74" y="0"/>
                        <a:pt x="31" y="25"/>
                      </a:cubicBezTo>
                      <a:cubicBezTo>
                        <a:pt x="10" y="37"/>
                        <a:pt x="0" y="53"/>
                        <a:pt x="0" y="69"/>
                      </a:cubicBezTo>
                      <a:cubicBezTo>
                        <a:pt x="0" y="85"/>
                        <a:pt x="10" y="101"/>
                        <a:pt x="31" y="113"/>
                      </a:cubicBezTo>
                      <a:cubicBezTo>
                        <a:pt x="74" y="138"/>
                        <a:pt x="142" y="138"/>
                        <a:pt x="185" y="113"/>
                      </a:cubicBezTo>
                      <a:cubicBezTo>
                        <a:pt x="206" y="101"/>
                        <a:pt x="216" y="85"/>
                        <a:pt x="216" y="69"/>
                      </a:cubicBezTo>
                      <a:cubicBezTo>
                        <a:pt x="216" y="53"/>
                        <a:pt x="206" y="37"/>
                        <a:pt x="185" y="25"/>
                      </a:cubicBezTo>
                      <a:close/>
                    </a:path>
                  </a:pathLst>
                </a:custGeom>
                <a:solidFill>
                  <a:srgbClr val="1E1C3C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7" name="任意多边形: 形状 86">
                  <a:extLst>
                    <a:ext uri="{FF2B5EF4-FFF2-40B4-BE49-F238E27FC236}">
                      <a16:creationId xmlns:a16="http://schemas.microsoft.com/office/drawing/2014/main" id="{9A25BE3B-CB11-4876-8936-4BE35D18874A}"/>
                    </a:ext>
                  </a:extLst>
                </p:cNvPr>
                <p:cNvSpPr/>
                <p:nvPr/>
              </p:nvSpPr>
              <p:spPr bwMode="auto">
                <a:xfrm>
                  <a:off x="6013836" y="3434056"/>
                  <a:ext cx="152400" cy="1096963"/>
                </a:xfrm>
                <a:custGeom>
                  <a:avLst/>
                  <a:gdLst>
                    <a:gd name="T0" fmla="*/ 26 w 46"/>
                    <a:gd name="T1" fmla="*/ 0 h 333"/>
                    <a:gd name="T2" fmla="*/ 4 w 46"/>
                    <a:gd name="T3" fmla="*/ 0 h 333"/>
                    <a:gd name="T4" fmla="*/ 0 w 46"/>
                    <a:gd name="T5" fmla="*/ 320 h 333"/>
                    <a:gd name="T6" fmla="*/ 6 w 46"/>
                    <a:gd name="T7" fmla="*/ 328 h 333"/>
                    <a:gd name="T8" fmla="*/ 26 w 46"/>
                    <a:gd name="T9" fmla="*/ 332 h 333"/>
                    <a:gd name="T10" fmla="*/ 36 w 46"/>
                    <a:gd name="T11" fmla="*/ 329 h 333"/>
                    <a:gd name="T12" fmla="*/ 42 w 46"/>
                    <a:gd name="T13" fmla="*/ 320 h 333"/>
                    <a:gd name="T14" fmla="*/ 46 w 46"/>
                    <a:gd name="T15" fmla="*/ 1 h 333"/>
                    <a:gd name="T16" fmla="*/ 26 w 46"/>
                    <a:gd name="T17" fmla="*/ 0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6" h="333">
                      <a:moveTo>
                        <a:pt x="2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320"/>
                        <a:pt x="0" y="320"/>
                        <a:pt x="0" y="320"/>
                      </a:cubicBezTo>
                      <a:cubicBezTo>
                        <a:pt x="0" y="323"/>
                        <a:pt x="2" y="326"/>
                        <a:pt x="6" y="328"/>
                      </a:cubicBezTo>
                      <a:cubicBezTo>
                        <a:pt x="11" y="332"/>
                        <a:pt x="19" y="333"/>
                        <a:pt x="26" y="332"/>
                      </a:cubicBezTo>
                      <a:cubicBezTo>
                        <a:pt x="29" y="331"/>
                        <a:pt x="33" y="330"/>
                        <a:pt x="36" y="329"/>
                      </a:cubicBezTo>
                      <a:cubicBezTo>
                        <a:pt x="40" y="326"/>
                        <a:pt x="42" y="323"/>
                        <a:pt x="42" y="320"/>
                      </a:cubicBezTo>
                      <a:cubicBezTo>
                        <a:pt x="46" y="1"/>
                        <a:pt x="46" y="1"/>
                        <a:pt x="46" y="1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9F1D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8" name="任意多边形: 形状 87">
                  <a:extLst>
                    <a:ext uri="{FF2B5EF4-FFF2-40B4-BE49-F238E27FC236}">
                      <a16:creationId xmlns:a16="http://schemas.microsoft.com/office/drawing/2014/main" id="{5124BF4A-AC07-46E2-866A-63CC71C25F9D}"/>
                    </a:ext>
                  </a:extLst>
                </p:cNvPr>
                <p:cNvSpPr/>
                <p:nvPr/>
              </p:nvSpPr>
              <p:spPr bwMode="auto">
                <a:xfrm>
                  <a:off x="6028124" y="3205456"/>
                  <a:ext cx="138113" cy="271463"/>
                </a:xfrm>
                <a:custGeom>
                  <a:avLst/>
                  <a:gdLst>
                    <a:gd name="T0" fmla="*/ 42 w 42"/>
                    <a:gd name="T1" fmla="*/ 67 h 82"/>
                    <a:gd name="T2" fmla="*/ 22 w 42"/>
                    <a:gd name="T3" fmla="*/ 0 h 82"/>
                    <a:gd name="T4" fmla="*/ 22 w 42"/>
                    <a:gd name="T5" fmla="*/ 0 h 82"/>
                    <a:gd name="T6" fmla="*/ 0 w 42"/>
                    <a:gd name="T7" fmla="*/ 67 h 82"/>
                    <a:gd name="T8" fmla="*/ 0 w 42"/>
                    <a:gd name="T9" fmla="*/ 69 h 82"/>
                    <a:gd name="T10" fmla="*/ 6 w 42"/>
                    <a:gd name="T11" fmla="*/ 78 h 82"/>
                    <a:gd name="T12" fmla="*/ 22 w 42"/>
                    <a:gd name="T13" fmla="*/ 82 h 82"/>
                    <a:gd name="T14" fmla="*/ 36 w 42"/>
                    <a:gd name="T15" fmla="*/ 78 h 82"/>
                    <a:gd name="T16" fmla="*/ 42 w 42"/>
                    <a:gd name="T17" fmla="*/ 70 h 82"/>
                    <a:gd name="T18" fmla="*/ 42 w 42"/>
                    <a:gd name="T19" fmla="*/ 67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2" h="82">
                      <a:moveTo>
                        <a:pt x="42" y="67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68"/>
                        <a:pt x="0" y="68"/>
                        <a:pt x="0" y="69"/>
                      </a:cubicBezTo>
                      <a:cubicBezTo>
                        <a:pt x="0" y="72"/>
                        <a:pt x="2" y="76"/>
                        <a:pt x="6" y="78"/>
                      </a:cubicBezTo>
                      <a:cubicBezTo>
                        <a:pt x="10" y="81"/>
                        <a:pt x="16" y="82"/>
                        <a:pt x="22" y="82"/>
                      </a:cubicBezTo>
                      <a:cubicBezTo>
                        <a:pt x="27" y="82"/>
                        <a:pt x="32" y="81"/>
                        <a:pt x="36" y="78"/>
                      </a:cubicBezTo>
                      <a:cubicBezTo>
                        <a:pt x="40" y="76"/>
                        <a:pt x="42" y="73"/>
                        <a:pt x="42" y="70"/>
                      </a:cubicBezTo>
                      <a:cubicBezTo>
                        <a:pt x="42" y="69"/>
                        <a:pt x="42" y="68"/>
                        <a:pt x="42" y="67"/>
                      </a:cubicBezTo>
                      <a:close/>
                    </a:path>
                  </a:pathLst>
                </a:custGeom>
                <a:solidFill>
                  <a:srgbClr val="FDD9A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89" name="任意多边形: 形状 88">
                  <a:extLst>
                    <a:ext uri="{FF2B5EF4-FFF2-40B4-BE49-F238E27FC236}">
                      <a16:creationId xmlns:a16="http://schemas.microsoft.com/office/drawing/2014/main" id="{7C843B15-26D8-4140-8610-DD202D8DF53A}"/>
                    </a:ext>
                  </a:extLst>
                </p:cNvPr>
                <p:cNvSpPr/>
                <p:nvPr/>
              </p:nvSpPr>
              <p:spPr bwMode="auto">
                <a:xfrm>
                  <a:off x="6074161" y="3205456"/>
                  <a:ext cx="49213" cy="93663"/>
                </a:xfrm>
                <a:custGeom>
                  <a:avLst/>
                  <a:gdLst>
                    <a:gd name="T0" fmla="*/ 15 w 15"/>
                    <a:gd name="T1" fmla="*/ 23 h 28"/>
                    <a:gd name="T2" fmla="*/ 8 w 15"/>
                    <a:gd name="T3" fmla="*/ 0 h 28"/>
                    <a:gd name="T4" fmla="*/ 8 w 15"/>
                    <a:gd name="T5" fmla="*/ 0 h 28"/>
                    <a:gd name="T6" fmla="*/ 0 w 15"/>
                    <a:gd name="T7" fmla="*/ 23 h 28"/>
                    <a:gd name="T8" fmla="*/ 0 w 15"/>
                    <a:gd name="T9" fmla="*/ 24 h 28"/>
                    <a:gd name="T10" fmla="*/ 2 w 15"/>
                    <a:gd name="T11" fmla="*/ 27 h 28"/>
                    <a:gd name="T12" fmla="*/ 8 w 15"/>
                    <a:gd name="T13" fmla="*/ 28 h 28"/>
                    <a:gd name="T14" fmla="*/ 13 w 15"/>
                    <a:gd name="T15" fmla="*/ 27 h 28"/>
                    <a:gd name="T16" fmla="*/ 15 w 15"/>
                    <a:gd name="T17" fmla="*/ 24 h 28"/>
                    <a:gd name="T18" fmla="*/ 15 w 15"/>
                    <a:gd name="T19" fmla="*/ 23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28">
                      <a:moveTo>
                        <a:pt x="15" y="23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5"/>
                        <a:pt x="1" y="26"/>
                        <a:pt x="2" y="27"/>
                      </a:cubicBezTo>
                      <a:cubicBezTo>
                        <a:pt x="4" y="28"/>
                        <a:pt x="6" y="28"/>
                        <a:pt x="8" y="28"/>
                      </a:cubicBezTo>
                      <a:cubicBezTo>
                        <a:pt x="9" y="28"/>
                        <a:pt x="11" y="27"/>
                        <a:pt x="13" y="27"/>
                      </a:cubicBezTo>
                      <a:cubicBezTo>
                        <a:pt x="14" y="26"/>
                        <a:pt x="15" y="25"/>
                        <a:pt x="15" y="24"/>
                      </a:cubicBezTo>
                      <a:lnTo>
                        <a:pt x="15" y="23"/>
                      </a:lnTo>
                      <a:close/>
                    </a:path>
                  </a:pathLst>
                </a:custGeom>
                <a:solidFill>
                  <a:srgbClr val="C017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0" name="任意多边形: 形状 89">
                  <a:extLst>
                    <a:ext uri="{FF2B5EF4-FFF2-40B4-BE49-F238E27FC236}">
                      <a16:creationId xmlns:a16="http://schemas.microsoft.com/office/drawing/2014/main" id="{703A014A-5DF9-4E7B-A9ED-F65009BFAF70}"/>
                    </a:ext>
                  </a:extLst>
                </p:cNvPr>
                <p:cNvSpPr/>
                <p:nvPr/>
              </p:nvSpPr>
              <p:spPr bwMode="auto">
                <a:xfrm>
                  <a:off x="6429761" y="3434056"/>
                  <a:ext cx="155575" cy="1096963"/>
                </a:xfrm>
                <a:custGeom>
                  <a:avLst/>
                  <a:gdLst>
                    <a:gd name="T0" fmla="*/ 26 w 47"/>
                    <a:gd name="T1" fmla="*/ 0 h 333"/>
                    <a:gd name="T2" fmla="*/ 4 w 47"/>
                    <a:gd name="T3" fmla="*/ 0 h 333"/>
                    <a:gd name="T4" fmla="*/ 0 w 47"/>
                    <a:gd name="T5" fmla="*/ 320 h 333"/>
                    <a:gd name="T6" fmla="*/ 6 w 47"/>
                    <a:gd name="T7" fmla="*/ 328 h 333"/>
                    <a:gd name="T8" fmla="*/ 26 w 47"/>
                    <a:gd name="T9" fmla="*/ 332 h 333"/>
                    <a:gd name="T10" fmla="*/ 37 w 47"/>
                    <a:gd name="T11" fmla="*/ 329 h 333"/>
                    <a:gd name="T12" fmla="*/ 43 w 47"/>
                    <a:gd name="T13" fmla="*/ 320 h 333"/>
                    <a:gd name="T14" fmla="*/ 47 w 47"/>
                    <a:gd name="T15" fmla="*/ 1 h 333"/>
                    <a:gd name="T16" fmla="*/ 26 w 47"/>
                    <a:gd name="T17" fmla="*/ 0 h 3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7" h="333">
                      <a:moveTo>
                        <a:pt x="2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320"/>
                        <a:pt x="0" y="320"/>
                        <a:pt x="0" y="320"/>
                      </a:cubicBezTo>
                      <a:cubicBezTo>
                        <a:pt x="0" y="323"/>
                        <a:pt x="2" y="326"/>
                        <a:pt x="6" y="328"/>
                      </a:cubicBezTo>
                      <a:cubicBezTo>
                        <a:pt x="12" y="332"/>
                        <a:pt x="19" y="333"/>
                        <a:pt x="26" y="332"/>
                      </a:cubicBezTo>
                      <a:cubicBezTo>
                        <a:pt x="30" y="331"/>
                        <a:pt x="34" y="330"/>
                        <a:pt x="37" y="329"/>
                      </a:cubicBezTo>
                      <a:cubicBezTo>
                        <a:pt x="41" y="326"/>
                        <a:pt x="43" y="323"/>
                        <a:pt x="43" y="320"/>
                      </a:cubicBezTo>
                      <a:cubicBezTo>
                        <a:pt x="47" y="1"/>
                        <a:pt x="47" y="1"/>
                        <a:pt x="47" y="1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9F1D16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1" name="任意多边形: 形状 90">
                  <a:extLst>
                    <a:ext uri="{FF2B5EF4-FFF2-40B4-BE49-F238E27FC236}">
                      <a16:creationId xmlns:a16="http://schemas.microsoft.com/office/drawing/2014/main" id="{011C6672-F8D0-439C-8D47-76D900982F19}"/>
                    </a:ext>
                  </a:extLst>
                </p:cNvPr>
                <p:cNvSpPr/>
                <p:nvPr/>
              </p:nvSpPr>
              <p:spPr bwMode="auto">
                <a:xfrm>
                  <a:off x="6444049" y="3205456"/>
                  <a:ext cx="141288" cy="271463"/>
                </a:xfrm>
                <a:custGeom>
                  <a:avLst/>
                  <a:gdLst>
                    <a:gd name="T0" fmla="*/ 43 w 43"/>
                    <a:gd name="T1" fmla="*/ 67 h 82"/>
                    <a:gd name="T2" fmla="*/ 22 w 43"/>
                    <a:gd name="T3" fmla="*/ 0 h 82"/>
                    <a:gd name="T4" fmla="*/ 22 w 43"/>
                    <a:gd name="T5" fmla="*/ 0 h 82"/>
                    <a:gd name="T6" fmla="*/ 1 w 43"/>
                    <a:gd name="T7" fmla="*/ 67 h 82"/>
                    <a:gd name="T8" fmla="*/ 0 w 43"/>
                    <a:gd name="T9" fmla="*/ 69 h 82"/>
                    <a:gd name="T10" fmla="*/ 6 w 43"/>
                    <a:gd name="T11" fmla="*/ 78 h 82"/>
                    <a:gd name="T12" fmla="*/ 22 w 43"/>
                    <a:gd name="T13" fmla="*/ 82 h 82"/>
                    <a:gd name="T14" fmla="*/ 37 w 43"/>
                    <a:gd name="T15" fmla="*/ 78 h 82"/>
                    <a:gd name="T16" fmla="*/ 43 w 43"/>
                    <a:gd name="T17" fmla="*/ 70 h 82"/>
                    <a:gd name="T18" fmla="*/ 43 w 43"/>
                    <a:gd name="T19" fmla="*/ 67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" h="82">
                      <a:moveTo>
                        <a:pt x="43" y="67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1" y="67"/>
                        <a:pt x="1" y="67"/>
                        <a:pt x="1" y="67"/>
                      </a:cubicBezTo>
                      <a:cubicBezTo>
                        <a:pt x="0" y="68"/>
                        <a:pt x="0" y="68"/>
                        <a:pt x="0" y="69"/>
                      </a:cubicBezTo>
                      <a:cubicBezTo>
                        <a:pt x="0" y="72"/>
                        <a:pt x="2" y="76"/>
                        <a:pt x="6" y="78"/>
                      </a:cubicBezTo>
                      <a:cubicBezTo>
                        <a:pt x="11" y="81"/>
                        <a:pt x="16" y="82"/>
                        <a:pt x="22" y="82"/>
                      </a:cubicBezTo>
                      <a:cubicBezTo>
                        <a:pt x="27" y="82"/>
                        <a:pt x="33" y="81"/>
                        <a:pt x="37" y="78"/>
                      </a:cubicBezTo>
                      <a:cubicBezTo>
                        <a:pt x="41" y="76"/>
                        <a:pt x="43" y="73"/>
                        <a:pt x="43" y="70"/>
                      </a:cubicBezTo>
                      <a:cubicBezTo>
                        <a:pt x="43" y="69"/>
                        <a:pt x="43" y="68"/>
                        <a:pt x="43" y="67"/>
                      </a:cubicBezTo>
                      <a:close/>
                    </a:path>
                  </a:pathLst>
                </a:custGeom>
                <a:solidFill>
                  <a:srgbClr val="FDD9A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2" name="任意多边形: 形状 91">
                  <a:extLst>
                    <a:ext uri="{FF2B5EF4-FFF2-40B4-BE49-F238E27FC236}">
                      <a16:creationId xmlns:a16="http://schemas.microsoft.com/office/drawing/2014/main" id="{CB5148FC-CBCB-4FED-AB08-61FBDC611736}"/>
                    </a:ext>
                  </a:extLst>
                </p:cNvPr>
                <p:cNvSpPr/>
                <p:nvPr/>
              </p:nvSpPr>
              <p:spPr bwMode="auto">
                <a:xfrm>
                  <a:off x="6493261" y="3205456"/>
                  <a:ext cx="46038" cy="93663"/>
                </a:xfrm>
                <a:custGeom>
                  <a:avLst/>
                  <a:gdLst>
                    <a:gd name="T0" fmla="*/ 14 w 14"/>
                    <a:gd name="T1" fmla="*/ 23 h 28"/>
                    <a:gd name="T2" fmla="*/ 7 w 14"/>
                    <a:gd name="T3" fmla="*/ 0 h 28"/>
                    <a:gd name="T4" fmla="*/ 7 w 14"/>
                    <a:gd name="T5" fmla="*/ 0 h 28"/>
                    <a:gd name="T6" fmla="*/ 0 w 14"/>
                    <a:gd name="T7" fmla="*/ 23 h 28"/>
                    <a:gd name="T8" fmla="*/ 0 w 14"/>
                    <a:gd name="T9" fmla="*/ 24 h 28"/>
                    <a:gd name="T10" fmla="*/ 2 w 14"/>
                    <a:gd name="T11" fmla="*/ 27 h 28"/>
                    <a:gd name="T12" fmla="*/ 7 w 14"/>
                    <a:gd name="T13" fmla="*/ 28 h 28"/>
                    <a:gd name="T14" fmla="*/ 12 w 14"/>
                    <a:gd name="T15" fmla="*/ 27 h 28"/>
                    <a:gd name="T16" fmla="*/ 14 w 14"/>
                    <a:gd name="T17" fmla="*/ 24 h 28"/>
                    <a:gd name="T18" fmla="*/ 14 w 14"/>
                    <a:gd name="T19" fmla="*/ 23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4" h="28">
                      <a:moveTo>
                        <a:pt x="14" y="23"/>
                      </a:move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7" y="0"/>
                        <a:pt x="7" y="0"/>
                        <a:pt x="7" y="0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5"/>
                        <a:pt x="0" y="26"/>
                        <a:pt x="2" y="27"/>
                      </a:cubicBezTo>
                      <a:cubicBezTo>
                        <a:pt x="3" y="28"/>
                        <a:pt x="5" y="28"/>
                        <a:pt x="7" y="28"/>
                      </a:cubicBezTo>
                      <a:cubicBezTo>
                        <a:pt x="9" y="28"/>
                        <a:pt x="11" y="27"/>
                        <a:pt x="12" y="27"/>
                      </a:cubicBezTo>
                      <a:cubicBezTo>
                        <a:pt x="14" y="26"/>
                        <a:pt x="14" y="25"/>
                        <a:pt x="14" y="24"/>
                      </a:cubicBezTo>
                      <a:lnTo>
                        <a:pt x="14" y="23"/>
                      </a:lnTo>
                      <a:close/>
                    </a:path>
                  </a:pathLst>
                </a:custGeom>
                <a:solidFill>
                  <a:srgbClr val="C01718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3" name="任意多边形: 形状 92">
                  <a:extLst>
                    <a:ext uri="{FF2B5EF4-FFF2-40B4-BE49-F238E27FC236}">
                      <a16:creationId xmlns:a16="http://schemas.microsoft.com/office/drawing/2014/main" id="{65EB8912-7AC3-4754-8BF4-39BFC55FF471}"/>
                    </a:ext>
                  </a:extLst>
                </p:cNvPr>
                <p:cNvSpPr/>
                <p:nvPr/>
              </p:nvSpPr>
              <p:spPr bwMode="auto">
                <a:xfrm>
                  <a:off x="6212274" y="3538831"/>
                  <a:ext cx="155575" cy="1093788"/>
                </a:xfrm>
                <a:custGeom>
                  <a:avLst/>
                  <a:gdLst>
                    <a:gd name="T0" fmla="*/ 26 w 47"/>
                    <a:gd name="T1" fmla="*/ 0 h 332"/>
                    <a:gd name="T2" fmla="*/ 4 w 47"/>
                    <a:gd name="T3" fmla="*/ 0 h 332"/>
                    <a:gd name="T4" fmla="*/ 0 w 47"/>
                    <a:gd name="T5" fmla="*/ 319 h 332"/>
                    <a:gd name="T6" fmla="*/ 6 w 47"/>
                    <a:gd name="T7" fmla="*/ 328 h 332"/>
                    <a:gd name="T8" fmla="*/ 26 w 47"/>
                    <a:gd name="T9" fmla="*/ 331 h 332"/>
                    <a:gd name="T10" fmla="*/ 36 w 47"/>
                    <a:gd name="T11" fmla="*/ 328 h 332"/>
                    <a:gd name="T12" fmla="*/ 43 w 47"/>
                    <a:gd name="T13" fmla="*/ 320 h 332"/>
                    <a:gd name="T14" fmla="*/ 47 w 47"/>
                    <a:gd name="T15" fmla="*/ 0 h 332"/>
                    <a:gd name="T16" fmla="*/ 26 w 47"/>
                    <a:gd name="T17" fmla="*/ 0 h 3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7" h="332">
                      <a:moveTo>
                        <a:pt x="2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0" y="319"/>
                        <a:pt x="0" y="319"/>
                        <a:pt x="0" y="319"/>
                      </a:cubicBezTo>
                      <a:cubicBezTo>
                        <a:pt x="0" y="322"/>
                        <a:pt x="2" y="326"/>
                        <a:pt x="6" y="328"/>
                      </a:cubicBezTo>
                      <a:cubicBezTo>
                        <a:pt x="12" y="331"/>
                        <a:pt x="19" y="332"/>
                        <a:pt x="26" y="331"/>
                      </a:cubicBezTo>
                      <a:cubicBezTo>
                        <a:pt x="30" y="331"/>
                        <a:pt x="33" y="330"/>
                        <a:pt x="36" y="328"/>
                      </a:cubicBezTo>
                      <a:cubicBezTo>
                        <a:pt x="41" y="326"/>
                        <a:pt x="43" y="323"/>
                        <a:pt x="43" y="320"/>
                      </a:cubicBezTo>
                      <a:cubicBezTo>
                        <a:pt x="47" y="0"/>
                        <a:pt x="47" y="0"/>
                        <a:pt x="47" y="0"/>
                      </a:cubicBezTo>
                      <a:lnTo>
                        <a:pt x="26" y="0"/>
                      </a:lnTo>
                      <a:close/>
                    </a:path>
                  </a:pathLst>
                </a:custGeom>
                <a:solidFill>
                  <a:srgbClr val="FFC4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4" name="任意多边形: 形状 93">
                  <a:extLst>
                    <a:ext uri="{FF2B5EF4-FFF2-40B4-BE49-F238E27FC236}">
                      <a16:creationId xmlns:a16="http://schemas.microsoft.com/office/drawing/2014/main" id="{6EC17F42-45B3-4A5E-8CDC-DAD0CBD0578F}"/>
                    </a:ext>
                  </a:extLst>
                </p:cNvPr>
                <p:cNvSpPr/>
                <p:nvPr/>
              </p:nvSpPr>
              <p:spPr bwMode="auto">
                <a:xfrm>
                  <a:off x="6224974" y="3311818"/>
                  <a:ext cx="142875" cy="266700"/>
                </a:xfrm>
                <a:custGeom>
                  <a:avLst/>
                  <a:gdLst>
                    <a:gd name="T0" fmla="*/ 42 w 43"/>
                    <a:gd name="T1" fmla="*/ 67 h 81"/>
                    <a:gd name="T2" fmla="*/ 22 w 43"/>
                    <a:gd name="T3" fmla="*/ 0 h 81"/>
                    <a:gd name="T4" fmla="*/ 22 w 43"/>
                    <a:gd name="T5" fmla="*/ 0 h 81"/>
                    <a:gd name="T6" fmla="*/ 0 w 43"/>
                    <a:gd name="T7" fmla="*/ 67 h 81"/>
                    <a:gd name="T8" fmla="*/ 0 w 43"/>
                    <a:gd name="T9" fmla="*/ 69 h 81"/>
                    <a:gd name="T10" fmla="*/ 6 w 43"/>
                    <a:gd name="T11" fmla="*/ 78 h 81"/>
                    <a:gd name="T12" fmla="*/ 22 w 43"/>
                    <a:gd name="T13" fmla="*/ 81 h 81"/>
                    <a:gd name="T14" fmla="*/ 36 w 43"/>
                    <a:gd name="T15" fmla="*/ 78 h 81"/>
                    <a:gd name="T16" fmla="*/ 43 w 43"/>
                    <a:gd name="T17" fmla="*/ 69 h 81"/>
                    <a:gd name="T18" fmla="*/ 42 w 43"/>
                    <a:gd name="T19" fmla="*/ 67 h 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43" h="81">
                      <a:moveTo>
                        <a:pt x="42" y="67"/>
                      </a:move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22" y="0"/>
                        <a:pt x="22" y="0"/>
                        <a:pt x="22" y="0"/>
                      </a:cubicBezTo>
                      <a:cubicBezTo>
                        <a:pt x="0" y="67"/>
                        <a:pt x="0" y="67"/>
                        <a:pt x="0" y="67"/>
                      </a:cubicBezTo>
                      <a:cubicBezTo>
                        <a:pt x="0" y="67"/>
                        <a:pt x="0" y="68"/>
                        <a:pt x="0" y="69"/>
                      </a:cubicBezTo>
                      <a:cubicBezTo>
                        <a:pt x="0" y="72"/>
                        <a:pt x="2" y="75"/>
                        <a:pt x="6" y="78"/>
                      </a:cubicBezTo>
                      <a:cubicBezTo>
                        <a:pt x="10" y="80"/>
                        <a:pt x="16" y="81"/>
                        <a:pt x="22" y="81"/>
                      </a:cubicBezTo>
                      <a:cubicBezTo>
                        <a:pt x="27" y="81"/>
                        <a:pt x="32" y="80"/>
                        <a:pt x="36" y="78"/>
                      </a:cubicBezTo>
                      <a:cubicBezTo>
                        <a:pt x="41" y="76"/>
                        <a:pt x="43" y="72"/>
                        <a:pt x="43" y="69"/>
                      </a:cubicBezTo>
                      <a:cubicBezTo>
                        <a:pt x="43" y="69"/>
                        <a:pt x="43" y="68"/>
                        <a:pt x="42" y="67"/>
                      </a:cubicBezTo>
                      <a:close/>
                    </a:path>
                  </a:pathLst>
                </a:custGeom>
                <a:solidFill>
                  <a:srgbClr val="FDD9A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5" name="任意多边形: 形状 94">
                  <a:extLst>
                    <a:ext uri="{FF2B5EF4-FFF2-40B4-BE49-F238E27FC236}">
                      <a16:creationId xmlns:a16="http://schemas.microsoft.com/office/drawing/2014/main" id="{51B81D5C-2B51-4517-A5DA-E13EAA561732}"/>
                    </a:ext>
                  </a:extLst>
                </p:cNvPr>
                <p:cNvSpPr/>
                <p:nvPr/>
              </p:nvSpPr>
              <p:spPr bwMode="auto">
                <a:xfrm>
                  <a:off x="6271011" y="3308643"/>
                  <a:ext cx="50800" cy="95250"/>
                </a:xfrm>
                <a:custGeom>
                  <a:avLst/>
                  <a:gdLst>
                    <a:gd name="T0" fmla="*/ 15 w 15"/>
                    <a:gd name="T1" fmla="*/ 24 h 29"/>
                    <a:gd name="T2" fmla="*/ 8 w 15"/>
                    <a:gd name="T3" fmla="*/ 0 h 29"/>
                    <a:gd name="T4" fmla="*/ 8 w 15"/>
                    <a:gd name="T5" fmla="*/ 0 h 29"/>
                    <a:gd name="T6" fmla="*/ 0 w 15"/>
                    <a:gd name="T7" fmla="*/ 23 h 29"/>
                    <a:gd name="T8" fmla="*/ 0 w 15"/>
                    <a:gd name="T9" fmla="*/ 24 h 29"/>
                    <a:gd name="T10" fmla="*/ 2 w 15"/>
                    <a:gd name="T11" fmla="*/ 27 h 29"/>
                    <a:gd name="T12" fmla="*/ 8 w 15"/>
                    <a:gd name="T13" fmla="*/ 29 h 29"/>
                    <a:gd name="T14" fmla="*/ 13 w 15"/>
                    <a:gd name="T15" fmla="*/ 27 h 29"/>
                    <a:gd name="T16" fmla="*/ 15 w 15"/>
                    <a:gd name="T17" fmla="*/ 24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29">
                      <a:moveTo>
                        <a:pt x="15" y="24"/>
                      </a:move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8" y="0"/>
                        <a:pt x="8" y="0"/>
                        <a:pt x="8" y="0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0" y="24"/>
                        <a:pt x="0" y="24"/>
                        <a:pt x="0" y="24"/>
                      </a:cubicBezTo>
                      <a:cubicBezTo>
                        <a:pt x="0" y="25"/>
                        <a:pt x="1" y="26"/>
                        <a:pt x="2" y="27"/>
                      </a:cubicBezTo>
                      <a:cubicBezTo>
                        <a:pt x="4" y="28"/>
                        <a:pt x="6" y="29"/>
                        <a:pt x="8" y="29"/>
                      </a:cubicBezTo>
                      <a:cubicBezTo>
                        <a:pt x="10" y="29"/>
                        <a:pt x="12" y="28"/>
                        <a:pt x="13" y="27"/>
                      </a:cubicBezTo>
                      <a:cubicBezTo>
                        <a:pt x="14" y="27"/>
                        <a:pt x="15" y="25"/>
                        <a:pt x="15" y="24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6" name="任意多边形: 形状 95">
                  <a:extLst>
                    <a:ext uri="{FF2B5EF4-FFF2-40B4-BE49-F238E27FC236}">
                      <a16:creationId xmlns:a16="http://schemas.microsoft.com/office/drawing/2014/main" id="{D35CEB4D-6ACA-4D2F-A46C-197C10CE9CF5}"/>
                    </a:ext>
                  </a:extLst>
                </p:cNvPr>
                <p:cNvSpPr/>
                <p:nvPr/>
              </p:nvSpPr>
              <p:spPr bwMode="auto">
                <a:xfrm>
                  <a:off x="5885249" y="3611856"/>
                  <a:ext cx="773113" cy="242888"/>
                </a:xfrm>
                <a:custGeom>
                  <a:avLst/>
                  <a:gdLst>
                    <a:gd name="T0" fmla="*/ 34 w 234"/>
                    <a:gd name="T1" fmla="*/ 48 h 74"/>
                    <a:gd name="T2" fmla="*/ 200 w 234"/>
                    <a:gd name="T3" fmla="*/ 48 h 74"/>
                    <a:gd name="T4" fmla="*/ 234 w 234"/>
                    <a:gd name="T5" fmla="*/ 0 h 74"/>
                    <a:gd name="T6" fmla="*/ 225 w 234"/>
                    <a:gd name="T7" fmla="*/ 0 h 74"/>
                    <a:gd name="T8" fmla="*/ 194 w 234"/>
                    <a:gd name="T9" fmla="*/ 44 h 74"/>
                    <a:gd name="T10" fmla="*/ 40 w 234"/>
                    <a:gd name="T11" fmla="*/ 44 h 74"/>
                    <a:gd name="T12" fmla="*/ 9 w 234"/>
                    <a:gd name="T13" fmla="*/ 0 h 74"/>
                    <a:gd name="T14" fmla="*/ 0 w 234"/>
                    <a:gd name="T15" fmla="*/ 0 h 74"/>
                    <a:gd name="T16" fmla="*/ 0 w 234"/>
                    <a:gd name="T17" fmla="*/ 0 h 74"/>
                    <a:gd name="T18" fmla="*/ 34 w 234"/>
                    <a:gd name="T1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4" h="74">
                      <a:moveTo>
                        <a:pt x="34" y="48"/>
                      </a:moveTo>
                      <a:cubicBezTo>
                        <a:pt x="80" y="74"/>
                        <a:pt x="154" y="74"/>
                        <a:pt x="200" y="48"/>
                      </a:cubicBezTo>
                      <a:cubicBezTo>
                        <a:pt x="222" y="35"/>
                        <a:pt x="234" y="17"/>
                        <a:pt x="234" y="0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25" y="16"/>
                        <a:pt x="215" y="32"/>
                        <a:pt x="194" y="44"/>
                      </a:cubicBezTo>
                      <a:cubicBezTo>
                        <a:pt x="151" y="69"/>
                        <a:pt x="83" y="69"/>
                        <a:pt x="40" y="44"/>
                      </a:cubicBezTo>
                      <a:cubicBezTo>
                        <a:pt x="19" y="32"/>
                        <a:pt x="9" y="16"/>
                        <a:pt x="9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7"/>
                        <a:pt x="11" y="35"/>
                        <a:pt x="34" y="48"/>
                      </a:cubicBezTo>
                      <a:close/>
                    </a:path>
                  </a:pathLst>
                </a:custGeom>
                <a:solidFill>
                  <a:srgbClr val="36529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 fontScale="25000" lnSpcReduction="20000"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97" name="任意多边形: 形状 96">
                  <a:extLst>
                    <a:ext uri="{FF2B5EF4-FFF2-40B4-BE49-F238E27FC236}">
                      <a16:creationId xmlns:a16="http://schemas.microsoft.com/office/drawing/2014/main" id="{F40ED8E6-9230-4BBD-AD4F-CABF41E5B7C2}"/>
                    </a:ext>
                  </a:extLst>
                </p:cNvPr>
                <p:cNvSpPr/>
                <p:nvPr/>
              </p:nvSpPr>
              <p:spPr bwMode="auto">
                <a:xfrm>
                  <a:off x="5885249" y="3611856"/>
                  <a:ext cx="773113" cy="1100138"/>
                </a:xfrm>
                <a:custGeom>
                  <a:avLst/>
                  <a:gdLst>
                    <a:gd name="T0" fmla="*/ 200 w 234"/>
                    <a:gd name="T1" fmla="*/ 48 h 334"/>
                    <a:gd name="T2" fmla="*/ 149 w 234"/>
                    <a:gd name="T3" fmla="*/ 65 h 334"/>
                    <a:gd name="T4" fmla="*/ 136 w 234"/>
                    <a:gd name="T5" fmla="*/ 67 h 334"/>
                    <a:gd name="T6" fmla="*/ 34 w 234"/>
                    <a:gd name="T7" fmla="*/ 48 h 334"/>
                    <a:gd name="T8" fmla="*/ 0 w 234"/>
                    <a:gd name="T9" fmla="*/ 0 h 334"/>
                    <a:gd name="T10" fmla="*/ 0 w 234"/>
                    <a:gd name="T11" fmla="*/ 264 h 334"/>
                    <a:gd name="T12" fmla="*/ 34 w 234"/>
                    <a:gd name="T13" fmla="*/ 312 h 334"/>
                    <a:gd name="T14" fmla="*/ 136 w 234"/>
                    <a:gd name="T15" fmla="*/ 330 h 334"/>
                    <a:gd name="T16" fmla="*/ 149 w 234"/>
                    <a:gd name="T17" fmla="*/ 329 h 334"/>
                    <a:gd name="T18" fmla="*/ 200 w 234"/>
                    <a:gd name="T19" fmla="*/ 312 h 334"/>
                    <a:gd name="T20" fmla="*/ 234 w 234"/>
                    <a:gd name="T21" fmla="*/ 264 h 334"/>
                    <a:gd name="T22" fmla="*/ 234 w 234"/>
                    <a:gd name="T23" fmla="*/ 0 h 334"/>
                    <a:gd name="T24" fmla="*/ 200 w 234"/>
                    <a:gd name="T25" fmla="*/ 48 h 3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34" h="334">
                      <a:moveTo>
                        <a:pt x="200" y="48"/>
                      </a:moveTo>
                      <a:cubicBezTo>
                        <a:pt x="185" y="56"/>
                        <a:pt x="167" y="62"/>
                        <a:pt x="149" y="65"/>
                      </a:cubicBezTo>
                      <a:cubicBezTo>
                        <a:pt x="145" y="66"/>
                        <a:pt x="140" y="66"/>
                        <a:pt x="136" y="67"/>
                      </a:cubicBezTo>
                      <a:cubicBezTo>
                        <a:pt x="100" y="70"/>
                        <a:pt x="62" y="64"/>
                        <a:pt x="34" y="48"/>
                      </a:cubicBezTo>
                      <a:cubicBezTo>
                        <a:pt x="11" y="35"/>
                        <a:pt x="0" y="17"/>
                        <a:pt x="0" y="0"/>
                      </a:cubicBezTo>
                      <a:cubicBezTo>
                        <a:pt x="0" y="264"/>
                        <a:pt x="0" y="264"/>
                        <a:pt x="0" y="264"/>
                      </a:cubicBezTo>
                      <a:cubicBezTo>
                        <a:pt x="0" y="281"/>
                        <a:pt x="11" y="298"/>
                        <a:pt x="34" y="312"/>
                      </a:cubicBezTo>
                      <a:cubicBezTo>
                        <a:pt x="62" y="328"/>
                        <a:pt x="100" y="334"/>
                        <a:pt x="136" y="330"/>
                      </a:cubicBezTo>
                      <a:cubicBezTo>
                        <a:pt x="140" y="330"/>
                        <a:pt x="145" y="330"/>
                        <a:pt x="149" y="329"/>
                      </a:cubicBezTo>
                      <a:cubicBezTo>
                        <a:pt x="167" y="326"/>
                        <a:pt x="185" y="320"/>
                        <a:pt x="200" y="312"/>
                      </a:cubicBezTo>
                      <a:cubicBezTo>
                        <a:pt x="222" y="298"/>
                        <a:pt x="234" y="281"/>
                        <a:pt x="234" y="264"/>
                      </a:cubicBezTo>
                      <a:cubicBezTo>
                        <a:pt x="234" y="0"/>
                        <a:pt x="234" y="0"/>
                        <a:pt x="234" y="0"/>
                      </a:cubicBezTo>
                      <a:cubicBezTo>
                        <a:pt x="234" y="17"/>
                        <a:pt x="222" y="35"/>
                        <a:pt x="200" y="48"/>
                      </a:cubicBezTo>
                      <a:close/>
                    </a:path>
                  </a:pathLst>
                </a:custGeom>
                <a:solidFill>
                  <a:srgbClr val="29346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88FB4CD-F0B5-46F4-82A6-27E237D63434}"/>
                </a:ext>
              </a:extLst>
            </p:cNvPr>
            <p:cNvGrpSpPr/>
            <p:nvPr/>
          </p:nvGrpSpPr>
          <p:grpSpPr>
            <a:xfrm>
              <a:off x="660400" y="3866341"/>
              <a:ext cx="3689659" cy="2267759"/>
              <a:chOff x="660400" y="3866341"/>
              <a:chExt cx="3689659" cy="2267759"/>
            </a:xfrm>
          </p:grpSpPr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7F1E8101-8EF9-43CD-8299-19484EA28B22}"/>
                  </a:ext>
                </a:extLst>
              </p:cNvPr>
              <p:cNvGrpSpPr/>
              <p:nvPr/>
            </p:nvGrpSpPr>
            <p:grpSpPr>
              <a:xfrm>
                <a:off x="1338051" y="3866341"/>
                <a:ext cx="3012008" cy="2267759"/>
                <a:chOff x="1338050" y="3866341"/>
                <a:chExt cx="3154051" cy="2267759"/>
              </a:xfrm>
            </p:grpSpPr>
            <p:sp>
              <p:nvSpPr>
                <p:cNvPr id="18" name="矩形 17">
                  <a:extLst>
                    <a:ext uri="{FF2B5EF4-FFF2-40B4-BE49-F238E27FC236}">
                      <a16:creationId xmlns:a16="http://schemas.microsoft.com/office/drawing/2014/main" id="{33C78265-74E5-4402-8318-52333A355D35}"/>
                    </a:ext>
                  </a:extLst>
                </p:cNvPr>
                <p:cNvSpPr/>
                <p:nvPr/>
              </p:nvSpPr>
              <p:spPr bwMode="auto">
                <a:xfrm>
                  <a:off x="1338050" y="4422446"/>
                  <a:ext cx="3154051" cy="17116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144764A9-E64C-4F87-A468-EE1D0B231437}"/>
                    </a:ext>
                  </a:extLst>
                </p:cNvPr>
                <p:cNvSpPr txBox="1"/>
                <p:nvPr/>
              </p:nvSpPr>
              <p:spPr bwMode="auto">
                <a:xfrm>
                  <a:off x="1338050" y="3866341"/>
                  <a:ext cx="3154051" cy="5561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</a:pPr>
                  <a:r>
                    <a:rPr lang="en-US" altLang="zh-CN" b="1" dirty="0">
                      <a:cs typeface="+mn-ea"/>
                      <a:sym typeface="+mn-lt"/>
                    </a:rPr>
                    <a:t>01. …</a:t>
                  </a:r>
                  <a:r>
                    <a:rPr lang="zh-CN" altLang="en-US" b="1" dirty="0">
                      <a:cs typeface="+mn-ea"/>
                      <a:sym typeface="+mn-lt"/>
                    </a:rPr>
                    <a:t>要点</a:t>
                  </a:r>
                  <a:endParaRPr lang="en-US" altLang="zh-CN" b="1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B01C78CE-B098-4C42-B90C-9B9372D52D2B}"/>
                  </a:ext>
                </a:extLst>
              </p:cNvPr>
              <p:cNvSpPr/>
              <p:nvPr/>
            </p:nvSpPr>
            <p:spPr bwMode="auto">
              <a:xfrm>
                <a:off x="660400" y="4076166"/>
                <a:ext cx="495680" cy="547540"/>
              </a:xfrm>
              <a:custGeom>
                <a:avLst/>
                <a:gdLst>
                  <a:gd name="connsiteX0" fmla="*/ 485820 w 551045"/>
                  <a:gd name="connsiteY0" fmla="*/ 430096 h 608697"/>
                  <a:gd name="connsiteX1" fmla="*/ 550987 w 551045"/>
                  <a:gd name="connsiteY1" fmla="*/ 492317 h 608697"/>
                  <a:gd name="connsiteX2" fmla="*/ 551045 w 551045"/>
                  <a:gd name="connsiteY2" fmla="*/ 492490 h 608697"/>
                  <a:gd name="connsiteX3" fmla="*/ 550987 w 551045"/>
                  <a:gd name="connsiteY3" fmla="*/ 493813 h 608697"/>
                  <a:gd name="connsiteX4" fmla="*/ 551045 w 551045"/>
                  <a:gd name="connsiteY4" fmla="*/ 495193 h 608697"/>
                  <a:gd name="connsiteX5" fmla="*/ 485820 w 551045"/>
                  <a:gd name="connsiteY5" fmla="*/ 560289 h 608697"/>
                  <a:gd name="connsiteX6" fmla="*/ 421862 w 551045"/>
                  <a:gd name="connsiteY6" fmla="*/ 507902 h 608697"/>
                  <a:gd name="connsiteX7" fmla="*/ 420134 w 551045"/>
                  <a:gd name="connsiteY7" fmla="*/ 494560 h 608697"/>
                  <a:gd name="connsiteX8" fmla="*/ 422611 w 551045"/>
                  <a:gd name="connsiteY8" fmla="*/ 479034 h 608697"/>
                  <a:gd name="connsiteX9" fmla="*/ 485820 w 551045"/>
                  <a:gd name="connsiteY9" fmla="*/ 430096 h 608697"/>
                  <a:gd name="connsiteX10" fmla="*/ 485137 w 551045"/>
                  <a:gd name="connsiteY10" fmla="*/ 236253 h 608697"/>
                  <a:gd name="connsiteX11" fmla="*/ 551045 w 551045"/>
                  <a:gd name="connsiteY11" fmla="*/ 302055 h 608697"/>
                  <a:gd name="connsiteX12" fmla="*/ 485137 w 551045"/>
                  <a:gd name="connsiteY12" fmla="*/ 367857 h 608697"/>
                  <a:gd name="connsiteX13" fmla="*/ 419229 w 551045"/>
                  <a:gd name="connsiteY13" fmla="*/ 302055 h 608697"/>
                  <a:gd name="connsiteX14" fmla="*/ 485137 w 551045"/>
                  <a:gd name="connsiteY14" fmla="*/ 236253 h 608697"/>
                  <a:gd name="connsiteX15" fmla="*/ 45513 w 551045"/>
                  <a:gd name="connsiteY15" fmla="*/ 160819 h 608697"/>
                  <a:gd name="connsiteX16" fmla="*/ 62048 w 551045"/>
                  <a:gd name="connsiteY16" fmla="*/ 160819 h 608697"/>
                  <a:gd name="connsiteX17" fmla="*/ 78583 w 551045"/>
                  <a:gd name="connsiteY17" fmla="*/ 243365 h 608697"/>
                  <a:gd name="connsiteX18" fmla="*/ 98228 w 551045"/>
                  <a:gd name="connsiteY18" fmla="*/ 243365 h 608697"/>
                  <a:gd name="connsiteX19" fmla="*/ 103356 w 551045"/>
                  <a:gd name="connsiteY19" fmla="*/ 187625 h 608697"/>
                  <a:gd name="connsiteX20" fmla="*/ 102722 w 551045"/>
                  <a:gd name="connsiteY20" fmla="*/ 184634 h 608697"/>
                  <a:gd name="connsiteX21" fmla="*/ 94368 w 551045"/>
                  <a:gd name="connsiteY21" fmla="*/ 163293 h 608697"/>
                  <a:gd name="connsiteX22" fmla="*/ 93331 w 551045"/>
                  <a:gd name="connsiteY22" fmla="*/ 161107 h 608697"/>
                  <a:gd name="connsiteX23" fmla="*/ 93389 w 551045"/>
                  <a:gd name="connsiteY23" fmla="*/ 161107 h 608697"/>
                  <a:gd name="connsiteX24" fmla="*/ 93274 w 551045"/>
                  <a:gd name="connsiteY24" fmla="*/ 160819 h 608697"/>
                  <a:gd name="connsiteX25" fmla="*/ 137347 w 551045"/>
                  <a:gd name="connsiteY25" fmla="*/ 160819 h 608697"/>
                  <a:gd name="connsiteX26" fmla="*/ 137232 w 551045"/>
                  <a:gd name="connsiteY26" fmla="*/ 161107 h 608697"/>
                  <a:gd name="connsiteX27" fmla="*/ 137404 w 551045"/>
                  <a:gd name="connsiteY27" fmla="*/ 161107 h 608697"/>
                  <a:gd name="connsiteX28" fmla="*/ 136367 w 551045"/>
                  <a:gd name="connsiteY28" fmla="*/ 163293 h 608697"/>
                  <a:gd name="connsiteX29" fmla="*/ 127322 w 551045"/>
                  <a:gd name="connsiteY29" fmla="*/ 187913 h 608697"/>
                  <a:gd name="connsiteX30" fmla="*/ 132450 w 551045"/>
                  <a:gd name="connsiteY30" fmla="*/ 243365 h 608697"/>
                  <a:gd name="connsiteX31" fmla="*/ 152038 w 551045"/>
                  <a:gd name="connsiteY31" fmla="*/ 243365 h 608697"/>
                  <a:gd name="connsiteX32" fmla="*/ 168630 w 551045"/>
                  <a:gd name="connsiteY32" fmla="*/ 160819 h 608697"/>
                  <a:gd name="connsiteX33" fmla="*/ 185165 w 551045"/>
                  <a:gd name="connsiteY33" fmla="*/ 160819 h 608697"/>
                  <a:gd name="connsiteX34" fmla="*/ 230678 w 551045"/>
                  <a:gd name="connsiteY34" fmla="*/ 206263 h 608697"/>
                  <a:gd name="connsiteX35" fmla="*/ 230678 w 551045"/>
                  <a:gd name="connsiteY35" fmla="*/ 338682 h 608697"/>
                  <a:gd name="connsiteX36" fmla="*/ 185165 w 551045"/>
                  <a:gd name="connsiteY36" fmla="*/ 384125 h 608697"/>
                  <a:gd name="connsiteX37" fmla="*/ 179346 w 551045"/>
                  <a:gd name="connsiteY37" fmla="*/ 384125 h 608697"/>
                  <a:gd name="connsiteX38" fmla="*/ 179346 w 551045"/>
                  <a:gd name="connsiteY38" fmla="*/ 576599 h 608697"/>
                  <a:gd name="connsiteX39" fmla="*/ 147256 w 551045"/>
                  <a:gd name="connsiteY39" fmla="*/ 608697 h 608697"/>
                  <a:gd name="connsiteX40" fmla="*/ 115339 w 551045"/>
                  <a:gd name="connsiteY40" fmla="*/ 580223 h 608697"/>
                  <a:gd name="connsiteX41" fmla="*/ 83422 w 551045"/>
                  <a:gd name="connsiteY41" fmla="*/ 608697 h 608697"/>
                  <a:gd name="connsiteX42" fmla="*/ 51332 w 551045"/>
                  <a:gd name="connsiteY42" fmla="*/ 576599 h 608697"/>
                  <a:gd name="connsiteX43" fmla="*/ 51332 w 551045"/>
                  <a:gd name="connsiteY43" fmla="*/ 384125 h 608697"/>
                  <a:gd name="connsiteX44" fmla="*/ 45513 w 551045"/>
                  <a:gd name="connsiteY44" fmla="*/ 384125 h 608697"/>
                  <a:gd name="connsiteX45" fmla="*/ 0 w 551045"/>
                  <a:gd name="connsiteY45" fmla="*/ 338682 h 608697"/>
                  <a:gd name="connsiteX46" fmla="*/ 0 w 551045"/>
                  <a:gd name="connsiteY46" fmla="*/ 206263 h 608697"/>
                  <a:gd name="connsiteX47" fmla="*/ 45513 w 551045"/>
                  <a:gd name="connsiteY47" fmla="*/ 160819 h 608697"/>
                  <a:gd name="connsiteX48" fmla="*/ 400710 w 551045"/>
                  <a:gd name="connsiteY48" fmla="*/ 89618 h 608697"/>
                  <a:gd name="connsiteX49" fmla="*/ 400710 w 551045"/>
                  <a:gd name="connsiteY49" fmla="*/ 134086 h 608697"/>
                  <a:gd name="connsiteX50" fmla="*/ 355362 w 551045"/>
                  <a:gd name="connsiteY50" fmla="*/ 179359 h 608697"/>
                  <a:gd name="connsiteX51" fmla="*/ 355362 w 551045"/>
                  <a:gd name="connsiteY51" fmla="*/ 279857 h 608697"/>
                  <a:gd name="connsiteX52" fmla="*/ 401517 w 551045"/>
                  <a:gd name="connsiteY52" fmla="*/ 279857 h 608697"/>
                  <a:gd name="connsiteX53" fmla="*/ 401517 w 551045"/>
                  <a:gd name="connsiteY53" fmla="*/ 324325 h 608697"/>
                  <a:gd name="connsiteX54" fmla="*/ 355362 w 551045"/>
                  <a:gd name="connsiteY54" fmla="*/ 324325 h 608697"/>
                  <a:gd name="connsiteX55" fmla="*/ 355362 w 551045"/>
                  <a:gd name="connsiteY55" fmla="*/ 424823 h 608697"/>
                  <a:gd name="connsiteX56" fmla="*/ 400710 w 551045"/>
                  <a:gd name="connsiteY56" fmla="*/ 470038 h 608697"/>
                  <a:gd name="connsiteX57" fmla="*/ 400710 w 551045"/>
                  <a:gd name="connsiteY57" fmla="*/ 514563 h 608697"/>
                  <a:gd name="connsiteX58" fmla="*/ 310820 w 551045"/>
                  <a:gd name="connsiteY58" fmla="*/ 424823 h 608697"/>
                  <a:gd name="connsiteX59" fmla="*/ 310820 w 551045"/>
                  <a:gd name="connsiteY59" fmla="*/ 324325 h 608697"/>
                  <a:gd name="connsiteX60" fmla="*/ 270830 w 551045"/>
                  <a:gd name="connsiteY60" fmla="*/ 324325 h 608697"/>
                  <a:gd name="connsiteX61" fmla="*/ 270830 w 551045"/>
                  <a:gd name="connsiteY61" fmla="*/ 279857 h 608697"/>
                  <a:gd name="connsiteX62" fmla="*/ 310820 w 551045"/>
                  <a:gd name="connsiteY62" fmla="*/ 279857 h 608697"/>
                  <a:gd name="connsiteX63" fmla="*/ 310820 w 551045"/>
                  <a:gd name="connsiteY63" fmla="*/ 179359 h 608697"/>
                  <a:gd name="connsiteX64" fmla="*/ 400710 w 551045"/>
                  <a:gd name="connsiteY64" fmla="*/ 89618 h 608697"/>
                  <a:gd name="connsiteX65" fmla="*/ 487441 w 551045"/>
                  <a:gd name="connsiteY65" fmla="*/ 44033 h 608697"/>
                  <a:gd name="connsiteX66" fmla="*/ 487729 w 551045"/>
                  <a:gd name="connsiteY66" fmla="*/ 44148 h 608697"/>
                  <a:gd name="connsiteX67" fmla="*/ 550282 w 551045"/>
                  <a:gd name="connsiteY67" fmla="*/ 107206 h 608697"/>
                  <a:gd name="connsiteX68" fmla="*/ 550340 w 551045"/>
                  <a:gd name="connsiteY68" fmla="*/ 107897 h 608697"/>
                  <a:gd name="connsiteX69" fmla="*/ 550340 w 551045"/>
                  <a:gd name="connsiteY69" fmla="*/ 108760 h 608697"/>
                  <a:gd name="connsiteX70" fmla="*/ 550340 w 551045"/>
                  <a:gd name="connsiteY70" fmla="*/ 109220 h 608697"/>
                  <a:gd name="connsiteX71" fmla="*/ 550340 w 551045"/>
                  <a:gd name="connsiteY71" fmla="*/ 109680 h 608697"/>
                  <a:gd name="connsiteX72" fmla="*/ 550282 w 551045"/>
                  <a:gd name="connsiteY72" fmla="*/ 111867 h 608697"/>
                  <a:gd name="connsiteX73" fmla="*/ 550167 w 551045"/>
                  <a:gd name="connsiteY73" fmla="*/ 113420 h 608697"/>
                  <a:gd name="connsiteX74" fmla="*/ 550167 w 551045"/>
                  <a:gd name="connsiteY74" fmla="*/ 113938 h 608697"/>
                  <a:gd name="connsiteX75" fmla="*/ 485137 w 551045"/>
                  <a:gd name="connsiteY75" fmla="*/ 174349 h 608697"/>
                  <a:gd name="connsiteX76" fmla="*/ 484158 w 551045"/>
                  <a:gd name="connsiteY76" fmla="*/ 174292 h 608697"/>
                  <a:gd name="connsiteX77" fmla="*/ 467685 w 551045"/>
                  <a:gd name="connsiteY77" fmla="*/ 171933 h 608697"/>
                  <a:gd name="connsiteX78" fmla="*/ 419993 w 551045"/>
                  <a:gd name="connsiteY78" fmla="*/ 110428 h 608697"/>
                  <a:gd name="connsiteX79" fmla="*/ 419935 w 551045"/>
                  <a:gd name="connsiteY79" fmla="*/ 110083 h 608697"/>
                  <a:gd name="connsiteX80" fmla="*/ 419993 w 551045"/>
                  <a:gd name="connsiteY80" fmla="*/ 109680 h 608697"/>
                  <a:gd name="connsiteX81" fmla="*/ 419935 w 551045"/>
                  <a:gd name="connsiteY81" fmla="*/ 109220 h 608697"/>
                  <a:gd name="connsiteX82" fmla="*/ 419993 w 551045"/>
                  <a:gd name="connsiteY82" fmla="*/ 108530 h 608697"/>
                  <a:gd name="connsiteX83" fmla="*/ 419993 w 551045"/>
                  <a:gd name="connsiteY83" fmla="*/ 106516 h 608697"/>
                  <a:gd name="connsiteX84" fmla="*/ 485137 w 551045"/>
                  <a:gd name="connsiteY84" fmla="*/ 44090 h 608697"/>
                  <a:gd name="connsiteX85" fmla="*/ 486001 w 551045"/>
                  <a:gd name="connsiteY85" fmla="*/ 44090 h 608697"/>
                  <a:gd name="connsiteX86" fmla="*/ 487441 w 551045"/>
                  <a:gd name="connsiteY86" fmla="*/ 44033 h 608697"/>
                  <a:gd name="connsiteX87" fmla="*/ 114993 w 551045"/>
                  <a:gd name="connsiteY87" fmla="*/ 748 h 608697"/>
                  <a:gd name="connsiteX88" fmla="*/ 115281 w 551045"/>
                  <a:gd name="connsiteY88" fmla="*/ 748 h 608697"/>
                  <a:gd name="connsiteX89" fmla="*/ 115569 w 551045"/>
                  <a:gd name="connsiteY89" fmla="*/ 748 h 608697"/>
                  <a:gd name="connsiteX90" fmla="*/ 179403 w 551045"/>
                  <a:gd name="connsiteY90" fmla="*/ 50176 h 608697"/>
                  <a:gd name="connsiteX91" fmla="*/ 181534 w 551045"/>
                  <a:gd name="connsiteY91" fmla="*/ 66863 h 608697"/>
                  <a:gd name="connsiteX92" fmla="*/ 115685 w 551045"/>
                  <a:gd name="connsiteY92" fmla="*/ 132634 h 608697"/>
                  <a:gd name="connsiteX93" fmla="*/ 115397 w 551045"/>
                  <a:gd name="connsiteY93" fmla="*/ 132634 h 608697"/>
                  <a:gd name="connsiteX94" fmla="*/ 115109 w 551045"/>
                  <a:gd name="connsiteY94" fmla="*/ 132634 h 608697"/>
                  <a:gd name="connsiteX95" fmla="*/ 51275 w 551045"/>
                  <a:gd name="connsiteY95" fmla="*/ 83262 h 608697"/>
                  <a:gd name="connsiteX96" fmla="*/ 49144 w 551045"/>
                  <a:gd name="connsiteY96" fmla="*/ 66575 h 608697"/>
                  <a:gd name="connsiteX97" fmla="*/ 114993 w 551045"/>
                  <a:gd name="connsiteY97" fmla="*/ 748 h 608697"/>
                  <a:gd name="connsiteX98" fmla="*/ 114958 w 551045"/>
                  <a:gd name="connsiteY98" fmla="*/ 423 h 608697"/>
                  <a:gd name="connsiteX99" fmla="*/ 48690 w 551045"/>
                  <a:gd name="connsiteY99" fmla="*/ 66575 h 608697"/>
                  <a:gd name="connsiteX100" fmla="*/ 50822 w 551045"/>
                  <a:gd name="connsiteY100" fmla="*/ 83372 h 608697"/>
                  <a:gd name="connsiteX101" fmla="*/ 115073 w 551045"/>
                  <a:gd name="connsiteY101" fmla="*/ 133015 h 608697"/>
                  <a:gd name="connsiteX102" fmla="*/ 115361 w 551045"/>
                  <a:gd name="connsiteY102" fmla="*/ 133015 h 608697"/>
                  <a:gd name="connsiteX103" fmla="*/ 115649 w 551045"/>
                  <a:gd name="connsiteY103" fmla="*/ 133015 h 608697"/>
                  <a:gd name="connsiteX104" fmla="*/ 181917 w 551045"/>
                  <a:gd name="connsiteY104" fmla="*/ 66863 h 608697"/>
                  <a:gd name="connsiteX105" fmla="*/ 179785 w 551045"/>
                  <a:gd name="connsiteY105" fmla="*/ 50066 h 608697"/>
                  <a:gd name="connsiteX106" fmla="*/ 115534 w 551045"/>
                  <a:gd name="connsiteY106" fmla="*/ 423 h 608697"/>
                  <a:gd name="connsiteX107" fmla="*/ 115246 w 551045"/>
                  <a:gd name="connsiteY107" fmla="*/ 423 h 608697"/>
                  <a:gd name="connsiteX108" fmla="*/ 114958 w 551045"/>
                  <a:gd name="connsiteY108" fmla="*/ 423 h 608697"/>
                  <a:gd name="connsiteX109" fmla="*/ 114993 w 551045"/>
                  <a:gd name="connsiteY109" fmla="*/ 0 h 608697"/>
                  <a:gd name="connsiteX110" fmla="*/ 115281 w 551045"/>
                  <a:gd name="connsiteY110" fmla="*/ 0 h 608697"/>
                  <a:gd name="connsiteX111" fmla="*/ 115569 w 551045"/>
                  <a:gd name="connsiteY111" fmla="*/ 0 h 608697"/>
                  <a:gd name="connsiteX112" fmla="*/ 180152 w 551045"/>
                  <a:gd name="connsiteY112" fmla="*/ 49946 h 608697"/>
                  <a:gd name="connsiteX113" fmla="*/ 182341 w 551045"/>
                  <a:gd name="connsiteY113" fmla="*/ 66863 h 608697"/>
                  <a:gd name="connsiteX114" fmla="*/ 115685 w 551045"/>
                  <a:gd name="connsiteY114" fmla="*/ 133439 h 608697"/>
                  <a:gd name="connsiteX115" fmla="*/ 115397 w 551045"/>
                  <a:gd name="connsiteY115" fmla="*/ 133439 h 608697"/>
                  <a:gd name="connsiteX116" fmla="*/ 115109 w 551045"/>
                  <a:gd name="connsiteY116" fmla="*/ 133439 h 608697"/>
                  <a:gd name="connsiteX117" fmla="*/ 50526 w 551045"/>
                  <a:gd name="connsiteY117" fmla="*/ 83493 h 608697"/>
                  <a:gd name="connsiteX118" fmla="*/ 48337 w 551045"/>
                  <a:gd name="connsiteY118" fmla="*/ 66575 h 608697"/>
                  <a:gd name="connsiteX119" fmla="*/ 114993 w 551045"/>
                  <a:gd name="connsiteY119" fmla="*/ 0 h 60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551045" h="608697">
                    <a:moveTo>
                      <a:pt x="485820" y="430096"/>
                    </a:moveTo>
                    <a:cubicBezTo>
                      <a:pt x="520910" y="430096"/>
                      <a:pt x="549489" y="457699"/>
                      <a:pt x="550987" y="492317"/>
                    </a:cubicBezTo>
                    <a:cubicBezTo>
                      <a:pt x="550987" y="492375"/>
                      <a:pt x="551045" y="492432"/>
                      <a:pt x="551045" y="492490"/>
                    </a:cubicBezTo>
                    <a:cubicBezTo>
                      <a:pt x="551045" y="492950"/>
                      <a:pt x="551045" y="493353"/>
                      <a:pt x="550987" y="493813"/>
                    </a:cubicBezTo>
                    <a:cubicBezTo>
                      <a:pt x="551045" y="494273"/>
                      <a:pt x="551045" y="494733"/>
                      <a:pt x="551045" y="495193"/>
                    </a:cubicBezTo>
                    <a:cubicBezTo>
                      <a:pt x="551045" y="531134"/>
                      <a:pt x="521832" y="560289"/>
                      <a:pt x="485820" y="560289"/>
                    </a:cubicBezTo>
                    <a:cubicBezTo>
                      <a:pt x="454129" y="560289"/>
                      <a:pt x="427739" y="537747"/>
                      <a:pt x="421862" y="507902"/>
                    </a:cubicBezTo>
                    <a:cubicBezTo>
                      <a:pt x="420710" y="503474"/>
                      <a:pt x="420076" y="499046"/>
                      <a:pt x="420134" y="494560"/>
                    </a:cubicBezTo>
                    <a:cubicBezTo>
                      <a:pt x="420134" y="489385"/>
                      <a:pt x="421056" y="484152"/>
                      <a:pt x="422611" y="479034"/>
                    </a:cubicBezTo>
                    <a:cubicBezTo>
                      <a:pt x="429814" y="450913"/>
                      <a:pt x="455397" y="430096"/>
                      <a:pt x="485820" y="430096"/>
                    </a:cubicBezTo>
                    <a:close/>
                    <a:moveTo>
                      <a:pt x="485137" y="236253"/>
                    </a:moveTo>
                    <a:cubicBezTo>
                      <a:pt x="521537" y="236253"/>
                      <a:pt x="551045" y="265714"/>
                      <a:pt x="551045" y="302055"/>
                    </a:cubicBezTo>
                    <a:cubicBezTo>
                      <a:pt x="551045" y="338396"/>
                      <a:pt x="521537" y="367857"/>
                      <a:pt x="485137" y="367857"/>
                    </a:cubicBezTo>
                    <a:cubicBezTo>
                      <a:pt x="448737" y="367857"/>
                      <a:pt x="419229" y="338396"/>
                      <a:pt x="419229" y="302055"/>
                    </a:cubicBezTo>
                    <a:cubicBezTo>
                      <a:pt x="419229" y="265714"/>
                      <a:pt x="448737" y="236253"/>
                      <a:pt x="485137" y="236253"/>
                    </a:cubicBezTo>
                    <a:close/>
                    <a:moveTo>
                      <a:pt x="45513" y="160819"/>
                    </a:moveTo>
                    <a:lnTo>
                      <a:pt x="62048" y="160819"/>
                    </a:lnTo>
                    <a:lnTo>
                      <a:pt x="78583" y="243365"/>
                    </a:lnTo>
                    <a:lnTo>
                      <a:pt x="98228" y="243365"/>
                    </a:lnTo>
                    <a:lnTo>
                      <a:pt x="103356" y="187625"/>
                    </a:lnTo>
                    <a:cubicBezTo>
                      <a:pt x="103183" y="186647"/>
                      <a:pt x="102952" y="185612"/>
                      <a:pt x="102722" y="184634"/>
                    </a:cubicBezTo>
                    <a:cubicBezTo>
                      <a:pt x="100936" y="177386"/>
                      <a:pt x="97767" y="170483"/>
                      <a:pt x="94368" y="163293"/>
                    </a:cubicBezTo>
                    <a:cubicBezTo>
                      <a:pt x="94368" y="163293"/>
                      <a:pt x="93677" y="161855"/>
                      <a:pt x="93331" y="161107"/>
                    </a:cubicBezTo>
                    <a:lnTo>
                      <a:pt x="93389" y="161107"/>
                    </a:lnTo>
                    <a:cubicBezTo>
                      <a:pt x="93331" y="160992"/>
                      <a:pt x="93274" y="160877"/>
                      <a:pt x="93274" y="160819"/>
                    </a:cubicBezTo>
                    <a:lnTo>
                      <a:pt x="137347" y="160819"/>
                    </a:lnTo>
                    <a:cubicBezTo>
                      <a:pt x="137289" y="160877"/>
                      <a:pt x="137232" y="160992"/>
                      <a:pt x="137232" y="161107"/>
                    </a:cubicBezTo>
                    <a:lnTo>
                      <a:pt x="137404" y="161107"/>
                    </a:lnTo>
                    <a:cubicBezTo>
                      <a:pt x="137059" y="161855"/>
                      <a:pt x="136367" y="163293"/>
                      <a:pt x="136367" y="163293"/>
                    </a:cubicBezTo>
                    <a:cubicBezTo>
                      <a:pt x="132507" y="171576"/>
                      <a:pt x="128820" y="179514"/>
                      <a:pt x="127322" y="187913"/>
                    </a:cubicBezTo>
                    <a:lnTo>
                      <a:pt x="132450" y="243365"/>
                    </a:lnTo>
                    <a:lnTo>
                      <a:pt x="152038" y="243365"/>
                    </a:lnTo>
                    <a:lnTo>
                      <a:pt x="168630" y="160819"/>
                    </a:lnTo>
                    <a:lnTo>
                      <a:pt x="185165" y="160819"/>
                    </a:lnTo>
                    <a:cubicBezTo>
                      <a:pt x="210283" y="160819"/>
                      <a:pt x="230678" y="181125"/>
                      <a:pt x="230678" y="206263"/>
                    </a:cubicBezTo>
                    <a:lnTo>
                      <a:pt x="230678" y="338682"/>
                    </a:lnTo>
                    <a:cubicBezTo>
                      <a:pt x="230678" y="363820"/>
                      <a:pt x="210283" y="384125"/>
                      <a:pt x="185165" y="384125"/>
                    </a:cubicBezTo>
                    <a:lnTo>
                      <a:pt x="179346" y="384125"/>
                    </a:lnTo>
                    <a:lnTo>
                      <a:pt x="179346" y="576599"/>
                    </a:lnTo>
                    <a:cubicBezTo>
                      <a:pt x="179346" y="594316"/>
                      <a:pt x="165000" y="608697"/>
                      <a:pt x="147256" y="608697"/>
                    </a:cubicBezTo>
                    <a:cubicBezTo>
                      <a:pt x="130721" y="608697"/>
                      <a:pt x="117125" y="596215"/>
                      <a:pt x="115339" y="580223"/>
                    </a:cubicBezTo>
                    <a:cubicBezTo>
                      <a:pt x="113553" y="596215"/>
                      <a:pt x="99957" y="608697"/>
                      <a:pt x="83422" y="608697"/>
                    </a:cubicBezTo>
                    <a:cubicBezTo>
                      <a:pt x="65678" y="608697"/>
                      <a:pt x="51332" y="594316"/>
                      <a:pt x="51332" y="576599"/>
                    </a:cubicBezTo>
                    <a:lnTo>
                      <a:pt x="51332" y="384125"/>
                    </a:lnTo>
                    <a:lnTo>
                      <a:pt x="45513" y="384125"/>
                    </a:lnTo>
                    <a:cubicBezTo>
                      <a:pt x="20395" y="384125"/>
                      <a:pt x="0" y="363820"/>
                      <a:pt x="0" y="338682"/>
                    </a:cubicBezTo>
                    <a:lnTo>
                      <a:pt x="0" y="206263"/>
                    </a:lnTo>
                    <a:cubicBezTo>
                      <a:pt x="0" y="181125"/>
                      <a:pt x="20395" y="160819"/>
                      <a:pt x="45513" y="160819"/>
                    </a:cubicBezTo>
                    <a:close/>
                    <a:moveTo>
                      <a:pt x="400710" y="89618"/>
                    </a:moveTo>
                    <a:lnTo>
                      <a:pt x="400710" y="134086"/>
                    </a:lnTo>
                    <a:cubicBezTo>
                      <a:pt x="375702" y="134086"/>
                      <a:pt x="355362" y="154393"/>
                      <a:pt x="355362" y="179359"/>
                    </a:cubicBezTo>
                    <a:lnTo>
                      <a:pt x="355362" y="279857"/>
                    </a:lnTo>
                    <a:lnTo>
                      <a:pt x="401517" y="279857"/>
                    </a:lnTo>
                    <a:lnTo>
                      <a:pt x="401517" y="324325"/>
                    </a:lnTo>
                    <a:lnTo>
                      <a:pt x="355362" y="324325"/>
                    </a:lnTo>
                    <a:lnTo>
                      <a:pt x="355362" y="424823"/>
                    </a:lnTo>
                    <a:cubicBezTo>
                      <a:pt x="355362" y="449731"/>
                      <a:pt x="375702" y="470038"/>
                      <a:pt x="400710" y="470038"/>
                    </a:cubicBezTo>
                    <a:lnTo>
                      <a:pt x="400710" y="514563"/>
                    </a:lnTo>
                    <a:cubicBezTo>
                      <a:pt x="351155" y="514563"/>
                      <a:pt x="310820" y="474295"/>
                      <a:pt x="310820" y="424823"/>
                    </a:cubicBezTo>
                    <a:lnTo>
                      <a:pt x="310820" y="324325"/>
                    </a:lnTo>
                    <a:lnTo>
                      <a:pt x="270830" y="324325"/>
                    </a:lnTo>
                    <a:lnTo>
                      <a:pt x="270830" y="279857"/>
                    </a:lnTo>
                    <a:lnTo>
                      <a:pt x="310820" y="279857"/>
                    </a:lnTo>
                    <a:lnTo>
                      <a:pt x="310820" y="179359"/>
                    </a:lnTo>
                    <a:cubicBezTo>
                      <a:pt x="310820" y="129886"/>
                      <a:pt x="351155" y="89618"/>
                      <a:pt x="400710" y="89618"/>
                    </a:cubicBezTo>
                    <a:close/>
                    <a:moveTo>
                      <a:pt x="487441" y="44033"/>
                    </a:moveTo>
                    <a:cubicBezTo>
                      <a:pt x="487557" y="44090"/>
                      <a:pt x="487614" y="44090"/>
                      <a:pt x="487729" y="44148"/>
                    </a:cubicBezTo>
                    <a:cubicBezTo>
                      <a:pt x="521828" y="45471"/>
                      <a:pt x="549246" y="73030"/>
                      <a:pt x="550282" y="107206"/>
                    </a:cubicBezTo>
                    <a:cubicBezTo>
                      <a:pt x="550282" y="107436"/>
                      <a:pt x="550282" y="107667"/>
                      <a:pt x="550340" y="107897"/>
                    </a:cubicBezTo>
                    <a:cubicBezTo>
                      <a:pt x="550340" y="108184"/>
                      <a:pt x="550340" y="108472"/>
                      <a:pt x="550340" y="108760"/>
                    </a:cubicBezTo>
                    <a:cubicBezTo>
                      <a:pt x="550340" y="108875"/>
                      <a:pt x="550340" y="109047"/>
                      <a:pt x="550340" y="109220"/>
                    </a:cubicBezTo>
                    <a:cubicBezTo>
                      <a:pt x="550340" y="109393"/>
                      <a:pt x="550340" y="109508"/>
                      <a:pt x="550340" y="109680"/>
                    </a:cubicBezTo>
                    <a:cubicBezTo>
                      <a:pt x="550340" y="110371"/>
                      <a:pt x="550282" y="111119"/>
                      <a:pt x="550282" y="111867"/>
                    </a:cubicBezTo>
                    <a:cubicBezTo>
                      <a:pt x="550225" y="112384"/>
                      <a:pt x="550225" y="112902"/>
                      <a:pt x="550167" y="113420"/>
                    </a:cubicBezTo>
                    <a:cubicBezTo>
                      <a:pt x="550167" y="113593"/>
                      <a:pt x="550167" y="113765"/>
                      <a:pt x="550167" y="113938"/>
                    </a:cubicBezTo>
                    <a:cubicBezTo>
                      <a:pt x="547748" y="147653"/>
                      <a:pt x="519582" y="174349"/>
                      <a:pt x="485137" y="174349"/>
                    </a:cubicBezTo>
                    <a:cubicBezTo>
                      <a:pt x="484792" y="174349"/>
                      <a:pt x="484446" y="174292"/>
                      <a:pt x="484158" y="174292"/>
                    </a:cubicBezTo>
                    <a:cubicBezTo>
                      <a:pt x="478629" y="174579"/>
                      <a:pt x="473099" y="173716"/>
                      <a:pt x="467685" y="171933"/>
                    </a:cubicBezTo>
                    <a:cubicBezTo>
                      <a:pt x="440556" y="164396"/>
                      <a:pt x="420511" y="139828"/>
                      <a:pt x="419993" y="110428"/>
                    </a:cubicBezTo>
                    <a:cubicBezTo>
                      <a:pt x="419993" y="110313"/>
                      <a:pt x="419935" y="110198"/>
                      <a:pt x="419935" y="110083"/>
                    </a:cubicBezTo>
                    <a:cubicBezTo>
                      <a:pt x="419935" y="109910"/>
                      <a:pt x="419935" y="109795"/>
                      <a:pt x="419993" y="109680"/>
                    </a:cubicBezTo>
                    <a:cubicBezTo>
                      <a:pt x="419993" y="109508"/>
                      <a:pt x="419935" y="109335"/>
                      <a:pt x="419935" y="109220"/>
                    </a:cubicBezTo>
                    <a:cubicBezTo>
                      <a:pt x="419935" y="108990"/>
                      <a:pt x="419935" y="108760"/>
                      <a:pt x="419993" y="108530"/>
                    </a:cubicBezTo>
                    <a:cubicBezTo>
                      <a:pt x="419993" y="107839"/>
                      <a:pt x="419993" y="107206"/>
                      <a:pt x="419993" y="106516"/>
                    </a:cubicBezTo>
                    <a:cubicBezTo>
                      <a:pt x="421433" y="71822"/>
                      <a:pt x="450059" y="44090"/>
                      <a:pt x="485137" y="44090"/>
                    </a:cubicBezTo>
                    <a:cubicBezTo>
                      <a:pt x="485425" y="44090"/>
                      <a:pt x="485713" y="44090"/>
                      <a:pt x="486001" y="44090"/>
                    </a:cubicBezTo>
                    <a:cubicBezTo>
                      <a:pt x="486462" y="44090"/>
                      <a:pt x="486981" y="44033"/>
                      <a:pt x="487441" y="44033"/>
                    </a:cubicBezTo>
                    <a:close/>
                    <a:moveTo>
                      <a:pt x="114993" y="748"/>
                    </a:moveTo>
                    <a:lnTo>
                      <a:pt x="115281" y="748"/>
                    </a:lnTo>
                    <a:lnTo>
                      <a:pt x="115569" y="748"/>
                    </a:lnTo>
                    <a:cubicBezTo>
                      <a:pt x="145700" y="748"/>
                      <a:pt x="171913" y="21060"/>
                      <a:pt x="179403" y="50176"/>
                    </a:cubicBezTo>
                    <a:cubicBezTo>
                      <a:pt x="180843" y="55585"/>
                      <a:pt x="181534" y="61224"/>
                      <a:pt x="181534" y="66863"/>
                    </a:cubicBezTo>
                    <a:cubicBezTo>
                      <a:pt x="181534" y="103115"/>
                      <a:pt x="151980" y="132634"/>
                      <a:pt x="115685" y="132634"/>
                    </a:cubicBezTo>
                    <a:lnTo>
                      <a:pt x="115397" y="132634"/>
                    </a:lnTo>
                    <a:lnTo>
                      <a:pt x="115109" y="132634"/>
                    </a:lnTo>
                    <a:cubicBezTo>
                      <a:pt x="84978" y="132634"/>
                      <a:pt x="58765" y="112321"/>
                      <a:pt x="51275" y="83262"/>
                    </a:cubicBezTo>
                    <a:cubicBezTo>
                      <a:pt x="49835" y="77854"/>
                      <a:pt x="49144" y="72214"/>
                      <a:pt x="49144" y="66575"/>
                    </a:cubicBezTo>
                    <a:cubicBezTo>
                      <a:pt x="49144" y="30267"/>
                      <a:pt x="78698" y="748"/>
                      <a:pt x="114993" y="748"/>
                    </a:cubicBezTo>
                    <a:close/>
                    <a:moveTo>
                      <a:pt x="114958" y="423"/>
                    </a:moveTo>
                    <a:cubicBezTo>
                      <a:pt x="78366" y="423"/>
                      <a:pt x="48690" y="30047"/>
                      <a:pt x="48690" y="66575"/>
                    </a:cubicBezTo>
                    <a:cubicBezTo>
                      <a:pt x="48690" y="72385"/>
                      <a:pt x="49439" y="78022"/>
                      <a:pt x="50822" y="83372"/>
                    </a:cubicBezTo>
                    <a:cubicBezTo>
                      <a:pt x="58198" y="111904"/>
                      <a:pt x="84129" y="133015"/>
                      <a:pt x="115073" y="133015"/>
                    </a:cubicBezTo>
                    <a:cubicBezTo>
                      <a:pt x="115131" y="133015"/>
                      <a:pt x="115246" y="133015"/>
                      <a:pt x="115361" y="133015"/>
                    </a:cubicBezTo>
                    <a:cubicBezTo>
                      <a:pt x="115419" y="133015"/>
                      <a:pt x="115534" y="133015"/>
                      <a:pt x="115649" y="133015"/>
                    </a:cubicBezTo>
                    <a:cubicBezTo>
                      <a:pt x="152241" y="133015"/>
                      <a:pt x="181917" y="103391"/>
                      <a:pt x="181917" y="66863"/>
                    </a:cubicBezTo>
                    <a:cubicBezTo>
                      <a:pt x="181917" y="61053"/>
                      <a:pt x="181168" y="55415"/>
                      <a:pt x="179785" y="50066"/>
                    </a:cubicBezTo>
                    <a:cubicBezTo>
                      <a:pt x="172409" y="21534"/>
                      <a:pt x="146478" y="423"/>
                      <a:pt x="115534" y="423"/>
                    </a:cubicBezTo>
                    <a:cubicBezTo>
                      <a:pt x="115476" y="423"/>
                      <a:pt x="115361" y="423"/>
                      <a:pt x="115246" y="423"/>
                    </a:cubicBezTo>
                    <a:cubicBezTo>
                      <a:pt x="115188" y="423"/>
                      <a:pt x="115073" y="423"/>
                      <a:pt x="114958" y="423"/>
                    </a:cubicBezTo>
                    <a:close/>
                    <a:moveTo>
                      <a:pt x="114993" y="0"/>
                    </a:moveTo>
                    <a:lnTo>
                      <a:pt x="115281" y="0"/>
                    </a:lnTo>
                    <a:lnTo>
                      <a:pt x="115569" y="0"/>
                    </a:lnTo>
                    <a:cubicBezTo>
                      <a:pt x="146046" y="0"/>
                      <a:pt x="172605" y="20542"/>
                      <a:pt x="180152" y="49946"/>
                    </a:cubicBezTo>
                    <a:cubicBezTo>
                      <a:pt x="181592" y="55470"/>
                      <a:pt x="182341" y="61109"/>
                      <a:pt x="182341" y="66863"/>
                    </a:cubicBezTo>
                    <a:cubicBezTo>
                      <a:pt x="182341" y="103575"/>
                      <a:pt x="152441" y="133439"/>
                      <a:pt x="115685" y="133439"/>
                    </a:cubicBezTo>
                    <a:lnTo>
                      <a:pt x="115397" y="133439"/>
                    </a:lnTo>
                    <a:lnTo>
                      <a:pt x="115109" y="133439"/>
                    </a:lnTo>
                    <a:cubicBezTo>
                      <a:pt x="84632" y="133439"/>
                      <a:pt x="58073" y="112897"/>
                      <a:pt x="50526" y="83493"/>
                    </a:cubicBezTo>
                    <a:cubicBezTo>
                      <a:pt x="49086" y="77969"/>
                      <a:pt x="48337" y="72272"/>
                      <a:pt x="48337" y="66575"/>
                    </a:cubicBezTo>
                    <a:cubicBezTo>
                      <a:pt x="48337" y="29864"/>
                      <a:pt x="78237" y="0"/>
                      <a:pt x="11499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58A9FB07-CDC3-4C3C-87AC-11AF6CB5EC6A}"/>
                </a:ext>
              </a:extLst>
            </p:cNvPr>
            <p:cNvGrpSpPr/>
            <p:nvPr/>
          </p:nvGrpSpPr>
          <p:grpSpPr>
            <a:xfrm>
              <a:off x="4828632" y="3866341"/>
              <a:ext cx="3689659" cy="2267759"/>
              <a:chOff x="4828632" y="3866341"/>
              <a:chExt cx="3689659" cy="2267759"/>
            </a:xfrm>
          </p:grpSpPr>
          <p:grpSp>
            <p:nvGrpSpPr>
              <p:cNvPr id="12" name="组合 11">
                <a:extLst>
                  <a:ext uri="{FF2B5EF4-FFF2-40B4-BE49-F238E27FC236}">
                    <a16:creationId xmlns:a16="http://schemas.microsoft.com/office/drawing/2014/main" id="{D039B4AC-04BE-44FA-A4E1-603234D3E8A9}"/>
                  </a:ext>
                </a:extLst>
              </p:cNvPr>
              <p:cNvGrpSpPr/>
              <p:nvPr/>
            </p:nvGrpSpPr>
            <p:grpSpPr>
              <a:xfrm>
                <a:off x="5506283" y="3866341"/>
                <a:ext cx="3012008" cy="2267759"/>
                <a:chOff x="1338050" y="3866341"/>
                <a:chExt cx="3154051" cy="2267759"/>
              </a:xfrm>
            </p:grpSpPr>
            <p:sp>
              <p:nvSpPr>
                <p:cNvPr id="14" name="矩形 13">
                  <a:extLst>
                    <a:ext uri="{FF2B5EF4-FFF2-40B4-BE49-F238E27FC236}">
                      <a16:creationId xmlns:a16="http://schemas.microsoft.com/office/drawing/2014/main" id="{6472F2C1-5F5B-48EE-A08A-505658BA2785}"/>
                    </a:ext>
                  </a:extLst>
                </p:cNvPr>
                <p:cNvSpPr/>
                <p:nvPr/>
              </p:nvSpPr>
              <p:spPr bwMode="auto">
                <a:xfrm>
                  <a:off x="1338050" y="4422446"/>
                  <a:ext cx="3154051" cy="171165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Copy paste fonts. Choose the only option to retain text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endParaRPr lang="en-US" altLang="zh-CN" sz="1100" dirty="0">
                    <a:cs typeface="+mn-ea"/>
                    <a:sym typeface="+mn-lt"/>
                  </a:endParaRP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  <p:sp>
              <p:nvSpPr>
                <p:cNvPr id="15" name="文本框 14">
                  <a:extLst>
                    <a:ext uri="{FF2B5EF4-FFF2-40B4-BE49-F238E27FC236}">
                      <a16:creationId xmlns:a16="http://schemas.microsoft.com/office/drawing/2014/main" id="{3A7C1282-1CBF-40F3-B4B9-6EF7B8718135}"/>
                    </a:ext>
                  </a:extLst>
                </p:cNvPr>
                <p:cNvSpPr txBox="1"/>
                <p:nvPr/>
              </p:nvSpPr>
              <p:spPr bwMode="auto">
                <a:xfrm>
                  <a:off x="1338050" y="3866341"/>
                  <a:ext cx="3154051" cy="55610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 dirty="0">
                      <a:cs typeface="+mn-ea"/>
                      <a:sym typeface="+mn-lt"/>
                    </a:rPr>
                    <a:t>02. …</a:t>
                  </a:r>
                  <a:r>
                    <a:rPr lang="zh-CN" altLang="en-US" b="1" dirty="0">
                      <a:cs typeface="+mn-ea"/>
                      <a:sym typeface="+mn-lt"/>
                    </a:rPr>
                    <a:t>要点</a:t>
                  </a:r>
                  <a:endParaRPr lang="en-US" altLang="zh-CN" b="1" dirty="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13" name="任意多边形: 形状 12">
                <a:extLst>
                  <a:ext uri="{FF2B5EF4-FFF2-40B4-BE49-F238E27FC236}">
                    <a16:creationId xmlns:a16="http://schemas.microsoft.com/office/drawing/2014/main" id="{FFB4534A-DA07-4A3D-B89F-227E4D0784AF}"/>
                  </a:ext>
                </a:extLst>
              </p:cNvPr>
              <p:cNvSpPr/>
              <p:nvPr/>
            </p:nvSpPr>
            <p:spPr bwMode="auto">
              <a:xfrm>
                <a:off x="4828632" y="4076166"/>
                <a:ext cx="495680" cy="547540"/>
              </a:xfrm>
              <a:custGeom>
                <a:avLst/>
                <a:gdLst>
                  <a:gd name="connsiteX0" fmla="*/ 485820 w 551045"/>
                  <a:gd name="connsiteY0" fmla="*/ 430096 h 608697"/>
                  <a:gd name="connsiteX1" fmla="*/ 550987 w 551045"/>
                  <a:gd name="connsiteY1" fmla="*/ 492317 h 608697"/>
                  <a:gd name="connsiteX2" fmla="*/ 551045 w 551045"/>
                  <a:gd name="connsiteY2" fmla="*/ 492490 h 608697"/>
                  <a:gd name="connsiteX3" fmla="*/ 550987 w 551045"/>
                  <a:gd name="connsiteY3" fmla="*/ 493813 h 608697"/>
                  <a:gd name="connsiteX4" fmla="*/ 551045 w 551045"/>
                  <a:gd name="connsiteY4" fmla="*/ 495193 h 608697"/>
                  <a:gd name="connsiteX5" fmla="*/ 485820 w 551045"/>
                  <a:gd name="connsiteY5" fmla="*/ 560289 h 608697"/>
                  <a:gd name="connsiteX6" fmla="*/ 421862 w 551045"/>
                  <a:gd name="connsiteY6" fmla="*/ 507902 h 608697"/>
                  <a:gd name="connsiteX7" fmla="*/ 420134 w 551045"/>
                  <a:gd name="connsiteY7" fmla="*/ 494560 h 608697"/>
                  <a:gd name="connsiteX8" fmla="*/ 422611 w 551045"/>
                  <a:gd name="connsiteY8" fmla="*/ 479034 h 608697"/>
                  <a:gd name="connsiteX9" fmla="*/ 485820 w 551045"/>
                  <a:gd name="connsiteY9" fmla="*/ 430096 h 608697"/>
                  <a:gd name="connsiteX10" fmla="*/ 485137 w 551045"/>
                  <a:gd name="connsiteY10" fmla="*/ 236253 h 608697"/>
                  <a:gd name="connsiteX11" fmla="*/ 551045 w 551045"/>
                  <a:gd name="connsiteY11" fmla="*/ 302055 h 608697"/>
                  <a:gd name="connsiteX12" fmla="*/ 485137 w 551045"/>
                  <a:gd name="connsiteY12" fmla="*/ 367857 h 608697"/>
                  <a:gd name="connsiteX13" fmla="*/ 419229 w 551045"/>
                  <a:gd name="connsiteY13" fmla="*/ 302055 h 608697"/>
                  <a:gd name="connsiteX14" fmla="*/ 485137 w 551045"/>
                  <a:gd name="connsiteY14" fmla="*/ 236253 h 608697"/>
                  <a:gd name="connsiteX15" fmla="*/ 45513 w 551045"/>
                  <a:gd name="connsiteY15" fmla="*/ 160819 h 608697"/>
                  <a:gd name="connsiteX16" fmla="*/ 62048 w 551045"/>
                  <a:gd name="connsiteY16" fmla="*/ 160819 h 608697"/>
                  <a:gd name="connsiteX17" fmla="*/ 78583 w 551045"/>
                  <a:gd name="connsiteY17" fmla="*/ 243365 h 608697"/>
                  <a:gd name="connsiteX18" fmla="*/ 98228 w 551045"/>
                  <a:gd name="connsiteY18" fmla="*/ 243365 h 608697"/>
                  <a:gd name="connsiteX19" fmla="*/ 103356 w 551045"/>
                  <a:gd name="connsiteY19" fmla="*/ 187625 h 608697"/>
                  <a:gd name="connsiteX20" fmla="*/ 102722 w 551045"/>
                  <a:gd name="connsiteY20" fmla="*/ 184634 h 608697"/>
                  <a:gd name="connsiteX21" fmla="*/ 94368 w 551045"/>
                  <a:gd name="connsiteY21" fmla="*/ 163293 h 608697"/>
                  <a:gd name="connsiteX22" fmla="*/ 93331 w 551045"/>
                  <a:gd name="connsiteY22" fmla="*/ 161107 h 608697"/>
                  <a:gd name="connsiteX23" fmla="*/ 93389 w 551045"/>
                  <a:gd name="connsiteY23" fmla="*/ 161107 h 608697"/>
                  <a:gd name="connsiteX24" fmla="*/ 93274 w 551045"/>
                  <a:gd name="connsiteY24" fmla="*/ 160819 h 608697"/>
                  <a:gd name="connsiteX25" fmla="*/ 137347 w 551045"/>
                  <a:gd name="connsiteY25" fmla="*/ 160819 h 608697"/>
                  <a:gd name="connsiteX26" fmla="*/ 137232 w 551045"/>
                  <a:gd name="connsiteY26" fmla="*/ 161107 h 608697"/>
                  <a:gd name="connsiteX27" fmla="*/ 137404 w 551045"/>
                  <a:gd name="connsiteY27" fmla="*/ 161107 h 608697"/>
                  <a:gd name="connsiteX28" fmla="*/ 136367 w 551045"/>
                  <a:gd name="connsiteY28" fmla="*/ 163293 h 608697"/>
                  <a:gd name="connsiteX29" fmla="*/ 127322 w 551045"/>
                  <a:gd name="connsiteY29" fmla="*/ 187913 h 608697"/>
                  <a:gd name="connsiteX30" fmla="*/ 132450 w 551045"/>
                  <a:gd name="connsiteY30" fmla="*/ 243365 h 608697"/>
                  <a:gd name="connsiteX31" fmla="*/ 152038 w 551045"/>
                  <a:gd name="connsiteY31" fmla="*/ 243365 h 608697"/>
                  <a:gd name="connsiteX32" fmla="*/ 168630 w 551045"/>
                  <a:gd name="connsiteY32" fmla="*/ 160819 h 608697"/>
                  <a:gd name="connsiteX33" fmla="*/ 185165 w 551045"/>
                  <a:gd name="connsiteY33" fmla="*/ 160819 h 608697"/>
                  <a:gd name="connsiteX34" fmla="*/ 230678 w 551045"/>
                  <a:gd name="connsiteY34" fmla="*/ 206263 h 608697"/>
                  <a:gd name="connsiteX35" fmla="*/ 230678 w 551045"/>
                  <a:gd name="connsiteY35" fmla="*/ 338682 h 608697"/>
                  <a:gd name="connsiteX36" fmla="*/ 185165 w 551045"/>
                  <a:gd name="connsiteY36" fmla="*/ 384125 h 608697"/>
                  <a:gd name="connsiteX37" fmla="*/ 179346 w 551045"/>
                  <a:gd name="connsiteY37" fmla="*/ 384125 h 608697"/>
                  <a:gd name="connsiteX38" fmla="*/ 179346 w 551045"/>
                  <a:gd name="connsiteY38" fmla="*/ 576599 h 608697"/>
                  <a:gd name="connsiteX39" fmla="*/ 147256 w 551045"/>
                  <a:gd name="connsiteY39" fmla="*/ 608697 h 608697"/>
                  <a:gd name="connsiteX40" fmla="*/ 115339 w 551045"/>
                  <a:gd name="connsiteY40" fmla="*/ 580223 h 608697"/>
                  <a:gd name="connsiteX41" fmla="*/ 83422 w 551045"/>
                  <a:gd name="connsiteY41" fmla="*/ 608697 h 608697"/>
                  <a:gd name="connsiteX42" fmla="*/ 51332 w 551045"/>
                  <a:gd name="connsiteY42" fmla="*/ 576599 h 608697"/>
                  <a:gd name="connsiteX43" fmla="*/ 51332 w 551045"/>
                  <a:gd name="connsiteY43" fmla="*/ 384125 h 608697"/>
                  <a:gd name="connsiteX44" fmla="*/ 45513 w 551045"/>
                  <a:gd name="connsiteY44" fmla="*/ 384125 h 608697"/>
                  <a:gd name="connsiteX45" fmla="*/ 0 w 551045"/>
                  <a:gd name="connsiteY45" fmla="*/ 338682 h 608697"/>
                  <a:gd name="connsiteX46" fmla="*/ 0 w 551045"/>
                  <a:gd name="connsiteY46" fmla="*/ 206263 h 608697"/>
                  <a:gd name="connsiteX47" fmla="*/ 45513 w 551045"/>
                  <a:gd name="connsiteY47" fmla="*/ 160819 h 608697"/>
                  <a:gd name="connsiteX48" fmla="*/ 400710 w 551045"/>
                  <a:gd name="connsiteY48" fmla="*/ 89618 h 608697"/>
                  <a:gd name="connsiteX49" fmla="*/ 400710 w 551045"/>
                  <a:gd name="connsiteY49" fmla="*/ 134086 h 608697"/>
                  <a:gd name="connsiteX50" fmla="*/ 355362 w 551045"/>
                  <a:gd name="connsiteY50" fmla="*/ 179359 h 608697"/>
                  <a:gd name="connsiteX51" fmla="*/ 355362 w 551045"/>
                  <a:gd name="connsiteY51" fmla="*/ 279857 h 608697"/>
                  <a:gd name="connsiteX52" fmla="*/ 401517 w 551045"/>
                  <a:gd name="connsiteY52" fmla="*/ 279857 h 608697"/>
                  <a:gd name="connsiteX53" fmla="*/ 401517 w 551045"/>
                  <a:gd name="connsiteY53" fmla="*/ 324325 h 608697"/>
                  <a:gd name="connsiteX54" fmla="*/ 355362 w 551045"/>
                  <a:gd name="connsiteY54" fmla="*/ 324325 h 608697"/>
                  <a:gd name="connsiteX55" fmla="*/ 355362 w 551045"/>
                  <a:gd name="connsiteY55" fmla="*/ 424823 h 608697"/>
                  <a:gd name="connsiteX56" fmla="*/ 400710 w 551045"/>
                  <a:gd name="connsiteY56" fmla="*/ 470038 h 608697"/>
                  <a:gd name="connsiteX57" fmla="*/ 400710 w 551045"/>
                  <a:gd name="connsiteY57" fmla="*/ 514563 h 608697"/>
                  <a:gd name="connsiteX58" fmla="*/ 310820 w 551045"/>
                  <a:gd name="connsiteY58" fmla="*/ 424823 h 608697"/>
                  <a:gd name="connsiteX59" fmla="*/ 310820 w 551045"/>
                  <a:gd name="connsiteY59" fmla="*/ 324325 h 608697"/>
                  <a:gd name="connsiteX60" fmla="*/ 270830 w 551045"/>
                  <a:gd name="connsiteY60" fmla="*/ 324325 h 608697"/>
                  <a:gd name="connsiteX61" fmla="*/ 270830 w 551045"/>
                  <a:gd name="connsiteY61" fmla="*/ 279857 h 608697"/>
                  <a:gd name="connsiteX62" fmla="*/ 310820 w 551045"/>
                  <a:gd name="connsiteY62" fmla="*/ 279857 h 608697"/>
                  <a:gd name="connsiteX63" fmla="*/ 310820 w 551045"/>
                  <a:gd name="connsiteY63" fmla="*/ 179359 h 608697"/>
                  <a:gd name="connsiteX64" fmla="*/ 400710 w 551045"/>
                  <a:gd name="connsiteY64" fmla="*/ 89618 h 608697"/>
                  <a:gd name="connsiteX65" fmla="*/ 487441 w 551045"/>
                  <a:gd name="connsiteY65" fmla="*/ 44033 h 608697"/>
                  <a:gd name="connsiteX66" fmla="*/ 487729 w 551045"/>
                  <a:gd name="connsiteY66" fmla="*/ 44148 h 608697"/>
                  <a:gd name="connsiteX67" fmla="*/ 550282 w 551045"/>
                  <a:gd name="connsiteY67" fmla="*/ 107206 h 608697"/>
                  <a:gd name="connsiteX68" fmla="*/ 550340 w 551045"/>
                  <a:gd name="connsiteY68" fmla="*/ 107897 h 608697"/>
                  <a:gd name="connsiteX69" fmla="*/ 550340 w 551045"/>
                  <a:gd name="connsiteY69" fmla="*/ 108760 h 608697"/>
                  <a:gd name="connsiteX70" fmla="*/ 550340 w 551045"/>
                  <a:gd name="connsiteY70" fmla="*/ 109220 h 608697"/>
                  <a:gd name="connsiteX71" fmla="*/ 550340 w 551045"/>
                  <a:gd name="connsiteY71" fmla="*/ 109680 h 608697"/>
                  <a:gd name="connsiteX72" fmla="*/ 550282 w 551045"/>
                  <a:gd name="connsiteY72" fmla="*/ 111867 h 608697"/>
                  <a:gd name="connsiteX73" fmla="*/ 550167 w 551045"/>
                  <a:gd name="connsiteY73" fmla="*/ 113420 h 608697"/>
                  <a:gd name="connsiteX74" fmla="*/ 550167 w 551045"/>
                  <a:gd name="connsiteY74" fmla="*/ 113938 h 608697"/>
                  <a:gd name="connsiteX75" fmla="*/ 485137 w 551045"/>
                  <a:gd name="connsiteY75" fmla="*/ 174349 h 608697"/>
                  <a:gd name="connsiteX76" fmla="*/ 484158 w 551045"/>
                  <a:gd name="connsiteY76" fmla="*/ 174292 h 608697"/>
                  <a:gd name="connsiteX77" fmla="*/ 467685 w 551045"/>
                  <a:gd name="connsiteY77" fmla="*/ 171933 h 608697"/>
                  <a:gd name="connsiteX78" fmla="*/ 419993 w 551045"/>
                  <a:gd name="connsiteY78" fmla="*/ 110428 h 608697"/>
                  <a:gd name="connsiteX79" fmla="*/ 419935 w 551045"/>
                  <a:gd name="connsiteY79" fmla="*/ 110083 h 608697"/>
                  <a:gd name="connsiteX80" fmla="*/ 419993 w 551045"/>
                  <a:gd name="connsiteY80" fmla="*/ 109680 h 608697"/>
                  <a:gd name="connsiteX81" fmla="*/ 419935 w 551045"/>
                  <a:gd name="connsiteY81" fmla="*/ 109220 h 608697"/>
                  <a:gd name="connsiteX82" fmla="*/ 419993 w 551045"/>
                  <a:gd name="connsiteY82" fmla="*/ 108530 h 608697"/>
                  <a:gd name="connsiteX83" fmla="*/ 419993 w 551045"/>
                  <a:gd name="connsiteY83" fmla="*/ 106516 h 608697"/>
                  <a:gd name="connsiteX84" fmla="*/ 485137 w 551045"/>
                  <a:gd name="connsiteY84" fmla="*/ 44090 h 608697"/>
                  <a:gd name="connsiteX85" fmla="*/ 486001 w 551045"/>
                  <a:gd name="connsiteY85" fmla="*/ 44090 h 608697"/>
                  <a:gd name="connsiteX86" fmla="*/ 487441 w 551045"/>
                  <a:gd name="connsiteY86" fmla="*/ 44033 h 608697"/>
                  <a:gd name="connsiteX87" fmla="*/ 114993 w 551045"/>
                  <a:gd name="connsiteY87" fmla="*/ 748 h 608697"/>
                  <a:gd name="connsiteX88" fmla="*/ 115281 w 551045"/>
                  <a:gd name="connsiteY88" fmla="*/ 748 h 608697"/>
                  <a:gd name="connsiteX89" fmla="*/ 115569 w 551045"/>
                  <a:gd name="connsiteY89" fmla="*/ 748 h 608697"/>
                  <a:gd name="connsiteX90" fmla="*/ 179403 w 551045"/>
                  <a:gd name="connsiteY90" fmla="*/ 50176 h 608697"/>
                  <a:gd name="connsiteX91" fmla="*/ 181534 w 551045"/>
                  <a:gd name="connsiteY91" fmla="*/ 66863 h 608697"/>
                  <a:gd name="connsiteX92" fmla="*/ 115685 w 551045"/>
                  <a:gd name="connsiteY92" fmla="*/ 132634 h 608697"/>
                  <a:gd name="connsiteX93" fmla="*/ 115397 w 551045"/>
                  <a:gd name="connsiteY93" fmla="*/ 132634 h 608697"/>
                  <a:gd name="connsiteX94" fmla="*/ 115109 w 551045"/>
                  <a:gd name="connsiteY94" fmla="*/ 132634 h 608697"/>
                  <a:gd name="connsiteX95" fmla="*/ 51275 w 551045"/>
                  <a:gd name="connsiteY95" fmla="*/ 83262 h 608697"/>
                  <a:gd name="connsiteX96" fmla="*/ 49144 w 551045"/>
                  <a:gd name="connsiteY96" fmla="*/ 66575 h 608697"/>
                  <a:gd name="connsiteX97" fmla="*/ 114993 w 551045"/>
                  <a:gd name="connsiteY97" fmla="*/ 748 h 608697"/>
                  <a:gd name="connsiteX98" fmla="*/ 114958 w 551045"/>
                  <a:gd name="connsiteY98" fmla="*/ 423 h 608697"/>
                  <a:gd name="connsiteX99" fmla="*/ 48690 w 551045"/>
                  <a:gd name="connsiteY99" fmla="*/ 66575 h 608697"/>
                  <a:gd name="connsiteX100" fmla="*/ 50822 w 551045"/>
                  <a:gd name="connsiteY100" fmla="*/ 83372 h 608697"/>
                  <a:gd name="connsiteX101" fmla="*/ 115073 w 551045"/>
                  <a:gd name="connsiteY101" fmla="*/ 133015 h 608697"/>
                  <a:gd name="connsiteX102" fmla="*/ 115361 w 551045"/>
                  <a:gd name="connsiteY102" fmla="*/ 133015 h 608697"/>
                  <a:gd name="connsiteX103" fmla="*/ 115649 w 551045"/>
                  <a:gd name="connsiteY103" fmla="*/ 133015 h 608697"/>
                  <a:gd name="connsiteX104" fmla="*/ 181917 w 551045"/>
                  <a:gd name="connsiteY104" fmla="*/ 66863 h 608697"/>
                  <a:gd name="connsiteX105" fmla="*/ 179785 w 551045"/>
                  <a:gd name="connsiteY105" fmla="*/ 50066 h 608697"/>
                  <a:gd name="connsiteX106" fmla="*/ 115534 w 551045"/>
                  <a:gd name="connsiteY106" fmla="*/ 423 h 608697"/>
                  <a:gd name="connsiteX107" fmla="*/ 115246 w 551045"/>
                  <a:gd name="connsiteY107" fmla="*/ 423 h 608697"/>
                  <a:gd name="connsiteX108" fmla="*/ 114958 w 551045"/>
                  <a:gd name="connsiteY108" fmla="*/ 423 h 608697"/>
                  <a:gd name="connsiteX109" fmla="*/ 114993 w 551045"/>
                  <a:gd name="connsiteY109" fmla="*/ 0 h 608697"/>
                  <a:gd name="connsiteX110" fmla="*/ 115281 w 551045"/>
                  <a:gd name="connsiteY110" fmla="*/ 0 h 608697"/>
                  <a:gd name="connsiteX111" fmla="*/ 115569 w 551045"/>
                  <a:gd name="connsiteY111" fmla="*/ 0 h 608697"/>
                  <a:gd name="connsiteX112" fmla="*/ 180152 w 551045"/>
                  <a:gd name="connsiteY112" fmla="*/ 49946 h 608697"/>
                  <a:gd name="connsiteX113" fmla="*/ 182341 w 551045"/>
                  <a:gd name="connsiteY113" fmla="*/ 66863 h 608697"/>
                  <a:gd name="connsiteX114" fmla="*/ 115685 w 551045"/>
                  <a:gd name="connsiteY114" fmla="*/ 133439 h 608697"/>
                  <a:gd name="connsiteX115" fmla="*/ 115397 w 551045"/>
                  <a:gd name="connsiteY115" fmla="*/ 133439 h 608697"/>
                  <a:gd name="connsiteX116" fmla="*/ 115109 w 551045"/>
                  <a:gd name="connsiteY116" fmla="*/ 133439 h 608697"/>
                  <a:gd name="connsiteX117" fmla="*/ 50526 w 551045"/>
                  <a:gd name="connsiteY117" fmla="*/ 83493 h 608697"/>
                  <a:gd name="connsiteX118" fmla="*/ 48337 w 551045"/>
                  <a:gd name="connsiteY118" fmla="*/ 66575 h 608697"/>
                  <a:gd name="connsiteX119" fmla="*/ 114993 w 551045"/>
                  <a:gd name="connsiteY119" fmla="*/ 0 h 6086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551045" h="608697">
                    <a:moveTo>
                      <a:pt x="485820" y="430096"/>
                    </a:moveTo>
                    <a:cubicBezTo>
                      <a:pt x="520910" y="430096"/>
                      <a:pt x="549489" y="457699"/>
                      <a:pt x="550987" y="492317"/>
                    </a:cubicBezTo>
                    <a:cubicBezTo>
                      <a:pt x="550987" y="492375"/>
                      <a:pt x="551045" y="492432"/>
                      <a:pt x="551045" y="492490"/>
                    </a:cubicBezTo>
                    <a:cubicBezTo>
                      <a:pt x="551045" y="492950"/>
                      <a:pt x="551045" y="493353"/>
                      <a:pt x="550987" y="493813"/>
                    </a:cubicBezTo>
                    <a:cubicBezTo>
                      <a:pt x="551045" y="494273"/>
                      <a:pt x="551045" y="494733"/>
                      <a:pt x="551045" y="495193"/>
                    </a:cubicBezTo>
                    <a:cubicBezTo>
                      <a:pt x="551045" y="531134"/>
                      <a:pt x="521832" y="560289"/>
                      <a:pt x="485820" y="560289"/>
                    </a:cubicBezTo>
                    <a:cubicBezTo>
                      <a:pt x="454129" y="560289"/>
                      <a:pt x="427739" y="537747"/>
                      <a:pt x="421862" y="507902"/>
                    </a:cubicBezTo>
                    <a:cubicBezTo>
                      <a:pt x="420710" y="503474"/>
                      <a:pt x="420076" y="499046"/>
                      <a:pt x="420134" y="494560"/>
                    </a:cubicBezTo>
                    <a:cubicBezTo>
                      <a:pt x="420134" y="489385"/>
                      <a:pt x="421056" y="484152"/>
                      <a:pt x="422611" y="479034"/>
                    </a:cubicBezTo>
                    <a:cubicBezTo>
                      <a:pt x="429814" y="450913"/>
                      <a:pt x="455397" y="430096"/>
                      <a:pt x="485820" y="430096"/>
                    </a:cubicBezTo>
                    <a:close/>
                    <a:moveTo>
                      <a:pt x="485137" y="236253"/>
                    </a:moveTo>
                    <a:cubicBezTo>
                      <a:pt x="521537" y="236253"/>
                      <a:pt x="551045" y="265714"/>
                      <a:pt x="551045" y="302055"/>
                    </a:cubicBezTo>
                    <a:cubicBezTo>
                      <a:pt x="551045" y="338396"/>
                      <a:pt x="521537" y="367857"/>
                      <a:pt x="485137" y="367857"/>
                    </a:cubicBezTo>
                    <a:cubicBezTo>
                      <a:pt x="448737" y="367857"/>
                      <a:pt x="419229" y="338396"/>
                      <a:pt x="419229" y="302055"/>
                    </a:cubicBezTo>
                    <a:cubicBezTo>
                      <a:pt x="419229" y="265714"/>
                      <a:pt x="448737" y="236253"/>
                      <a:pt x="485137" y="236253"/>
                    </a:cubicBezTo>
                    <a:close/>
                    <a:moveTo>
                      <a:pt x="45513" y="160819"/>
                    </a:moveTo>
                    <a:lnTo>
                      <a:pt x="62048" y="160819"/>
                    </a:lnTo>
                    <a:lnTo>
                      <a:pt x="78583" y="243365"/>
                    </a:lnTo>
                    <a:lnTo>
                      <a:pt x="98228" y="243365"/>
                    </a:lnTo>
                    <a:lnTo>
                      <a:pt x="103356" y="187625"/>
                    </a:lnTo>
                    <a:cubicBezTo>
                      <a:pt x="103183" y="186647"/>
                      <a:pt x="102952" y="185612"/>
                      <a:pt x="102722" y="184634"/>
                    </a:cubicBezTo>
                    <a:cubicBezTo>
                      <a:pt x="100936" y="177386"/>
                      <a:pt x="97767" y="170483"/>
                      <a:pt x="94368" y="163293"/>
                    </a:cubicBezTo>
                    <a:cubicBezTo>
                      <a:pt x="94368" y="163293"/>
                      <a:pt x="93677" y="161855"/>
                      <a:pt x="93331" y="161107"/>
                    </a:cubicBezTo>
                    <a:lnTo>
                      <a:pt x="93389" y="161107"/>
                    </a:lnTo>
                    <a:cubicBezTo>
                      <a:pt x="93331" y="160992"/>
                      <a:pt x="93274" y="160877"/>
                      <a:pt x="93274" y="160819"/>
                    </a:cubicBezTo>
                    <a:lnTo>
                      <a:pt x="137347" y="160819"/>
                    </a:lnTo>
                    <a:cubicBezTo>
                      <a:pt x="137289" y="160877"/>
                      <a:pt x="137232" y="160992"/>
                      <a:pt x="137232" y="161107"/>
                    </a:cubicBezTo>
                    <a:lnTo>
                      <a:pt x="137404" y="161107"/>
                    </a:lnTo>
                    <a:cubicBezTo>
                      <a:pt x="137059" y="161855"/>
                      <a:pt x="136367" y="163293"/>
                      <a:pt x="136367" y="163293"/>
                    </a:cubicBezTo>
                    <a:cubicBezTo>
                      <a:pt x="132507" y="171576"/>
                      <a:pt x="128820" y="179514"/>
                      <a:pt x="127322" y="187913"/>
                    </a:cubicBezTo>
                    <a:lnTo>
                      <a:pt x="132450" y="243365"/>
                    </a:lnTo>
                    <a:lnTo>
                      <a:pt x="152038" y="243365"/>
                    </a:lnTo>
                    <a:lnTo>
                      <a:pt x="168630" y="160819"/>
                    </a:lnTo>
                    <a:lnTo>
                      <a:pt x="185165" y="160819"/>
                    </a:lnTo>
                    <a:cubicBezTo>
                      <a:pt x="210283" y="160819"/>
                      <a:pt x="230678" y="181125"/>
                      <a:pt x="230678" y="206263"/>
                    </a:cubicBezTo>
                    <a:lnTo>
                      <a:pt x="230678" y="338682"/>
                    </a:lnTo>
                    <a:cubicBezTo>
                      <a:pt x="230678" y="363820"/>
                      <a:pt x="210283" y="384125"/>
                      <a:pt x="185165" y="384125"/>
                    </a:cubicBezTo>
                    <a:lnTo>
                      <a:pt x="179346" y="384125"/>
                    </a:lnTo>
                    <a:lnTo>
                      <a:pt x="179346" y="576599"/>
                    </a:lnTo>
                    <a:cubicBezTo>
                      <a:pt x="179346" y="594316"/>
                      <a:pt x="165000" y="608697"/>
                      <a:pt x="147256" y="608697"/>
                    </a:cubicBezTo>
                    <a:cubicBezTo>
                      <a:pt x="130721" y="608697"/>
                      <a:pt x="117125" y="596215"/>
                      <a:pt x="115339" y="580223"/>
                    </a:cubicBezTo>
                    <a:cubicBezTo>
                      <a:pt x="113553" y="596215"/>
                      <a:pt x="99957" y="608697"/>
                      <a:pt x="83422" y="608697"/>
                    </a:cubicBezTo>
                    <a:cubicBezTo>
                      <a:pt x="65678" y="608697"/>
                      <a:pt x="51332" y="594316"/>
                      <a:pt x="51332" y="576599"/>
                    </a:cubicBezTo>
                    <a:lnTo>
                      <a:pt x="51332" y="384125"/>
                    </a:lnTo>
                    <a:lnTo>
                      <a:pt x="45513" y="384125"/>
                    </a:lnTo>
                    <a:cubicBezTo>
                      <a:pt x="20395" y="384125"/>
                      <a:pt x="0" y="363820"/>
                      <a:pt x="0" y="338682"/>
                    </a:cubicBezTo>
                    <a:lnTo>
                      <a:pt x="0" y="206263"/>
                    </a:lnTo>
                    <a:cubicBezTo>
                      <a:pt x="0" y="181125"/>
                      <a:pt x="20395" y="160819"/>
                      <a:pt x="45513" y="160819"/>
                    </a:cubicBezTo>
                    <a:close/>
                    <a:moveTo>
                      <a:pt x="400710" y="89618"/>
                    </a:moveTo>
                    <a:lnTo>
                      <a:pt x="400710" y="134086"/>
                    </a:lnTo>
                    <a:cubicBezTo>
                      <a:pt x="375702" y="134086"/>
                      <a:pt x="355362" y="154393"/>
                      <a:pt x="355362" y="179359"/>
                    </a:cubicBezTo>
                    <a:lnTo>
                      <a:pt x="355362" y="279857"/>
                    </a:lnTo>
                    <a:lnTo>
                      <a:pt x="401517" y="279857"/>
                    </a:lnTo>
                    <a:lnTo>
                      <a:pt x="401517" y="324325"/>
                    </a:lnTo>
                    <a:lnTo>
                      <a:pt x="355362" y="324325"/>
                    </a:lnTo>
                    <a:lnTo>
                      <a:pt x="355362" y="424823"/>
                    </a:lnTo>
                    <a:cubicBezTo>
                      <a:pt x="355362" y="449731"/>
                      <a:pt x="375702" y="470038"/>
                      <a:pt x="400710" y="470038"/>
                    </a:cubicBezTo>
                    <a:lnTo>
                      <a:pt x="400710" y="514563"/>
                    </a:lnTo>
                    <a:cubicBezTo>
                      <a:pt x="351155" y="514563"/>
                      <a:pt x="310820" y="474295"/>
                      <a:pt x="310820" y="424823"/>
                    </a:cubicBezTo>
                    <a:lnTo>
                      <a:pt x="310820" y="324325"/>
                    </a:lnTo>
                    <a:lnTo>
                      <a:pt x="270830" y="324325"/>
                    </a:lnTo>
                    <a:lnTo>
                      <a:pt x="270830" y="279857"/>
                    </a:lnTo>
                    <a:lnTo>
                      <a:pt x="310820" y="279857"/>
                    </a:lnTo>
                    <a:lnTo>
                      <a:pt x="310820" y="179359"/>
                    </a:lnTo>
                    <a:cubicBezTo>
                      <a:pt x="310820" y="129886"/>
                      <a:pt x="351155" y="89618"/>
                      <a:pt x="400710" y="89618"/>
                    </a:cubicBezTo>
                    <a:close/>
                    <a:moveTo>
                      <a:pt x="487441" y="44033"/>
                    </a:moveTo>
                    <a:cubicBezTo>
                      <a:pt x="487557" y="44090"/>
                      <a:pt x="487614" y="44090"/>
                      <a:pt x="487729" y="44148"/>
                    </a:cubicBezTo>
                    <a:cubicBezTo>
                      <a:pt x="521828" y="45471"/>
                      <a:pt x="549246" y="73030"/>
                      <a:pt x="550282" y="107206"/>
                    </a:cubicBezTo>
                    <a:cubicBezTo>
                      <a:pt x="550282" y="107436"/>
                      <a:pt x="550282" y="107667"/>
                      <a:pt x="550340" y="107897"/>
                    </a:cubicBezTo>
                    <a:cubicBezTo>
                      <a:pt x="550340" y="108184"/>
                      <a:pt x="550340" y="108472"/>
                      <a:pt x="550340" y="108760"/>
                    </a:cubicBezTo>
                    <a:cubicBezTo>
                      <a:pt x="550340" y="108875"/>
                      <a:pt x="550340" y="109047"/>
                      <a:pt x="550340" y="109220"/>
                    </a:cubicBezTo>
                    <a:cubicBezTo>
                      <a:pt x="550340" y="109393"/>
                      <a:pt x="550340" y="109508"/>
                      <a:pt x="550340" y="109680"/>
                    </a:cubicBezTo>
                    <a:cubicBezTo>
                      <a:pt x="550340" y="110371"/>
                      <a:pt x="550282" y="111119"/>
                      <a:pt x="550282" y="111867"/>
                    </a:cubicBezTo>
                    <a:cubicBezTo>
                      <a:pt x="550225" y="112384"/>
                      <a:pt x="550225" y="112902"/>
                      <a:pt x="550167" y="113420"/>
                    </a:cubicBezTo>
                    <a:cubicBezTo>
                      <a:pt x="550167" y="113593"/>
                      <a:pt x="550167" y="113765"/>
                      <a:pt x="550167" y="113938"/>
                    </a:cubicBezTo>
                    <a:cubicBezTo>
                      <a:pt x="547748" y="147653"/>
                      <a:pt x="519582" y="174349"/>
                      <a:pt x="485137" y="174349"/>
                    </a:cubicBezTo>
                    <a:cubicBezTo>
                      <a:pt x="484792" y="174349"/>
                      <a:pt x="484446" y="174292"/>
                      <a:pt x="484158" y="174292"/>
                    </a:cubicBezTo>
                    <a:cubicBezTo>
                      <a:pt x="478629" y="174579"/>
                      <a:pt x="473099" y="173716"/>
                      <a:pt x="467685" y="171933"/>
                    </a:cubicBezTo>
                    <a:cubicBezTo>
                      <a:pt x="440556" y="164396"/>
                      <a:pt x="420511" y="139828"/>
                      <a:pt x="419993" y="110428"/>
                    </a:cubicBezTo>
                    <a:cubicBezTo>
                      <a:pt x="419993" y="110313"/>
                      <a:pt x="419935" y="110198"/>
                      <a:pt x="419935" y="110083"/>
                    </a:cubicBezTo>
                    <a:cubicBezTo>
                      <a:pt x="419935" y="109910"/>
                      <a:pt x="419935" y="109795"/>
                      <a:pt x="419993" y="109680"/>
                    </a:cubicBezTo>
                    <a:cubicBezTo>
                      <a:pt x="419993" y="109508"/>
                      <a:pt x="419935" y="109335"/>
                      <a:pt x="419935" y="109220"/>
                    </a:cubicBezTo>
                    <a:cubicBezTo>
                      <a:pt x="419935" y="108990"/>
                      <a:pt x="419935" y="108760"/>
                      <a:pt x="419993" y="108530"/>
                    </a:cubicBezTo>
                    <a:cubicBezTo>
                      <a:pt x="419993" y="107839"/>
                      <a:pt x="419993" y="107206"/>
                      <a:pt x="419993" y="106516"/>
                    </a:cubicBezTo>
                    <a:cubicBezTo>
                      <a:pt x="421433" y="71822"/>
                      <a:pt x="450059" y="44090"/>
                      <a:pt x="485137" y="44090"/>
                    </a:cubicBezTo>
                    <a:cubicBezTo>
                      <a:pt x="485425" y="44090"/>
                      <a:pt x="485713" y="44090"/>
                      <a:pt x="486001" y="44090"/>
                    </a:cubicBezTo>
                    <a:cubicBezTo>
                      <a:pt x="486462" y="44090"/>
                      <a:pt x="486981" y="44033"/>
                      <a:pt x="487441" y="44033"/>
                    </a:cubicBezTo>
                    <a:close/>
                    <a:moveTo>
                      <a:pt x="114993" y="748"/>
                    </a:moveTo>
                    <a:lnTo>
                      <a:pt x="115281" y="748"/>
                    </a:lnTo>
                    <a:lnTo>
                      <a:pt x="115569" y="748"/>
                    </a:lnTo>
                    <a:cubicBezTo>
                      <a:pt x="145700" y="748"/>
                      <a:pt x="171913" y="21060"/>
                      <a:pt x="179403" y="50176"/>
                    </a:cubicBezTo>
                    <a:cubicBezTo>
                      <a:pt x="180843" y="55585"/>
                      <a:pt x="181534" y="61224"/>
                      <a:pt x="181534" y="66863"/>
                    </a:cubicBezTo>
                    <a:cubicBezTo>
                      <a:pt x="181534" y="103115"/>
                      <a:pt x="151980" y="132634"/>
                      <a:pt x="115685" y="132634"/>
                    </a:cubicBezTo>
                    <a:lnTo>
                      <a:pt x="115397" y="132634"/>
                    </a:lnTo>
                    <a:lnTo>
                      <a:pt x="115109" y="132634"/>
                    </a:lnTo>
                    <a:cubicBezTo>
                      <a:pt x="84978" y="132634"/>
                      <a:pt x="58765" y="112321"/>
                      <a:pt x="51275" y="83262"/>
                    </a:cubicBezTo>
                    <a:cubicBezTo>
                      <a:pt x="49835" y="77854"/>
                      <a:pt x="49144" y="72214"/>
                      <a:pt x="49144" y="66575"/>
                    </a:cubicBezTo>
                    <a:cubicBezTo>
                      <a:pt x="49144" y="30267"/>
                      <a:pt x="78698" y="748"/>
                      <a:pt x="114993" y="748"/>
                    </a:cubicBezTo>
                    <a:close/>
                    <a:moveTo>
                      <a:pt x="114958" y="423"/>
                    </a:moveTo>
                    <a:cubicBezTo>
                      <a:pt x="78366" y="423"/>
                      <a:pt x="48690" y="30047"/>
                      <a:pt x="48690" y="66575"/>
                    </a:cubicBezTo>
                    <a:cubicBezTo>
                      <a:pt x="48690" y="72385"/>
                      <a:pt x="49439" y="78022"/>
                      <a:pt x="50822" y="83372"/>
                    </a:cubicBezTo>
                    <a:cubicBezTo>
                      <a:pt x="58198" y="111904"/>
                      <a:pt x="84129" y="133015"/>
                      <a:pt x="115073" y="133015"/>
                    </a:cubicBezTo>
                    <a:cubicBezTo>
                      <a:pt x="115131" y="133015"/>
                      <a:pt x="115246" y="133015"/>
                      <a:pt x="115361" y="133015"/>
                    </a:cubicBezTo>
                    <a:cubicBezTo>
                      <a:pt x="115419" y="133015"/>
                      <a:pt x="115534" y="133015"/>
                      <a:pt x="115649" y="133015"/>
                    </a:cubicBezTo>
                    <a:cubicBezTo>
                      <a:pt x="152241" y="133015"/>
                      <a:pt x="181917" y="103391"/>
                      <a:pt x="181917" y="66863"/>
                    </a:cubicBezTo>
                    <a:cubicBezTo>
                      <a:pt x="181917" y="61053"/>
                      <a:pt x="181168" y="55415"/>
                      <a:pt x="179785" y="50066"/>
                    </a:cubicBezTo>
                    <a:cubicBezTo>
                      <a:pt x="172409" y="21534"/>
                      <a:pt x="146478" y="423"/>
                      <a:pt x="115534" y="423"/>
                    </a:cubicBezTo>
                    <a:cubicBezTo>
                      <a:pt x="115476" y="423"/>
                      <a:pt x="115361" y="423"/>
                      <a:pt x="115246" y="423"/>
                    </a:cubicBezTo>
                    <a:cubicBezTo>
                      <a:pt x="115188" y="423"/>
                      <a:pt x="115073" y="423"/>
                      <a:pt x="114958" y="423"/>
                    </a:cubicBezTo>
                    <a:close/>
                    <a:moveTo>
                      <a:pt x="114993" y="0"/>
                    </a:moveTo>
                    <a:lnTo>
                      <a:pt x="115281" y="0"/>
                    </a:lnTo>
                    <a:lnTo>
                      <a:pt x="115569" y="0"/>
                    </a:lnTo>
                    <a:cubicBezTo>
                      <a:pt x="146046" y="0"/>
                      <a:pt x="172605" y="20542"/>
                      <a:pt x="180152" y="49946"/>
                    </a:cubicBezTo>
                    <a:cubicBezTo>
                      <a:pt x="181592" y="55470"/>
                      <a:pt x="182341" y="61109"/>
                      <a:pt x="182341" y="66863"/>
                    </a:cubicBezTo>
                    <a:cubicBezTo>
                      <a:pt x="182341" y="103575"/>
                      <a:pt x="152441" y="133439"/>
                      <a:pt x="115685" y="133439"/>
                    </a:cubicBezTo>
                    <a:lnTo>
                      <a:pt x="115397" y="133439"/>
                    </a:lnTo>
                    <a:lnTo>
                      <a:pt x="115109" y="133439"/>
                    </a:lnTo>
                    <a:cubicBezTo>
                      <a:pt x="84632" y="133439"/>
                      <a:pt x="58073" y="112897"/>
                      <a:pt x="50526" y="83493"/>
                    </a:cubicBezTo>
                    <a:cubicBezTo>
                      <a:pt x="49086" y="77969"/>
                      <a:pt x="48337" y="72272"/>
                      <a:pt x="48337" y="66575"/>
                    </a:cubicBezTo>
                    <a:cubicBezTo>
                      <a:pt x="48337" y="29864"/>
                      <a:pt x="78237" y="0"/>
                      <a:pt x="114993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1E1BAF99-27BA-40A3-B7E4-0F6C00AB1450}"/>
                </a:ext>
              </a:extLst>
            </p:cNvPr>
            <p:cNvCxnSpPr/>
            <p:nvPr/>
          </p:nvCxnSpPr>
          <p:spPr>
            <a:xfrm>
              <a:off x="4589345" y="4076166"/>
              <a:ext cx="0" cy="2057934"/>
            </a:xfrm>
            <a:prstGeom prst="straightConnector1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65594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A280393-9CB9-4475-96DD-A6B1E4F89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课程要点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8B61CCC-3042-4668-8BA4-34078693B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3FFD025-0C35-484A-B09D-5B22E89CE3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DC154D4-BA5A-4421-8058-8629C3FF3AC9}"/>
              </a:ext>
            </a:extLst>
          </p:cNvPr>
          <p:cNvGrpSpPr>
            <a:grpSpLocks noChangeAspect="1"/>
          </p:cNvGrpSpPr>
          <p:nvPr/>
        </p:nvGrpSpPr>
        <p:grpSpPr>
          <a:xfrm>
            <a:off x="660400" y="1130300"/>
            <a:ext cx="10858500" cy="5003800"/>
            <a:chOff x="660399" y="1130300"/>
            <a:chExt cx="10858501" cy="5003800"/>
          </a:xfrm>
        </p:grpSpPr>
        <p:grpSp>
          <p:nvGrpSpPr>
            <p:cNvPr id="6" name="组合 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  <a:extLst>
                <a:ext uri="{FF2B5EF4-FFF2-40B4-BE49-F238E27FC236}">
                  <a16:creationId xmlns:a16="http://schemas.microsoft.com/office/drawing/2014/main" id="{45F56C54-CFAD-4F17-A230-F0D6EC64A459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660399" y="1939924"/>
              <a:ext cx="3905161" cy="4194176"/>
              <a:chOff x="3849688" y="955675"/>
              <a:chExt cx="4525963" cy="4860925"/>
            </a:xfrm>
          </p:grpSpPr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A92100D-5657-438D-A6D6-50C7F6F4E0CB}"/>
                  </a:ext>
                </a:extLst>
              </p:cNvPr>
              <p:cNvSpPr/>
              <p:nvPr/>
            </p:nvSpPr>
            <p:spPr bwMode="auto">
              <a:xfrm>
                <a:off x="3849688" y="2697163"/>
                <a:ext cx="2101850" cy="2563813"/>
              </a:xfrm>
              <a:custGeom>
                <a:avLst/>
                <a:gdLst>
                  <a:gd name="T0" fmla="*/ 550 w 608"/>
                  <a:gd name="T1" fmla="*/ 45 h 743"/>
                  <a:gd name="T2" fmla="*/ 9 w 608"/>
                  <a:gd name="T3" fmla="*/ 1 h 743"/>
                  <a:gd name="T4" fmla="*/ 0 w 608"/>
                  <a:gd name="T5" fmla="*/ 9 h 743"/>
                  <a:gd name="T6" fmla="*/ 57 w 608"/>
                  <a:gd name="T7" fmla="*/ 693 h 743"/>
                  <a:gd name="T8" fmla="*/ 64 w 608"/>
                  <a:gd name="T9" fmla="*/ 700 h 743"/>
                  <a:gd name="T10" fmla="*/ 608 w 608"/>
                  <a:gd name="T11" fmla="*/ 743 h 743"/>
                  <a:gd name="T12" fmla="*/ 550 w 608"/>
                  <a:gd name="T13" fmla="*/ 45 h 7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08" h="743">
                    <a:moveTo>
                      <a:pt x="550" y="45"/>
                    </a:moveTo>
                    <a:cubicBezTo>
                      <a:pt x="9" y="1"/>
                      <a:pt x="9" y="1"/>
                      <a:pt x="9" y="1"/>
                    </a:cubicBezTo>
                    <a:cubicBezTo>
                      <a:pt x="3" y="0"/>
                      <a:pt x="0" y="4"/>
                      <a:pt x="0" y="9"/>
                    </a:cubicBezTo>
                    <a:cubicBezTo>
                      <a:pt x="57" y="693"/>
                      <a:pt x="57" y="693"/>
                      <a:pt x="57" y="693"/>
                    </a:cubicBezTo>
                    <a:cubicBezTo>
                      <a:pt x="58" y="696"/>
                      <a:pt x="60" y="700"/>
                      <a:pt x="64" y="700"/>
                    </a:cubicBezTo>
                    <a:cubicBezTo>
                      <a:pt x="608" y="743"/>
                      <a:pt x="608" y="743"/>
                      <a:pt x="608" y="743"/>
                    </a:cubicBezTo>
                    <a:lnTo>
                      <a:pt x="550" y="45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10C42052-8459-4015-81B6-08CF4EA34E9B}"/>
                  </a:ext>
                </a:extLst>
              </p:cNvPr>
              <p:cNvSpPr/>
              <p:nvPr/>
            </p:nvSpPr>
            <p:spPr bwMode="auto">
              <a:xfrm>
                <a:off x="3957638" y="2797175"/>
                <a:ext cx="1985963" cy="2378075"/>
              </a:xfrm>
              <a:custGeom>
                <a:avLst/>
                <a:gdLst>
                  <a:gd name="T0" fmla="*/ 1134 w 1251"/>
                  <a:gd name="T1" fmla="*/ 92 h 1498"/>
                  <a:gd name="T2" fmla="*/ 0 w 1251"/>
                  <a:gd name="T3" fmla="*/ 0 h 1498"/>
                  <a:gd name="T4" fmla="*/ 115 w 1251"/>
                  <a:gd name="T5" fmla="*/ 1408 h 1498"/>
                  <a:gd name="T6" fmla="*/ 1251 w 1251"/>
                  <a:gd name="T7" fmla="*/ 1498 h 1498"/>
                  <a:gd name="T8" fmla="*/ 1134 w 1251"/>
                  <a:gd name="T9" fmla="*/ 92 h 1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51" h="1498">
                    <a:moveTo>
                      <a:pt x="1134" y="92"/>
                    </a:moveTo>
                    <a:lnTo>
                      <a:pt x="0" y="0"/>
                    </a:lnTo>
                    <a:lnTo>
                      <a:pt x="115" y="1408"/>
                    </a:lnTo>
                    <a:lnTo>
                      <a:pt x="1251" y="1498"/>
                    </a:lnTo>
                    <a:lnTo>
                      <a:pt x="1134" y="92"/>
                    </a:ln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70504CBE-68A1-4E4C-AE56-90B07ED27905}"/>
                  </a:ext>
                </a:extLst>
              </p:cNvPr>
              <p:cNvSpPr/>
              <p:nvPr/>
            </p:nvSpPr>
            <p:spPr bwMode="auto">
              <a:xfrm>
                <a:off x="5749926" y="2390775"/>
                <a:ext cx="2049463" cy="2870200"/>
              </a:xfrm>
              <a:custGeom>
                <a:avLst/>
                <a:gdLst>
                  <a:gd name="T0" fmla="*/ 0 w 593"/>
                  <a:gd name="T1" fmla="*/ 134 h 832"/>
                  <a:gd name="T2" fmla="*/ 526 w 593"/>
                  <a:gd name="T3" fmla="*/ 2 h 832"/>
                  <a:gd name="T4" fmla="*/ 536 w 593"/>
                  <a:gd name="T5" fmla="*/ 8 h 832"/>
                  <a:gd name="T6" fmla="*/ 592 w 593"/>
                  <a:gd name="T7" fmla="*/ 692 h 832"/>
                  <a:gd name="T8" fmla="*/ 587 w 593"/>
                  <a:gd name="T9" fmla="*/ 700 h 832"/>
                  <a:gd name="T10" fmla="*/ 58 w 593"/>
                  <a:gd name="T11" fmla="*/ 832 h 832"/>
                  <a:gd name="T12" fmla="*/ 0 w 593"/>
                  <a:gd name="T13" fmla="*/ 134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93" h="832">
                    <a:moveTo>
                      <a:pt x="0" y="134"/>
                    </a:moveTo>
                    <a:cubicBezTo>
                      <a:pt x="526" y="2"/>
                      <a:pt x="526" y="2"/>
                      <a:pt x="526" y="2"/>
                    </a:cubicBezTo>
                    <a:cubicBezTo>
                      <a:pt x="531" y="0"/>
                      <a:pt x="535" y="3"/>
                      <a:pt x="536" y="8"/>
                    </a:cubicBezTo>
                    <a:cubicBezTo>
                      <a:pt x="592" y="692"/>
                      <a:pt x="592" y="692"/>
                      <a:pt x="592" y="692"/>
                    </a:cubicBezTo>
                    <a:cubicBezTo>
                      <a:pt x="593" y="695"/>
                      <a:pt x="590" y="699"/>
                      <a:pt x="587" y="700"/>
                    </a:cubicBezTo>
                    <a:cubicBezTo>
                      <a:pt x="58" y="832"/>
                      <a:pt x="58" y="832"/>
                      <a:pt x="58" y="832"/>
                    </a:cubicBezTo>
                    <a:lnTo>
                      <a:pt x="0" y="134"/>
                    </a:lnTo>
                    <a:close/>
                  </a:path>
                </a:pathLst>
              </a:custGeom>
              <a:solidFill>
                <a:schemeClr val="accent2">
                  <a:lumMod val="5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D6CE9487-D303-43DA-86C8-F479A16A2425}"/>
                  </a:ext>
                </a:extLst>
              </p:cNvPr>
              <p:cNvSpPr/>
              <p:nvPr/>
            </p:nvSpPr>
            <p:spPr bwMode="auto">
              <a:xfrm>
                <a:off x="5757863" y="2505075"/>
                <a:ext cx="1938338" cy="2670175"/>
              </a:xfrm>
              <a:custGeom>
                <a:avLst/>
                <a:gdLst>
                  <a:gd name="T0" fmla="*/ 0 w 1221"/>
                  <a:gd name="T1" fmla="*/ 276 h 1682"/>
                  <a:gd name="T2" fmla="*/ 1103 w 1221"/>
                  <a:gd name="T3" fmla="*/ 0 h 1682"/>
                  <a:gd name="T4" fmla="*/ 1221 w 1221"/>
                  <a:gd name="T5" fmla="*/ 1406 h 1682"/>
                  <a:gd name="T6" fmla="*/ 117 w 1221"/>
                  <a:gd name="T7" fmla="*/ 1682 h 1682"/>
                  <a:gd name="T8" fmla="*/ 0 w 1221"/>
                  <a:gd name="T9" fmla="*/ 276 h 16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1" h="1682">
                    <a:moveTo>
                      <a:pt x="0" y="276"/>
                    </a:moveTo>
                    <a:lnTo>
                      <a:pt x="1103" y="0"/>
                    </a:lnTo>
                    <a:lnTo>
                      <a:pt x="1221" y="1406"/>
                    </a:lnTo>
                    <a:lnTo>
                      <a:pt x="117" y="1682"/>
                    </a:lnTo>
                    <a:lnTo>
                      <a:pt x="0" y="276"/>
                    </a:lnTo>
                    <a:close/>
                  </a:path>
                </a:pathLst>
              </a:custGeom>
              <a:solidFill>
                <a:srgbClr val="ACB0B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1B19336A-3CE6-42A6-9D5B-6F0087811ECA}"/>
                  </a:ext>
                </a:extLst>
              </p:cNvPr>
              <p:cNvSpPr/>
              <p:nvPr/>
            </p:nvSpPr>
            <p:spPr bwMode="auto">
              <a:xfrm>
                <a:off x="5757863" y="2297113"/>
                <a:ext cx="1751013" cy="2878138"/>
              </a:xfrm>
              <a:custGeom>
                <a:avLst/>
                <a:gdLst>
                  <a:gd name="T0" fmla="*/ 453 w 507"/>
                  <a:gd name="T1" fmla="*/ 29 h 834"/>
                  <a:gd name="T2" fmla="*/ 0 w 507"/>
                  <a:gd name="T3" fmla="*/ 188 h 834"/>
                  <a:gd name="T4" fmla="*/ 54 w 507"/>
                  <a:gd name="T5" fmla="*/ 834 h 834"/>
                  <a:gd name="T6" fmla="*/ 507 w 507"/>
                  <a:gd name="T7" fmla="*/ 676 h 834"/>
                  <a:gd name="T8" fmla="*/ 453 w 507"/>
                  <a:gd name="T9" fmla="*/ 29 h 8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07" h="834">
                    <a:moveTo>
                      <a:pt x="453" y="29"/>
                    </a:moveTo>
                    <a:cubicBezTo>
                      <a:pt x="302" y="0"/>
                      <a:pt x="130" y="58"/>
                      <a:pt x="0" y="188"/>
                    </a:cubicBezTo>
                    <a:cubicBezTo>
                      <a:pt x="54" y="834"/>
                      <a:pt x="54" y="834"/>
                      <a:pt x="54" y="834"/>
                    </a:cubicBezTo>
                    <a:cubicBezTo>
                      <a:pt x="183" y="704"/>
                      <a:pt x="355" y="645"/>
                      <a:pt x="507" y="676"/>
                    </a:cubicBezTo>
                    <a:lnTo>
                      <a:pt x="453" y="29"/>
                    </a:ln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5AFF859C-77EC-41F6-80C7-E3698DB18A90}"/>
                  </a:ext>
                </a:extLst>
              </p:cNvPr>
              <p:cNvSpPr/>
              <p:nvPr/>
            </p:nvSpPr>
            <p:spPr bwMode="auto">
              <a:xfrm>
                <a:off x="5757863" y="2062163"/>
                <a:ext cx="1550988" cy="3113088"/>
              </a:xfrm>
              <a:custGeom>
                <a:avLst/>
                <a:gdLst>
                  <a:gd name="T0" fmla="*/ 396 w 449"/>
                  <a:gd name="T1" fmla="*/ 0 h 902"/>
                  <a:gd name="T2" fmla="*/ 0 w 449"/>
                  <a:gd name="T3" fmla="*/ 256 h 902"/>
                  <a:gd name="T4" fmla="*/ 54 w 449"/>
                  <a:gd name="T5" fmla="*/ 902 h 902"/>
                  <a:gd name="T6" fmla="*/ 449 w 449"/>
                  <a:gd name="T7" fmla="*/ 647 h 902"/>
                  <a:gd name="T8" fmla="*/ 396 w 449"/>
                  <a:gd name="T9" fmla="*/ 0 h 9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49" h="902">
                    <a:moveTo>
                      <a:pt x="396" y="0"/>
                    </a:moveTo>
                    <a:cubicBezTo>
                      <a:pt x="263" y="1"/>
                      <a:pt x="112" y="96"/>
                      <a:pt x="0" y="256"/>
                    </a:cubicBezTo>
                    <a:cubicBezTo>
                      <a:pt x="54" y="902"/>
                      <a:pt x="54" y="902"/>
                      <a:pt x="54" y="902"/>
                    </a:cubicBezTo>
                    <a:cubicBezTo>
                      <a:pt x="166" y="742"/>
                      <a:pt x="316" y="648"/>
                      <a:pt x="449" y="647"/>
                    </a:cubicBezTo>
                    <a:lnTo>
                      <a:pt x="396" y="0"/>
                    </a:lnTo>
                    <a:close/>
                  </a:path>
                </a:pathLst>
              </a:custGeom>
              <a:solidFill>
                <a:srgbClr val="E5E7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6F2AAE67-289E-49A4-8BC3-D1FE9F22F375}"/>
                  </a:ext>
                </a:extLst>
              </p:cNvPr>
              <p:cNvSpPr/>
              <p:nvPr/>
            </p:nvSpPr>
            <p:spPr bwMode="auto">
              <a:xfrm>
                <a:off x="4122738" y="2476500"/>
                <a:ext cx="1820863" cy="2698750"/>
              </a:xfrm>
              <a:custGeom>
                <a:avLst/>
                <a:gdLst>
                  <a:gd name="T0" fmla="*/ 0 w 527"/>
                  <a:gd name="T1" fmla="*/ 54 h 782"/>
                  <a:gd name="T2" fmla="*/ 473 w 527"/>
                  <a:gd name="T3" fmla="*/ 136 h 782"/>
                  <a:gd name="T4" fmla="*/ 527 w 527"/>
                  <a:gd name="T5" fmla="*/ 782 h 782"/>
                  <a:gd name="T6" fmla="*/ 53 w 527"/>
                  <a:gd name="T7" fmla="*/ 701 h 782"/>
                  <a:gd name="T8" fmla="*/ 0 w 527"/>
                  <a:gd name="T9" fmla="*/ 54 h 7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7" h="782">
                    <a:moveTo>
                      <a:pt x="0" y="54"/>
                    </a:moveTo>
                    <a:cubicBezTo>
                      <a:pt x="144" y="0"/>
                      <a:pt x="323" y="29"/>
                      <a:pt x="473" y="136"/>
                    </a:cubicBezTo>
                    <a:cubicBezTo>
                      <a:pt x="527" y="782"/>
                      <a:pt x="527" y="782"/>
                      <a:pt x="527" y="782"/>
                    </a:cubicBezTo>
                    <a:cubicBezTo>
                      <a:pt x="377" y="675"/>
                      <a:pt x="198" y="645"/>
                      <a:pt x="53" y="701"/>
                    </a:cubicBezTo>
                    <a:lnTo>
                      <a:pt x="0" y="54"/>
                    </a:lnTo>
                    <a:close/>
                  </a:path>
                </a:pathLst>
              </a:custGeom>
              <a:solidFill>
                <a:srgbClr val="E5E7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B173020-E95B-45BF-BE50-FD20BE9013EF}"/>
                  </a:ext>
                </a:extLst>
              </p:cNvPr>
              <p:cNvSpPr/>
              <p:nvPr/>
            </p:nvSpPr>
            <p:spPr bwMode="auto">
              <a:xfrm>
                <a:off x="4264026" y="2228850"/>
                <a:ext cx="1679575" cy="2946400"/>
              </a:xfrm>
              <a:custGeom>
                <a:avLst/>
                <a:gdLst>
                  <a:gd name="T0" fmla="*/ 0 w 486"/>
                  <a:gd name="T1" fmla="*/ 21 h 854"/>
                  <a:gd name="T2" fmla="*/ 432 w 486"/>
                  <a:gd name="T3" fmla="*/ 208 h 854"/>
                  <a:gd name="T4" fmla="*/ 486 w 486"/>
                  <a:gd name="T5" fmla="*/ 854 h 854"/>
                  <a:gd name="T6" fmla="*/ 53 w 486"/>
                  <a:gd name="T7" fmla="*/ 667 h 854"/>
                  <a:gd name="T8" fmla="*/ 0 w 486"/>
                  <a:gd name="T9" fmla="*/ 21 h 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6" h="854">
                    <a:moveTo>
                      <a:pt x="0" y="21"/>
                    </a:moveTo>
                    <a:cubicBezTo>
                      <a:pt x="131" y="0"/>
                      <a:pt x="295" y="69"/>
                      <a:pt x="432" y="208"/>
                    </a:cubicBezTo>
                    <a:cubicBezTo>
                      <a:pt x="486" y="854"/>
                      <a:pt x="486" y="854"/>
                      <a:pt x="486" y="854"/>
                    </a:cubicBezTo>
                    <a:cubicBezTo>
                      <a:pt x="348" y="715"/>
                      <a:pt x="185" y="646"/>
                      <a:pt x="53" y="667"/>
                    </a:cubicBez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8C7A1958-DEE5-4537-A458-33A503A05617}"/>
                  </a:ext>
                </a:extLst>
              </p:cNvPr>
              <p:cNvSpPr/>
              <p:nvPr/>
            </p:nvSpPr>
            <p:spPr bwMode="auto">
              <a:xfrm>
                <a:off x="4389438" y="2649538"/>
                <a:ext cx="1295400" cy="514350"/>
              </a:xfrm>
              <a:custGeom>
                <a:avLst/>
                <a:gdLst>
                  <a:gd name="T0" fmla="*/ 354 w 375"/>
                  <a:gd name="T1" fmla="*/ 144 h 149"/>
                  <a:gd name="T2" fmla="*/ 14 w 375"/>
                  <a:gd name="T3" fmla="*/ 30 h 149"/>
                  <a:gd name="T4" fmla="*/ 1 w 375"/>
                  <a:gd name="T5" fmla="*/ 20 h 149"/>
                  <a:gd name="T6" fmla="*/ 1 w 375"/>
                  <a:gd name="T7" fmla="*/ 20 h 149"/>
                  <a:gd name="T8" fmla="*/ 11 w 375"/>
                  <a:gd name="T9" fmla="*/ 6 h 149"/>
                  <a:gd name="T10" fmla="*/ 130 w 375"/>
                  <a:gd name="T11" fmla="*/ 8 h 149"/>
                  <a:gd name="T12" fmla="*/ 370 w 375"/>
                  <a:gd name="T13" fmla="*/ 127 h 149"/>
                  <a:gd name="T14" fmla="*/ 370 w 375"/>
                  <a:gd name="T15" fmla="*/ 144 h 149"/>
                  <a:gd name="T16" fmla="*/ 370 w 375"/>
                  <a:gd name="T17" fmla="*/ 144 h 149"/>
                  <a:gd name="T18" fmla="*/ 354 w 375"/>
                  <a:gd name="T19" fmla="*/ 14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5" h="149">
                    <a:moveTo>
                      <a:pt x="354" y="144"/>
                    </a:moveTo>
                    <a:cubicBezTo>
                      <a:pt x="227" y="15"/>
                      <a:pt x="58" y="25"/>
                      <a:pt x="14" y="30"/>
                    </a:cubicBezTo>
                    <a:cubicBezTo>
                      <a:pt x="8" y="31"/>
                      <a:pt x="3" y="26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3"/>
                      <a:pt x="5" y="7"/>
                      <a:pt x="11" y="6"/>
                    </a:cubicBezTo>
                    <a:cubicBezTo>
                      <a:pt x="32" y="4"/>
                      <a:pt x="75" y="0"/>
                      <a:pt x="130" y="8"/>
                    </a:cubicBezTo>
                    <a:cubicBezTo>
                      <a:pt x="196" y="18"/>
                      <a:pt x="290" y="46"/>
                      <a:pt x="370" y="127"/>
                    </a:cubicBezTo>
                    <a:cubicBezTo>
                      <a:pt x="375" y="132"/>
                      <a:pt x="375" y="139"/>
                      <a:pt x="370" y="144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66" y="149"/>
                      <a:pt x="359" y="149"/>
                      <a:pt x="354" y="144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2E10FD01-0968-43A1-AEE6-7379E15A7DBB}"/>
                  </a:ext>
                </a:extLst>
              </p:cNvPr>
              <p:cNvSpPr/>
              <p:nvPr/>
            </p:nvSpPr>
            <p:spPr bwMode="auto">
              <a:xfrm>
                <a:off x="4413251" y="2952750"/>
                <a:ext cx="1292225" cy="511175"/>
              </a:xfrm>
              <a:custGeom>
                <a:avLst/>
                <a:gdLst>
                  <a:gd name="T0" fmla="*/ 354 w 374"/>
                  <a:gd name="T1" fmla="*/ 143 h 148"/>
                  <a:gd name="T2" fmla="*/ 13 w 374"/>
                  <a:gd name="T3" fmla="*/ 29 h 148"/>
                  <a:gd name="T4" fmla="*/ 1 w 374"/>
                  <a:gd name="T5" fmla="*/ 19 h 148"/>
                  <a:gd name="T6" fmla="*/ 1 w 374"/>
                  <a:gd name="T7" fmla="*/ 19 h 148"/>
                  <a:gd name="T8" fmla="*/ 11 w 374"/>
                  <a:gd name="T9" fmla="*/ 5 h 148"/>
                  <a:gd name="T10" fmla="*/ 129 w 374"/>
                  <a:gd name="T11" fmla="*/ 7 h 148"/>
                  <a:gd name="T12" fmla="*/ 370 w 374"/>
                  <a:gd name="T13" fmla="*/ 126 h 148"/>
                  <a:gd name="T14" fmla="*/ 370 w 374"/>
                  <a:gd name="T15" fmla="*/ 143 h 148"/>
                  <a:gd name="T16" fmla="*/ 370 w 374"/>
                  <a:gd name="T17" fmla="*/ 143 h 148"/>
                  <a:gd name="T18" fmla="*/ 354 w 374"/>
                  <a:gd name="T19" fmla="*/ 143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148">
                    <a:moveTo>
                      <a:pt x="354" y="143"/>
                    </a:moveTo>
                    <a:cubicBezTo>
                      <a:pt x="226" y="15"/>
                      <a:pt x="57" y="24"/>
                      <a:pt x="13" y="29"/>
                    </a:cubicBezTo>
                    <a:cubicBezTo>
                      <a:pt x="7" y="30"/>
                      <a:pt x="2" y="26"/>
                      <a:pt x="1" y="19"/>
                    </a:cubicBezTo>
                    <a:cubicBezTo>
                      <a:pt x="1" y="19"/>
                      <a:pt x="1" y="19"/>
                      <a:pt x="1" y="19"/>
                    </a:cubicBezTo>
                    <a:cubicBezTo>
                      <a:pt x="0" y="13"/>
                      <a:pt x="4" y="6"/>
                      <a:pt x="11" y="5"/>
                    </a:cubicBezTo>
                    <a:cubicBezTo>
                      <a:pt x="31" y="3"/>
                      <a:pt x="75" y="0"/>
                      <a:pt x="129" y="7"/>
                    </a:cubicBezTo>
                    <a:cubicBezTo>
                      <a:pt x="195" y="17"/>
                      <a:pt x="290" y="45"/>
                      <a:pt x="370" y="126"/>
                    </a:cubicBezTo>
                    <a:cubicBezTo>
                      <a:pt x="374" y="131"/>
                      <a:pt x="374" y="139"/>
                      <a:pt x="370" y="143"/>
                    </a:cubicBezTo>
                    <a:cubicBezTo>
                      <a:pt x="370" y="143"/>
                      <a:pt x="370" y="143"/>
                      <a:pt x="370" y="143"/>
                    </a:cubicBezTo>
                    <a:cubicBezTo>
                      <a:pt x="365" y="148"/>
                      <a:pt x="358" y="148"/>
                      <a:pt x="354" y="143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704E4227-6DFA-4895-AB51-C93654494154}"/>
                  </a:ext>
                </a:extLst>
              </p:cNvPr>
              <p:cNvSpPr/>
              <p:nvPr/>
            </p:nvSpPr>
            <p:spPr bwMode="auto">
              <a:xfrm>
                <a:off x="4427538" y="3294063"/>
                <a:ext cx="1292225" cy="514350"/>
              </a:xfrm>
              <a:custGeom>
                <a:avLst/>
                <a:gdLst>
                  <a:gd name="T0" fmla="*/ 354 w 374"/>
                  <a:gd name="T1" fmla="*/ 144 h 149"/>
                  <a:gd name="T2" fmla="*/ 13 w 374"/>
                  <a:gd name="T3" fmla="*/ 30 h 149"/>
                  <a:gd name="T4" fmla="*/ 1 w 374"/>
                  <a:gd name="T5" fmla="*/ 20 h 149"/>
                  <a:gd name="T6" fmla="*/ 1 w 374"/>
                  <a:gd name="T7" fmla="*/ 20 h 149"/>
                  <a:gd name="T8" fmla="*/ 11 w 374"/>
                  <a:gd name="T9" fmla="*/ 6 h 149"/>
                  <a:gd name="T10" fmla="*/ 129 w 374"/>
                  <a:gd name="T11" fmla="*/ 8 h 149"/>
                  <a:gd name="T12" fmla="*/ 370 w 374"/>
                  <a:gd name="T13" fmla="*/ 127 h 149"/>
                  <a:gd name="T14" fmla="*/ 370 w 374"/>
                  <a:gd name="T15" fmla="*/ 144 h 149"/>
                  <a:gd name="T16" fmla="*/ 370 w 374"/>
                  <a:gd name="T17" fmla="*/ 144 h 149"/>
                  <a:gd name="T18" fmla="*/ 354 w 374"/>
                  <a:gd name="T19" fmla="*/ 14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149">
                    <a:moveTo>
                      <a:pt x="354" y="144"/>
                    </a:moveTo>
                    <a:cubicBezTo>
                      <a:pt x="226" y="15"/>
                      <a:pt x="57" y="25"/>
                      <a:pt x="13" y="30"/>
                    </a:cubicBezTo>
                    <a:cubicBezTo>
                      <a:pt x="7" y="31"/>
                      <a:pt x="2" y="26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3"/>
                      <a:pt x="4" y="7"/>
                      <a:pt x="11" y="6"/>
                    </a:cubicBezTo>
                    <a:cubicBezTo>
                      <a:pt x="31" y="4"/>
                      <a:pt x="75" y="0"/>
                      <a:pt x="129" y="8"/>
                    </a:cubicBezTo>
                    <a:cubicBezTo>
                      <a:pt x="195" y="18"/>
                      <a:pt x="290" y="46"/>
                      <a:pt x="370" y="127"/>
                    </a:cubicBezTo>
                    <a:cubicBezTo>
                      <a:pt x="374" y="132"/>
                      <a:pt x="374" y="140"/>
                      <a:pt x="370" y="144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65" y="149"/>
                      <a:pt x="358" y="149"/>
                      <a:pt x="354" y="144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DA6FF3F7-49E8-4B60-BCCF-75A0B70A66EB}"/>
                  </a:ext>
                </a:extLst>
              </p:cNvPr>
              <p:cNvSpPr/>
              <p:nvPr/>
            </p:nvSpPr>
            <p:spPr bwMode="auto">
              <a:xfrm>
                <a:off x="4489451" y="3673475"/>
                <a:ext cx="1292225" cy="511175"/>
              </a:xfrm>
              <a:custGeom>
                <a:avLst/>
                <a:gdLst>
                  <a:gd name="T0" fmla="*/ 354 w 374"/>
                  <a:gd name="T1" fmla="*/ 144 h 148"/>
                  <a:gd name="T2" fmla="*/ 13 w 374"/>
                  <a:gd name="T3" fmla="*/ 29 h 148"/>
                  <a:gd name="T4" fmla="*/ 1 w 374"/>
                  <a:gd name="T5" fmla="*/ 20 h 148"/>
                  <a:gd name="T6" fmla="*/ 1 w 374"/>
                  <a:gd name="T7" fmla="*/ 20 h 148"/>
                  <a:gd name="T8" fmla="*/ 11 w 374"/>
                  <a:gd name="T9" fmla="*/ 6 h 148"/>
                  <a:gd name="T10" fmla="*/ 129 w 374"/>
                  <a:gd name="T11" fmla="*/ 8 h 148"/>
                  <a:gd name="T12" fmla="*/ 370 w 374"/>
                  <a:gd name="T13" fmla="*/ 126 h 148"/>
                  <a:gd name="T14" fmla="*/ 370 w 374"/>
                  <a:gd name="T15" fmla="*/ 144 h 148"/>
                  <a:gd name="T16" fmla="*/ 370 w 374"/>
                  <a:gd name="T17" fmla="*/ 144 h 148"/>
                  <a:gd name="T18" fmla="*/ 354 w 374"/>
                  <a:gd name="T19" fmla="*/ 1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148">
                    <a:moveTo>
                      <a:pt x="354" y="144"/>
                    </a:moveTo>
                    <a:cubicBezTo>
                      <a:pt x="226" y="15"/>
                      <a:pt x="57" y="24"/>
                      <a:pt x="13" y="29"/>
                    </a:cubicBezTo>
                    <a:cubicBezTo>
                      <a:pt x="7" y="30"/>
                      <a:pt x="2" y="26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3"/>
                      <a:pt x="4" y="6"/>
                      <a:pt x="11" y="6"/>
                    </a:cubicBezTo>
                    <a:cubicBezTo>
                      <a:pt x="31" y="3"/>
                      <a:pt x="75" y="0"/>
                      <a:pt x="129" y="8"/>
                    </a:cubicBezTo>
                    <a:cubicBezTo>
                      <a:pt x="195" y="17"/>
                      <a:pt x="290" y="46"/>
                      <a:pt x="370" y="126"/>
                    </a:cubicBezTo>
                    <a:cubicBezTo>
                      <a:pt x="374" y="131"/>
                      <a:pt x="374" y="139"/>
                      <a:pt x="370" y="144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65" y="148"/>
                      <a:pt x="358" y="148"/>
                      <a:pt x="354" y="144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30835823-ED62-4F3F-9B4A-BAD87E6560D0}"/>
                  </a:ext>
                </a:extLst>
              </p:cNvPr>
              <p:cNvSpPr/>
              <p:nvPr/>
            </p:nvSpPr>
            <p:spPr bwMode="auto">
              <a:xfrm>
                <a:off x="4537076" y="4098925"/>
                <a:ext cx="1292225" cy="509588"/>
              </a:xfrm>
              <a:custGeom>
                <a:avLst/>
                <a:gdLst>
                  <a:gd name="T0" fmla="*/ 354 w 374"/>
                  <a:gd name="T1" fmla="*/ 144 h 148"/>
                  <a:gd name="T2" fmla="*/ 14 w 374"/>
                  <a:gd name="T3" fmla="*/ 30 h 148"/>
                  <a:gd name="T4" fmla="*/ 1 w 374"/>
                  <a:gd name="T5" fmla="*/ 20 h 148"/>
                  <a:gd name="T6" fmla="*/ 1 w 374"/>
                  <a:gd name="T7" fmla="*/ 20 h 148"/>
                  <a:gd name="T8" fmla="*/ 11 w 374"/>
                  <a:gd name="T9" fmla="*/ 6 h 148"/>
                  <a:gd name="T10" fmla="*/ 129 w 374"/>
                  <a:gd name="T11" fmla="*/ 8 h 148"/>
                  <a:gd name="T12" fmla="*/ 370 w 374"/>
                  <a:gd name="T13" fmla="*/ 126 h 148"/>
                  <a:gd name="T14" fmla="*/ 370 w 374"/>
                  <a:gd name="T15" fmla="*/ 144 h 148"/>
                  <a:gd name="T16" fmla="*/ 370 w 374"/>
                  <a:gd name="T17" fmla="*/ 144 h 148"/>
                  <a:gd name="T18" fmla="*/ 354 w 374"/>
                  <a:gd name="T19" fmla="*/ 144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4" h="148">
                    <a:moveTo>
                      <a:pt x="354" y="144"/>
                    </a:moveTo>
                    <a:cubicBezTo>
                      <a:pt x="227" y="15"/>
                      <a:pt x="57" y="25"/>
                      <a:pt x="14" y="30"/>
                    </a:cubicBezTo>
                    <a:cubicBezTo>
                      <a:pt x="8" y="30"/>
                      <a:pt x="2" y="26"/>
                      <a:pt x="1" y="20"/>
                    </a:cubicBezTo>
                    <a:cubicBezTo>
                      <a:pt x="1" y="20"/>
                      <a:pt x="1" y="20"/>
                      <a:pt x="1" y="20"/>
                    </a:cubicBezTo>
                    <a:cubicBezTo>
                      <a:pt x="0" y="13"/>
                      <a:pt x="4" y="6"/>
                      <a:pt x="11" y="6"/>
                    </a:cubicBezTo>
                    <a:cubicBezTo>
                      <a:pt x="31" y="3"/>
                      <a:pt x="75" y="0"/>
                      <a:pt x="129" y="8"/>
                    </a:cubicBezTo>
                    <a:cubicBezTo>
                      <a:pt x="196" y="17"/>
                      <a:pt x="290" y="46"/>
                      <a:pt x="370" y="126"/>
                    </a:cubicBezTo>
                    <a:cubicBezTo>
                      <a:pt x="374" y="131"/>
                      <a:pt x="374" y="139"/>
                      <a:pt x="370" y="144"/>
                    </a:cubicBezTo>
                    <a:cubicBezTo>
                      <a:pt x="370" y="144"/>
                      <a:pt x="370" y="144"/>
                      <a:pt x="370" y="144"/>
                    </a:cubicBezTo>
                    <a:cubicBezTo>
                      <a:pt x="365" y="148"/>
                      <a:pt x="358" y="148"/>
                      <a:pt x="354" y="144"/>
                    </a:cubicBezTo>
                    <a:close/>
                  </a:path>
                </a:pathLst>
              </a:custGeom>
              <a:solidFill>
                <a:srgbClr val="E6E6E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6ADF256D-759D-4693-8BA3-FECC194453A4}"/>
                  </a:ext>
                </a:extLst>
              </p:cNvPr>
              <p:cNvSpPr/>
              <p:nvPr/>
            </p:nvSpPr>
            <p:spPr bwMode="auto">
              <a:xfrm>
                <a:off x="5864226" y="2408238"/>
                <a:ext cx="1206500" cy="696913"/>
              </a:xfrm>
              <a:custGeom>
                <a:avLst/>
                <a:gdLst>
                  <a:gd name="T0" fmla="*/ 22 w 349"/>
                  <a:gd name="T1" fmla="*/ 195 h 202"/>
                  <a:gd name="T2" fmla="*/ 338 w 349"/>
                  <a:gd name="T3" fmla="*/ 24 h 202"/>
                  <a:gd name="T4" fmla="*/ 349 w 349"/>
                  <a:gd name="T5" fmla="*/ 12 h 202"/>
                  <a:gd name="T6" fmla="*/ 349 w 349"/>
                  <a:gd name="T7" fmla="*/ 12 h 202"/>
                  <a:gd name="T8" fmla="*/ 336 w 349"/>
                  <a:gd name="T9" fmla="*/ 0 h 202"/>
                  <a:gd name="T10" fmla="*/ 220 w 349"/>
                  <a:gd name="T11" fmla="*/ 23 h 202"/>
                  <a:gd name="T12" fmla="*/ 4 w 349"/>
                  <a:gd name="T13" fmla="*/ 181 h 202"/>
                  <a:gd name="T14" fmla="*/ 6 w 349"/>
                  <a:gd name="T15" fmla="*/ 198 h 202"/>
                  <a:gd name="T16" fmla="*/ 6 w 349"/>
                  <a:gd name="T17" fmla="*/ 198 h 202"/>
                  <a:gd name="T18" fmla="*/ 22 w 349"/>
                  <a:gd name="T19" fmla="*/ 195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9" h="202">
                    <a:moveTo>
                      <a:pt x="22" y="195"/>
                    </a:moveTo>
                    <a:cubicBezTo>
                      <a:pt x="126" y="46"/>
                      <a:pt x="294" y="27"/>
                      <a:pt x="338" y="24"/>
                    </a:cubicBezTo>
                    <a:cubicBezTo>
                      <a:pt x="344" y="24"/>
                      <a:pt x="349" y="19"/>
                      <a:pt x="349" y="12"/>
                    </a:cubicBezTo>
                    <a:cubicBezTo>
                      <a:pt x="349" y="12"/>
                      <a:pt x="349" y="12"/>
                      <a:pt x="349" y="12"/>
                    </a:cubicBezTo>
                    <a:cubicBezTo>
                      <a:pt x="349" y="5"/>
                      <a:pt x="343" y="0"/>
                      <a:pt x="336" y="0"/>
                    </a:cubicBezTo>
                    <a:cubicBezTo>
                      <a:pt x="316" y="1"/>
                      <a:pt x="272" y="6"/>
                      <a:pt x="220" y="23"/>
                    </a:cubicBezTo>
                    <a:cubicBezTo>
                      <a:pt x="156" y="43"/>
                      <a:pt x="68" y="88"/>
                      <a:pt x="4" y="181"/>
                    </a:cubicBezTo>
                    <a:cubicBezTo>
                      <a:pt x="0" y="186"/>
                      <a:pt x="1" y="194"/>
                      <a:pt x="6" y="198"/>
                    </a:cubicBezTo>
                    <a:cubicBezTo>
                      <a:pt x="6" y="198"/>
                      <a:pt x="6" y="198"/>
                      <a:pt x="6" y="198"/>
                    </a:cubicBezTo>
                    <a:cubicBezTo>
                      <a:pt x="12" y="202"/>
                      <a:pt x="19" y="200"/>
                      <a:pt x="22" y="195"/>
                    </a:cubicBez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D0860A6F-D9C5-48A3-86F5-1D90F9F98E65}"/>
                  </a:ext>
                </a:extLst>
              </p:cNvPr>
              <p:cNvSpPr/>
              <p:nvPr/>
            </p:nvSpPr>
            <p:spPr bwMode="auto">
              <a:xfrm>
                <a:off x="5892801" y="2708275"/>
                <a:ext cx="1204913" cy="696913"/>
              </a:xfrm>
              <a:custGeom>
                <a:avLst/>
                <a:gdLst>
                  <a:gd name="T0" fmla="*/ 23 w 349"/>
                  <a:gd name="T1" fmla="*/ 195 h 202"/>
                  <a:gd name="T2" fmla="*/ 339 w 349"/>
                  <a:gd name="T3" fmla="*/ 24 h 202"/>
                  <a:gd name="T4" fmla="*/ 349 w 349"/>
                  <a:gd name="T5" fmla="*/ 13 h 202"/>
                  <a:gd name="T6" fmla="*/ 349 w 349"/>
                  <a:gd name="T7" fmla="*/ 13 h 202"/>
                  <a:gd name="T8" fmla="*/ 337 w 349"/>
                  <a:gd name="T9" fmla="*/ 0 h 202"/>
                  <a:gd name="T10" fmla="*/ 221 w 349"/>
                  <a:gd name="T11" fmla="*/ 23 h 202"/>
                  <a:gd name="T12" fmla="*/ 4 w 349"/>
                  <a:gd name="T13" fmla="*/ 181 h 202"/>
                  <a:gd name="T14" fmla="*/ 7 w 349"/>
                  <a:gd name="T15" fmla="*/ 198 h 202"/>
                  <a:gd name="T16" fmla="*/ 7 w 349"/>
                  <a:gd name="T17" fmla="*/ 198 h 202"/>
                  <a:gd name="T18" fmla="*/ 23 w 349"/>
                  <a:gd name="T19" fmla="*/ 195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9" h="202">
                    <a:moveTo>
                      <a:pt x="23" y="195"/>
                    </a:moveTo>
                    <a:cubicBezTo>
                      <a:pt x="126" y="47"/>
                      <a:pt x="295" y="27"/>
                      <a:pt x="339" y="24"/>
                    </a:cubicBezTo>
                    <a:cubicBezTo>
                      <a:pt x="345" y="24"/>
                      <a:pt x="349" y="19"/>
                      <a:pt x="349" y="13"/>
                    </a:cubicBezTo>
                    <a:cubicBezTo>
                      <a:pt x="349" y="13"/>
                      <a:pt x="349" y="13"/>
                      <a:pt x="349" y="13"/>
                    </a:cubicBezTo>
                    <a:cubicBezTo>
                      <a:pt x="349" y="6"/>
                      <a:pt x="344" y="0"/>
                      <a:pt x="337" y="0"/>
                    </a:cubicBezTo>
                    <a:cubicBezTo>
                      <a:pt x="317" y="1"/>
                      <a:pt x="273" y="6"/>
                      <a:pt x="221" y="23"/>
                    </a:cubicBezTo>
                    <a:cubicBezTo>
                      <a:pt x="157" y="44"/>
                      <a:pt x="69" y="88"/>
                      <a:pt x="4" y="181"/>
                    </a:cubicBezTo>
                    <a:cubicBezTo>
                      <a:pt x="0" y="187"/>
                      <a:pt x="2" y="194"/>
                      <a:pt x="7" y="198"/>
                    </a:cubicBezTo>
                    <a:cubicBezTo>
                      <a:pt x="7" y="198"/>
                      <a:pt x="7" y="198"/>
                      <a:pt x="7" y="198"/>
                    </a:cubicBezTo>
                    <a:cubicBezTo>
                      <a:pt x="12" y="202"/>
                      <a:pt x="19" y="201"/>
                      <a:pt x="23" y="195"/>
                    </a:cubicBez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94BE46F8-07D1-47E3-BCAF-423568E0A780}"/>
                  </a:ext>
                </a:extLst>
              </p:cNvPr>
              <p:cNvSpPr/>
              <p:nvPr/>
            </p:nvSpPr>
            <p:spPr bwMode="auto">
              <a:xfrm>
                <a:off x="5940426" y="3049588"/>
                <a:ext cx="1206500" cy="696913"/>
              </a:xfrm>
              <a:custGeom>
                <a:avLst/>
                <a:gdLst>
                  <a:gd name="T0" fmla="*/ 22 w 349"/>
                  <a:gd name="T1" fmla="*/ 195 h 202"/>
                  <a:gd name="T2" fmla="*/ 338 w 349"/>
                  <a:gd name="T3" fmla="*/ 24 h 202"/>
                  <a:gd name="T4" fmla="*/ 349 w 349"/>
                  <a:gd name="T5" fmla="*/ 13 h 202"/>
                  <a:gd name="T6" fmla="*/ 349 w 349"/>
                  <a:gd name="T7" fmla="*/ 13 h 202"/>
                  <a:gd name="T8" fmla="*/ 336 w 349"/>
                  <a:gd name="T9" fmla="*/ 0 h 202"/>
                  <a:gd name="T10" fmla="*/ 220 w 349"/>
                  <a:gd name="T11" fmla="*/ 23 h 202"/>
                  <a:gd name="T12" fmla="*/ 4 w 349"/>
                  <a:gd name="T13" fmla="*/ 181 h 202"/>
                  <a:gd name="T14" fmla="*/ 6 w 349"/>
                  <a:gd name="T15" fmla="*/ 198 h 202"/>
                  <a:gd name="T16" fmla="*/ 6 w 349"/>
                  <a:gd name="T17" fmla="*/ 198 h 202"/>
                  <a:gd name="T18" fmla="*/ 22 w 349"/>
                  <a:gd name="T19" fmla="*/ 195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9" h="202">
                    <a:moveTo>
                      <a:pt x="22" y="195"/>
                    </a:moveTo>
                    <a:cubicBezTo>
                      <a:pt x="125" y="47"/>
                      <a:pt x="294" y="27"/>
                      <a:pt x="338" y="24"/>
                    </a:cubicBezTo>
                    <a:cubicBezTo>
                      <a:pt x="344" y="24"/>
                      <a:pt x="348" y="19"/>
                      <a:pt x="349" y="13"/>
                    </a:cubicBezTo>
                    <a:cubicBezTo>
                      <a:pt x="349" y="13"/>
                      <a:pt x="349" y="13"/>
                      <a:pt x="349" y="13"/>
                    </a:cubicBezTo>
                    <a:cubicBezTo>
                      <a:pt x="349" y="6"/>
                      <a:pt x="343" y="0"/>
                      <a:pt x="336" y="0"/>
                    </a:cubicBezTo>
                    <a:cubicBezTo>
                      <a:pt x="316" y="2"/>
                      <a:pt x="272" y="6"/>
                      <a:pt x="220" y="23"/>
                    </a:cubicBezTo>
                    <a:cubicBezTo>
                      <a:pt x="156" y="44"/>
                      <a:pt x="68" y="88"/>
                      <a:pt x="4" y="181"/>
                    </a:cubicBezTo>
                    <a:cubicBezTo>
                      <a:pt x="0" y="187"/>
                      <a:pt x="1" y="194"/>
                      <a:pt x="6" y="198"/>
                    </a:cubicBezTo>
                    <a:cubicBezTo>
                      <a:pt x="6" y="198"/>
                      <a:pt x="6" y="198"/>
                      <a:pt x="6" y="198"/>
                    </a:cubicBezTo>
                    <a:cubicBezTo>
                      <a:pt x="11" y="202"/>
                      <a:pt x="18" y="201"/>
                      <a:pt x="22" y="195"/>
                    </a:cubicBez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9ABF0EEF-F821-4B6B-998B-F230859EB23C}"/>
                  </a:ext>
                </a:extLst>
              </p:cNvPr>
              <p:cNvSpPr/>
              <p:nvPr/>
            </p:nvSpPr>
            <p:spPr bwMode="auto">
              <a:xfrm>
                <a:off x="5943601" y="3432175"/>
                <a:ext cx="1206500" cy="696913"/>
              </a:xfrm>
              <a:custGeom>
                <a:avLst/>
                <a:gdLst>
                  <a:gd name="T0" fmla="*/ 22 w 349"/>
                  <a:gd name="T1" fmla="*/ 195 h 202"/>
                  <a:gd name="T2" fmla="*/ 338 w 349"/>
                  <a:gd name="T3" fmla="*/ 24 h 202"/>
                  <a:gd name="T4" fmla="*/ 349 w 349"/>
                  <a:gd name="T5" fmla="*/ 12 h 202"/>
                  <a:gd name="T6" fmla="*/ 349 w 349"/>
                  <a:gd name="T7" fmla="*/ 12 h 202"/>
                  <a:gd name="T8" fmla="*/ 336 w 349"/>
                  <a:gd name="T9" fmla="*/ 0 h 202"/>
                  <a:gd name="T10" fmla="*/ 220 w 349"/>
                  <a:gd name="T11" fmla="*/ 23 h 202"/>
                  <a:gd name="T12" fmla="*/ 4 w 349"/>
                  <a:gd name="T13" fmla="*/ 181 h 202"/>
                  <a:gd name="T14" fmla="*/ 6 w 349"/>
                  <a:gd name="T15" fmla="*/ 198 h 202"/>
                  <a:gd name="T16" fmla="*/ 6 w 349"/>
                  <a:gd name="T17" fmla="*/ 198 h 202"/>
                  <a:gd name="T18" fmla="*/ 22 w 349"/>
                  <a:gd name="T19" fmla="*/ 195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9" h="202">
                    <a:moveTo>
                      <a:pt x="22" y="195"/>
                    </a:moveTo>
                    <a:cubicBezTo>
                      <a:pt x="125" y="46"/>
                      <a:pt x="294" y="27"/>
                      <a:pt x="338" y="24"/>
                    </a:cubicBezTo>
                    <a:cubicBezTo>
                      <a:pt x="344" y="24"/>
                      <a:pt x="349" y="19"/>
                      <a:pt x="349" y="12"/>
                    </a:cubicBezTo>
                    <a:cubicBezTo>
                      <a:pt x="349" y="12"/>
                      <a:pt x="349" y="12"/>
                      <a:pt x="349" y="12"/>
                    </a:cubicBezTo>
                    <a:cubicBezTo>
                      <a:pt x="349" y="5"/>
                      <a:pt x="343" y="0"/>
                      <a:pt x="336" y="0"/>
                    </a:cubicBezTo>
                    <a:cubicBezTo>
                      <a:pt x="316" y="1"/>
                      <a:pt x="272" y="6"/>
                      <a:pt x="220" y="23"/>
                    </a:cubicBezTo>
                    <a:cubicBezTo>
                      <a:pt x="156" y="44"/>
                      <a:pt x="68" y="88"/>
                      <a:pt x="4" y="181"/>
                    </a:cubicBezTo>
                    <a:cubicBezTo>
                      <a:pt x="0" y="186"/>
                      <a:pt x="1" y="194"/>
                      <a:pt x="6" y="198"/>
                    </a:cubicBezTo>
                    <a:cubicBezTo>
                      <a:pt x="6" y="198"/>
                      <a:pt x="6" y="198"/>
                      <a:pt x="6" y="198"/>
                    </a:cubicBezTo>
                    <a:cubicBezTo>
                      <a:pt x="12" y="202"/>
                      <a:pt x="19" y="200"/>
                      <a:pt x="22" y="195"/>
                    </a:cubicBez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567704D-5A65-4028-BB22-EAF6F3BD0C00}"/>
                  </a:ext>
                </a:extLst>
              </p:cNvPr>
              <p:cNvSpPr/>
              <p:nvPr/>
            </p:nvSpPr>
            <p:spPr bwMode="auto">
              <a:xfrm>
                <a:off x="5967413" y="3860800"/>
                <a:ext cx="1206500" cy="692150"/>
              </a:xfrm>
              <a:custGeom>
                <a:avLst/>
                <a:gdLst>
                  <a:gd name="T0" fmla="*/ 22 w 349"/>
                  <a:gd name="T1" fmla="*/ 195 h 201"/>
                  <a:gd name="T2" fmla="*/ 338 w 349"/>
                  <a:gd name="T3" fmla="*/ 24 h 201"/>
                  <a:gd name="T4" fmla="*/ 349 w 349"/>
                  <a:gd name="T5" fmla="*/ 12 h 201"/>
                  <a:gd name="T6" fmla="*/ 349 w 349"/>
                  <a:gd name="T7" fmla="*/ 12 h 201"/>
                  <a:gd name="T8" fmla="*/ 337 w 349"/>
                  <a:gd name="T9" fmla="*/ 0 h 201"/>
                  <a:gd name="T10" fmla="*/ 220 w 349"/>
                  <a:gd name="T11" fmla="*/ 22 h 201"/>
                  <a:gd name="T12" fmla="*/ 4 w 349"/>
                  <a:gd name="T13" fmla="*/ 181 h 201"/>
                  <a:gd name="T14" fmla="*/ 7 w 349"/>
                  <a:gd name="T15" fmla="*/ 198 h 201"/>
                  <a:gd name="T16" fmla="*/ 7 w 349"/>
                  <a:gd name="T17" fmla="*/ 198 h 201"/>
                  <a:gd name="T18" fmla="*/ 22 w 349"/>
                  <a:gd name="T19" fmla="*/ 195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9" h="201">
                    <a:moveTo>
                      <a:pt x="22" y="195"/>
                    </a:moveTo>
                    <a:cubicBezTo>
                      <a:pt x="126" y="46"/>
                      <a:pt x="294" y="27"/>
                      <a:pt x="338" y="24"/>
                    </a:cubicBezTo>
                    <a:cubicBezTo>
                      <a:pt x="344" y="24"/>
                      <a:pt x="349" y="18"/>
                      <a:pt x="349" y="12"/>
                    </a:cubicBezTo>
                    <a:cubicBezTo>
                      <a:pt x="349" y="12"/>
                      <a:pt x="349" y="12"/>
                      <a:pt x="349" y="12"/>
                    </a:cubicBezTo>
                    <a:cubicBezTo>
                      <a:pt x="349" y="5"/>
                      <a:pt x="343" y="0"/>
                      <a:pt x="337" y="0"/>
                    </a:cubicBezTo>
                    <a:cubicBezTo>
                      <a:pt x="316" y="1"/>
                      <a:pt x="273" y="5"/>
                      <a:pt x="220" y="22"/>
                    </a:cubicBezTo>
                    <a:cubicBezTo>
                      <a:pt x="157" y="43"/>
                      <a:pt x="69" y="87"/>
                      <a:pt x="4" y="181"/>
                    </a:cubicBezTo>
                    <a:cubicBezTo>
                      <a:pt x="0" y="186"/>
                      <a:pt x="1" y="194"/>
                      <a:pt x="7" y="198"/>
                    </a:cubicBezTo>
                    <a:cubicBezTo>
                      <a:pt x="7" y="198"/>
                      <a:pt x="7" y="198"/>
                      <a:pt x="7" y="198"/>
                    </a:cubicBezTo>
                    <a:cubicBezTo>
                      <a:pt x="12" y="201"/>
                      <a:pt x="19" y="200"/>
                      <a:pt x="22" y="195"/>
                    </a:cubicBezTo>
                    <a:close/>
                  </a:path>
                </a:pathLst>
              </a:custGeom>
              <a:solidFill>
                <a:srgbClr val="CED3D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椭圆 59">
                <a:extLst>
                  <a:ext uri="{FF2B5EF4-FFF2-40B4-BE49-F238E27FC236}">
                    <a16:creationId xmlns:a16="http://schemas.microsoft.com/office/drawing/2014/main" id="{DB230227-C20F-45FB-8CCB-F632EC43B29A}"/>
                  </a:ext>
                </a:extLst>
              </p:cNvPr>
              <p:cNvSpPr/>
              <p:nvPr/>
            </p:nvSpPr>
            <p:spPr bwMode="auto">
              <a:xfrm>
                <a:off x="5443538" y="5670550"/>
                <a:ext cx="2840038" cy="146050"/>
              </a:xfrm>
              <a:prstGeom prst="ellips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736F4156-799B-4086-A04E-DE5DCA4BB80B}"/>
                  </a:ext>
                </a:extLst>
              </p:cNvPr>
              <p:cNvSpPr/>
              <p:nvPr/>
            </p:nvSpPr>
            <p:spPr bwMode="auto">
              <a:xfrm>
                <a:off x="7062788" y="3511550"/>
                <a:ext cx="625475" cy="2190750"/>
              </a:xfrm>
              <a:custGeom>
                <a:avLst/>
                <a:gdLst>
                  <a:gd name="T0" fmla="*/ 82 w 181"/>
                  <a:gd name="T1" fmla="*/ 30 h 635"/>
                  <a:gd name="T2" fmla="*/ 0 w 181"/>
                  <a:gd name="T3" fmla="*/ 631 h 635"/>
                  <a:gd name="T4" fmla="*/ 17 w 181"/>
                  <a:gd name="T5" fmla="*/ 635 h 635"/>
                  <a:gd name="T6" fmla="*/ 181 w 181"/>
                  <a:gd name="T7" fmla="*/ 57 h 635"/>
                  <a:gd name="T8" fmla="*/ 82 w 181"/>
                  <a:gd name="T9" fmla="*/ 30 h 6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1" h="635">
                    <a:moveTo>
                      <a:pt x="82" y="30"/>
                    </a:moveTo>
                    <a:cubicBezTo>
                      <a:pt x="0" y="631"/>
                      <a:pt x="0" y="631"/>
                      <a:pt x="0" y="631"/>
                    </a:cubicBezTo>
                    <a:cubicBezTo>
                      <a:pt x="17" y="635"/>
                      <a:pt x="17" y="635"/>
                      <a:pt x="17" y="635"/>
                    </a:cubicBezTo>
                    <a:cubicBezTo>
                      <a:pt x="181" y="57"/>
                      <a:pt x="181" y="57"/>
                      <a:pt x="181" y="57"/>
                    </a:cubicBezTo>
                    <a:cubicBezTo>
                      <a:pt x="181" y="57"/>
                      <a:pt x="139" y="0"/>
                      <a:pt x="82" y="30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CC7BA68-F2FD-4AAD-A466-EAD94A2BA7AE}"/>
                  </a:ext>
                </a:extLst>
              </p:cNvPr>
              <p:cNvSpPr/>
              <p:nvPr/>
            </p:nvSpPr>
            <p:spPr bwMode="auto">
              <a:xfrm>
                <a:off x="6219826" y="3563938"/>
                <a:ext cx="1238250" cy="1431925"/>
              </a:xfrm>
              <a:custGeom>
                <a:avLst/>
                <a:gdLst>
                  <a:gd name="T0" fmla="*/ 299 w 358"/>
                  <a:gd name="T1" fmla="*/ 0 h 415"/>
                  <a:gd name="T2" fmla="*/ 16 w 358"/>
                  <a:gd name="T3" fmla="*/ 164 h 415"/>
                  <a:gd name="T4" fmla="*/ 187 w 358"/>
                  <a:gd name="T5" fmla="*/ 415 h 415"/>
                  <a:gd name="T6" fmla="*/ 202 w 358"/>
                  <a:gd name="T7" fmla="*/ 403 h 415"/>
                  <a:gd name="T8" fmla="*/ 77 w 358"/>
                  <a:gd name="T9" fmla="*/ 192 h 415"/>
                  <a:gd name="T10" fmla="*/ 303 w 358"/>
                  <a:gd name="T11" fmla="*/ 100 h 415"/>
                  <a:gd name="T12" fmla="*/ 299 w 358"/>
                  <a:gd name="T13" fmla="*/ 0 h 4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8" h="415">
                    <a:moveTo>
                      <a:pt x="299" y="0"/>
                    </a:moveTo>
                    <a:cubicBezTo>
                      <a:pt x="299" y="0"/>
                      <a:pt x="32" y="127"/>
                      <a:pt x="16" y="164"/>
                    </a:cubicBezTo>
                    <a:cubicBezTo>
                      <a:pt x="0" y="200"/>
                      <a:pt x="130" y="363"/>
                      <a:pt x="187" y="415"/>
                    </a:cubicBezTo>
                    <a:cubicBezTo>
                      <a:pt x="202" y="403"/>
                      <a:pt x="202" y="403"/>
                      <a:pt x="202" y="403"/>
                    </a:cubicBezTo>
                    <a:cubicBezTo>
                      <a:pt x="77" y="192"/>
                      <a:pt x="77" y="192"/>
                      <a:pt x="77" y="192"/>
                    </a:cubicBezTo>
                    <a:cubicBezTo>
                      <a:pt x="77" y="192"/>
                      <a:pt x="232" y="147"/>
                      <a:pt x="303" y="100"/>
                    </a:cubicBezTo>
                    <a:cubicBezTo>
                      <a:pt x="303" y="100"/>
                      <a:pt x="358" y="40"/>
                      <a:pt x="299" y="0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5258A53B-E45B-497E-A4BC-9373CA8FBC58}"/>
                  </a:ext>
                </a:extLst>
              </p:cNvPr>
              <p:cNvSpPr/>
              <p:nvPr/>
            </p:nvSpPr>
            <p:spPr bwMode="auto">
              <a:xfrm>
                <a:off x="6962776" y="2441575"/>
                <a:ext cx="909638" cy="1487488"/>
              </a:xfrm>
              <a:custGeom>
                <a:avLst/>
                <a:gdLst>
                  <a:gd name="T0" fmla="*/ 231 w 263"/>
                  <a:gd name="T1" fmla="*/ 9 h 431"/>
                  <a:gd name="T2" fmla="*/ 256 w 263"/>
                  <a:gd name="T3" fmla="*/ 35 h 431"/>
                  <a:gd name="T4" fmla="*/ 262 w 263"/>
                  <a:gd name="T5" fmla="*/ 72 h 431"/>
                  <a:gd name="T6" fmla="*/ 262 w 263"/>
                  <a:gd name="T7" fmla="*/ 128 h 431"/>
                  <a:gd name="T8" fmla="*/ 258 w 263"/>
                  <a:gd name="T9" fmla="*/ 183 h 431"/>
                  <a:gd name="T10" fmla="*/ 243 w 263"/>
                  <a:gd name="T11" fmla="*/ 412 h 431"/>
                  <a:gd name="T12" fmla="*/ 116 w 263"/>
                  <a:gd name="T13" fmla="*/ 422 h 431"/>
                  <a:gd name="T14" fmla="*/ 0 w 263"/>
                  <a:gd name="T15" fmla="*/ 368 h 431"/>
                  <a:gd name="T16" fmla="*/ 85 w 263"/>
                  <a:gd name="T17" fmla="*/ 215 h 431"/>
                  <a:gd name="T18" fmla="*/ 141 w 263"/>
                  <a:gd name="T19" fmla="*/ 49 h 431"/>
                  <a:gd name="T20" fmla="*/ 177 w 263"/>
                  <a:gd name="T21" fmla="*/ 0 h 431"/>
                  <a:gd name="T22" fmla="*/ 231 w 263"/>
                  <a:gd name="T23" fmla="*/ 9 h 4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63" h="431">
                    <a:moveTo>
                      <a:pt x="231" y="9"/>
                    </a:moveTo>
                    <a:cubicBezTo>
                      <a:pt x="243" y="13"/>
                      <a:pt x="251" y="24"/>
                      <a:pt x="256" y="35"/>
                    </a:cubicBezTo>
                    <a:cubicBezTo>
                      <a:pt x="260" y="47"/>
                      <a:pt x="261" y="60"/>
                      <a:pt x="262" y="72"/>
                    </a:cubicBezTo>
                    <a:cubicBezTo>
                      <a:pt x="263" y="91"/>
                      <a:pt x="263" y="110"/>
                      <a:pt x="262" y="128"/>
                    </a:cubicBezTo>
                    <a:cubicBezTo>
                      <a:pt x="261" y="147"/>
                      <a:pt x="260" y="165"/>
                      <a:pt x="258" y="183"/>
                    </a:cubicBezTo>
                    <a:cubicBezTo>
                      <a:pt x="252" y="261"/>
                      <a:pt x="243" y="412"/>
                      <a:pt x="243" y="412"/>
                    </a:cubicBezTo>
                    <a:cubicBezTo>
                      <a:pt x="203" y="429"/>
                      <a:pt x="158" y="431"/>
                      <a:pt x="116" y="422"/>
                    </a:cubicBezTo>
                    <a:cubicBezTo>
                      <a:pt x="74" y="413"/>
                      <a:pt x="35" y="393"/>
                      <a:pt x="0" y="368"/>
                    </a:cubicBezTo>
                    <a:cubicBezTo>
                      <a:pt x="38" y="324"/>
                      <a:pt x="64" y="270"/>
                      <a:pt x="85" y="215"/>
                    </a:cubicBezTo>
                    <a:cubicBezTo>
                      <a:pt x="105" y="160"/>
                      <a:pt x="121" y="104"/>
                      <a:pt x="141" y="49"/>
                    </a:cubicBezTo>
                    <a:cubicBezTo>
                      <a:pt x="148" y="30"/>
                      <a:pt x="158" y="9"/>
                      <a:pt x="177" y="0"/>
                    </a:cubicBezTo>
                    <a:lnTo>
                      <a:pt x="231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866BC329-2D17-4588-8057-C2EEC8184A84}"/>
                  </a:ext>
                </a:extLst>
              </p:cNvPr>
              <p:cNvSpPr/>
              <p:nvPr/>
            </p:nvSpPr>
            <p:spPr bwMode="auto">
              <a:xfrm>
                <a:off x="7591426" y="2187575"/>
                <a:ext cx="207963" cy="338138"/>
              </a:xfrm>
              <a:custGeom>
                <a:avLst/>
                <a:gdLst>
                  <a:gd name="T0" fmla="*/ 57 w 60"/>
                  <a:gd name="T1" fmla="*/ 31 h 98"/>
                  <a:gd name="T2" fmla="*/ 45 w 60"/>
                  <a:gd name="T3" fmla="*/ 87 h 98"/>
                  <a:gd name="T4" fmla="*/ 0 w 60"/>
                  <a:gd name="T5" fmla="*/ 74 h 98"/>
                  <a:gd name="T6" fmla="*/ 20 w 60"/>
                  <a:gd name="T7" fmla="*/ 15 h 98"/>
                  <a:gd name="T8" fmla="*/ 57 w 60"/>
                  <a:gd name="T9" fmla="*/ 31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" h="98">
                    <a:moveTo>
                      <a:pt x="57" y="31"/>
                    </a:moveTo>
                    <a:cubicBezTo>
                      <a:pt x="57" y="31"/>
                      <a:pt x="44" y="58"/>
                      <a:pt x="45" y="87"/>
                    </a:cubicBezTo>
                    <a:cubicBezTo>
                      <a:pt x="45" y="87"/>
                      <a:pt x="15" y="98"/>
                      <a:pt x="0" y="74"/>
                    </a:cubicBezTo>
                    <a:cubicBezTo>
                      <a:pt x="0" y="74"/>
                      <a:pt x="18" y="51"/>
                      <a:pt x="20" y="15"/>
                    </a:cubicBezTo>
                    <a:cubicBezTo>
                      <a:pt x="20" y="15"/>
                      <a:pt x="60" y="0"/>
                      <a:pt x="57" y="31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7EF5987D-0631-454E-B83F-B1EA5C9925B1}"/>
                  </a:ext>
                </a:extLst>
              </p:cNvPr>
              <p:cNvSpPr/>
              <p:nvPr/>
            </p:nvSpPr>
            <p:spPr bwMode="auto">
              <a:xfrm>
                <a:off x="6832601" y="2590800"/>
                <a:ext cx="1036638" cy="900113"/>
              </a:xfrm>
              <a:custGeom>
                <a:avLst/>
                <a:gdLst>
                  <a:gd name="T0" fmla="*/ 297 w 300"/>
                  <a:gd name="T1" fmla="*/ 0 h 261"/>
                  <a:gd name="T2" fmla="*/ 293 w 300"/>
                  <a:gd name="T3" fmla="*/ 67 h 261"/>
                  <a:gd name="T4" fmla="*/ 203 w 300"/>
                  <a:gd name="T5" fmla="*/ 215 h 261"/>
                  <a:gd name="T6" fmla="*/ 18 w 300"/>
                  <a:gd name="T7" fmla="*/ 237 h 261"/>
                  <a:gd name="T8" fmla="*/ 6 w 300"/>
                  <a:gd name="T9" fmla="*/ 221 h 261"/>
                  <a:gd name="T10" fmla="*/ 37 w 300"/>
                  <a:gd name="T11" fmla="*/ 217 h 261"/>
                  <a:gd name="T12" fmla="*/ 267 w 300"/>
                  <a:gd name="T13" fmla="*/ 1 h 261"/>
                  <a:gd name="T14" fmla="*/ 297 w 300"/>
                  <a:gd name="T15" fmla="*/ 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0" h="261">
                    <a:moveTo>
                      <a:pt x="297" y="0"/>
                    </a:moveTo>
                    <a:cubicBezTo>
                      <a:pt x="300" y="0"/>
                      <a:pt x="293" y="64"/>
                      <a:pt x="293" y="67"/>
                    </a:cubicBezTo>
                    <a:cubicBezTo>
                      <a:pt x="283" y="125"/>
                      <a:pt x="251" y="181"/>
                      <a:pt x="203" y="215"/>
                    </a:cubicBezTo>
                    <a:cubicBezTo>
                      <a:pt x="153" y="249"/>
                      <a:pt x="74" y="261"/>
                      <a:pt x="18" y="237"/>
                    </a:cubicBezTo>
                    <a:cubicBezTo>
                      <a:pt x="12" y="234"/>
                      <a:pt x="0" y="228"/>
                      <a:pt x="6" y="221"/>
                    </a:cubicBezTo>
                    <a:cubicBezTo>
                      <a:pt x="10" y="215"/>
                      <a:pt x="32" y="217"/>
                      <a:pt x="37" y="217"/>
                    </a:cubicBezTo>
                    <a:cubicBezTo>
                      <a:pt x="96" y="219"/>
                      <a:pt x="253" y="225"/>
                      <a:pt x="267" y="1"/>
                    </a:cubicBezTo>
                    <a:lnTo>
                      <a:pt x="297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1748E724-B6AA-4429-96F3-D7E18581EAA8}"/>
                  </a:ext>
                </a:extLst>
              </p:cNvPr>
              <p:cNvSpPr/>
              <p:nvPr/>
            </p:nvSpPr>
            <p:spPr bwMode="auto">
              <a:xfrm>
                <a:off x="6403976" y="1887538"/>
                <a:ext cx="1108075" cy="817563"/>
              </a:xfrm>
              <a:custGeom>
                <a:avLst/>
                <a:gdLst>
                  <a:gd name="T0" fmla="*/ 320 w 321"/>
                  <a:gd name="T1" fmla="*/ 203 h 237"/>
                  <a:gd name="T2" fmla="*/ 256 w 321"/>
                  <a:gd name="T3" fmla="*/ 221 h 237"/>
                  <a:gd name="T4" fmla="*/ 86 w 321"/>
                  <a:gd name="T5" fmla="*/ 186 h 237"/>
                  <a:gd name="T6" fmla="*/ 3 w 321"/>
                  <a:gd name="T7" fmla="*/ 20 h 237"/>
                  <a:gd name="T8" fmla="*/ 14 w 321"/>
                  <a:gd name="T9" fmla="*/ 2 h 237"/>
                  <a:gd name="T10" fmla="*/ 28 w 321"/>
                  <a:gd name="T11" fmla="*/ 31 h 237"/>
                  <a:gd name="T12" fmla="*/ 309 w 321"/>
                  <a:gd name="T13" fmla="*/ 174 h 237"/>
                  <a:gd name="T14" fmla="*/ 320 w 321"/>
                  <a:gd name="T15" fmla="*/ 203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21" h="237">
                    <a:moveTo>
                      <a:pt x="320" y="203"/>
                    </a:moveTo>
                    <a:cubicBezTo>
                      <a:pt x="321" y="205"/>
                      <a:pt x="259" y="220"/>
                      <a:pt x="256" y="221"/>
                    </a:cubicBezTo>
                    <a:cubicBezTo>
                      <a:pt x="198" y="231"/>
                      <a:pt x="134" y="221"/>
                      <a:pt x="86" y="186"/>
                    </a:cubicBezTo>
                    <a:cubicBezTo>
                      <a:pt x="37" y="151"/>
                      <a:pt x="0" y="80"/>
                      <a:pt x="3" y="20"/>
                    </a:cubicBezTo>
                    <a:cubicBezTo>
                      <a:pt x="4" y="13"/>
                      <a:pt x="5" y="0"/>
                      <a:pt x="14" y="2"/>
                    </a:cubicBezTo>
                    <a:cubicBezTo>
                      <a:pt x="21" y="5"/>
                      <a:pt x="26" y="26"/>
                      <a:pt x="28" y="31"/>
                    </a:cubicBezTo>
                    <a:cubicBezTo>
                      <a:pt x="47" y="87"/>
                      <a:pt x="93" y="237"/>
                      <a:pt x="309" y="174"/>
                    </a:cubicBezTo>
                    <a:cubicBezTo>
                      <a:pt x="309" y="174"/>
                      <a:pt x="320" y="203"/>
                      <a:pt x="320" y="203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744C99D2-1284-4E64-A828-E00BD691F1EB}"/>
                  </a:ext>
                </a:extLst>
              </p:cNvPr>
              <p:cNvSpPr/>
              <p:nvPr/>
            </p:nvSpPr>
            <p:spPr bwMode="auto">
              <a:xfrm>
                <a:off x="6924676" y="5667375"/>
                <a:ext cx="196850" cy="90488"/>
              </a:xfrm>
              <a:custGeom>
                <a:avLst/>
                <a:gdLst>
                  <a:gd name="T0" fmla="*/ 41 w 57"/>
                  <a:gd name="T1" fmla="*/ 8 h 26"/>
                  <a:gd name="T2" fmla="*/ 0 w 57"/>
                  <a:gd name="T3" fmla="*/ 11 h 26"/>
                  <a:gd name="T4" fmla="*/ 54 w 57"/>
                  <a:gd name="T5" fmla="*/ 26 h 26"/>
                  <a:gd name="T6" fmla="*/ 57 w 57"/>
                  <a:gd name="T7" fmla="*/ 12 h 26"/>
                  <a:gd name="T8" fmla="*/ 41 w 57"/>
                  <a:gd name="T9" fmla="*/ 8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7" h="26">
                    <a:moveTo>
                      <a:pt x="41" y="8"/>
                    </a:moveTo>
                    <a:cubicBezTo>
                      <a:pt x="41" y="8"/>
                      <a:pt x="16" y="0"/>
                      <a:pt x="0" y="11"/>
                    </a:cubicBezTo>
                    <a:cubicBezTo>
                      <a:pt x="54" y="26"/>
                      <a:pt x="54" y="26"/>
                      <a:pt x="54" y="26"/>
                    </a:cubicBezTo>
                    <a:cubicBezTo>
                      <a:pt x="57" y="12"/>
                      <a:pt x="57" y="12"/>
                      <a:pt x="57" y="12"/>
                    </a:cubicBezTo>
                    <a:lnTo>
                      <a:pt x="41" y="8"/>
                    </a:lnTo>
                    <a:close/>
                  </a:path>
                </a:pathLst>
              </a:custGeom>
              <a:solidFill>
                <a:srgbClr val="442D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BB4D04D3-3358-4A89-9548-9C8849C1E930}"/>
                  </a:ext>
                </a:extLst>
              </p:cNvPr>
              <p:cNvSpPr/>
              <p:nvPr/>
            </p:nvSpPr>
            <p:spPr bwMode="auto">
              <a:xfrm>
                <a:off x="6789738" y="4949825"/>
                <a:ext cx="163513" cy="176213"/>
              </a:xfrm>
              <a:custGeom>
                <a:avLst/>
                <a:gdLst>
                  <a:gd name="T0" fmla="*/ 23 w 47"/>
                  <a:gd name="T1" fmla="*/ 12 h 51"/>
                  <a:gd name="T2" fmla="*/ 0 w 47"/>
                  <a:gd name="T3" fmla="*/ 51 h 51"/>
                  <a:gd name="T4" fmla="*/ 47 w 47"/>
                  <a:gd name="T5" fmla="*/ 11 h 51"/>
                  <a:gd name="T6" fmla="*/ 36 w 47"/>
                  <a:gd name="T7" fmla="*/ 0 h 51"/>
                  <a:gd name="T8" fmla="*/ 23 w 47"/>
                  <a:gd name="T9" fmla="*/ 12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51">
                    <a:moveTo>
                      <a:pt x="23" y="12"/>
                    </a:moveTo>
                    <a:cubicBezTo>
                      <a:pt x="23" y="12"/>
                      <a:pt x="0" y="30"/>
                      <a:pt x="0" y="51"/>
                    </a:cubicBezTo>
                    <a:cubicBezTo>
                      <a:pt x="47" y="11"/>
                      <a:pt x="47" y="11"/>
                      <a:pt x="47" y="11"/>
                    </a:cubicBezTo>
                    <a:cubicBezTo>
                      <a:pt x="36" y="0"/>
                      <a:pt x="36" y="0"/>
                      <a:pt x="36" y="0"/>
                    </a:cubicBezTo>
                    <a:lnTo>
                      <a:pt x="23" y="12"/>
                    </a:lnTo>
                    <a:close/>
                  </a:path>
                </a:pathLst>
              </a:custGeom>
              <a:solidFill>
                <a:srgbClr val="442D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2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ABC3AE03-2DAB-4AD8-AB5B-C0C234365A13}"/>
                  </a:ext>
                </a:extLst>
              </p:cNvPr>
              <p:cNvSpPr/>
              <p:nvPr/>
            </p:nvSpPr>
            <p:spPr bwMode="auto">
              <a:xfrm>
                <a:off x="7708901" y="2225675"/>
                <a:ext cx="201613" cy="479425"/>
              </a:xfrm>
              <a:custGeom>
                <a:avLst/>
                <a:gdLst>
                  <a:gd name="T0" fmla="*/ 0 w 58"/>
                  <a:gd name="T1" fmla="*/ 136 h 139"/>
                  <a:gd name="T2" fmla="*/ 58 w 58"/>
                  <a:gd name="T3" fmla="*/ 139 h 139"/>
                  <a:gd name="T4" fmla="*/ 0 w 58"/>
                  <a:gd name="T5" fmla="*/ 136 h 1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8" h="139">
                    <a:moveTo>
                      <a:pt x="0" y="136"/>
                    </a:moveTo>
                    <a:cubicBezTo>
                      <a:pt x="58" y="139"/>
                      <a:pt x="58" y="139"/>
                      <a:pt x="58" y="139"/>
                    </a:cubicBezTo>
                    <a:cubicBezTo>
                      <a:pt x="58" y="139"/>
                      <a:pt x="27" y="0"/>
                      <a:pt x="0" y="136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2A5FFD69-14F0-4E34-91DE-AC6ED69CC7F9}"/>
                  </a:ext>
                </a:extLst>
              </p:cNvPr>
              <p:cNvSpPr/>
              <p:nvPr/>
            </p:nvSpPr>
            <p:spPr bwMode="auto">
              <a:xfrm>
                <a:off x="7377113" y="2328863"/>
                <a:ext cx="457200" cy="323850"/>
              </a:xfrm>
              <a:custGeom>
                <a:avLst/>
                <a:gdLst>
                  <a:gd name="T0" fmla="*/ 0 w 132"/>
                  <a:gd name="T1" fmla="*/ 41 h 94"/>
                  <a:gd name="T2" fmla="*/ 25 w 132"/>
                  <a:gd name="T3" fmla="*/ 94 h 94"/>
                  <a:gd name="T4" fmla="*/ 0 w 132"/>
                  <a:gd name="T5" fmla="*/ 41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2" h="94">
                    <a:moveTo>
                      <a:pt x="0" y="41"/>
                    </a:moveTo>
                    <a:cubicBezTo>
                      <a:pt x="25" y="94"/>
                      <a:pt x="25" y="94"/>
                      <a:pt x="25" y="94"/>
                    </a:cubicBezTo>
                    <a:cubicBezTo>
                      <a:pt x="25" y="94"/>
                      <a:pt x="132" y="0"/>
                      <a:pt x="0" y="41"/>
                    </a:cubicBez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85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C6437222-F256-4D4C-890D-D3B064E509F7}"/>
                  </a:ext>
                </a:extLst>
              </p:cNvPr>
              <p:cNvSpPr/>
              <p:nvPr/>
            </p:nvSpPr>
            <p:spPr bwMode="auto">
              <a:xfrm>
                <a:off x="7596188" y="1876425"/>
                <a:ext cx="382588" cy="476250"/>
              </a:xfrm>
              <a:custGeom>
                <a:avLst/>
                <a:gdLst>
                  <a:gd name="T0" fmla="*/ 75 w 111"/>
                  <a:gd name="T1" fmla="*/ 10 h 138"/>
                  <a:gd name="T2" fmla="*/ 6 w 111"/>
                  <a:gd name="T3" fmla="*/ 51 h 138"/>
                  <a:gd name="T4" fmla="*/ 0 w 111"/>
                  <a:gd name="T5" fmla="*/ 74 h 138"/>
                  <a:gd name="T6" fmla="*/ 32 w 111"/>
                  <a:gd name="T7" fmla="*/ 74 h 138"/>
                  <a:gd name="T8" fmla="*/ 4 w 111"/>
                  <a:gd name="T9" fmla="*/ 102 h 138"/>
                  <a:gd name="T10" fmla="*/ 29 w 111"/>
                  <a:gd name="T11" fmla="*/ 128 h 138"/>
                  <a:gd name="T12" fmla="*/ 98 w 111"/>
                  <a:gd name="T13" fmla="*/ 87 h 138"/>
                  <a:gd name="T14" fmla="*/ 75 w 111"/>
                  <a:gd name="T15" fmla="*/ 1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1" h="138">
                    <a:moveTo>
                      <a:pt x="75" y="10"/>
                    </a:moveTo>
                    <a:cubicBezTo>
                      <a:pt x="49" y="0"/>
                      <a:pt x="18" y="19"/>
                      <a:pt x="6" y="51"/>
                    </a:cubicBezTo>
                    <a:cubicBezTo>
                      <a:pt x="3" y="59"/>
                      <a:pt x="1" y="67"/>
                      <a:pt x="0" y="74"/>
                    </a:cubicBezTo>
                    <a:cubicBezTo>
                      <a:pt x="32" y="74"/>
                      <a:pt x="32" y="74"/>
                      <a:pt x="32" y="74"/>
                    </a:cubicBezTo>
                    <a:cubicBezTo>
                      <a:pt x="32" y="90"/>
                      <a:pt x="20" y="102"/>
                      <a:pt x="4" y="102"/>
                    </a:cubicBezTo>
                    <a:cubicBezTo>
                      <a:pt x="9" y="114"/>
                      <a:pt x="17" y="123"/>
                      <a:pt x="29" y="128"/>
                    </a:cubicBezTo>
                    <a:cubicBezTo>
                      <a:pt x="54" y="138"/>
                      <a:pt x="85" y="120"/>
                      <a:pt x="98" y="87"/>
                    </a:cubicBezTo>
                    <a:cubicBezTo>
                      <a:pt x="111" y="55"/>
                      <a:pt x="100" y="20"/>
                      <a:pt x="75" y="1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54A4A3D6-AF6F-4FA1-8FB9-55E4FD302428}"/>
                  </a:ext>
                </a:extLst>
              </p:cNvPr>
              <p:cNvSpPr/>
              <p:nvPr/>
            </p:nvSpPr>
            <p:spPr bwMode="auto">
              <a:xfrm>
                <a:off x="7512051" y="1535113"/>
                <a:ext cx="863600" cy="758825"/>
              </a:xfrm>
              <a:custGeom>
                <a:avLst/>
                <a:gdLst>
                  <a:gd name="T0" fmla="*/ 137 w 250"/>
                  <a:gd name="T1" fmla="*/ 39 h 220"/>
                  <a:gd name="T2" fmla="*/ 193 w 250"/>
                  <a:gd name="T3" fmla="*/ 33 h 220"/>
                  <a:gd name="T4" fmla="*/ 194 w 250"/>
                  <a:gd name="T5" fmla="*/ 89 h 220"/>
                  <a:gd name="T6" fmla="*/ 221 w 250"/>
                  <a:gd name="T7" fmla="*/ 94 h 220"/>
                  <a:gd name="T8" fmla="*/ 237 w 250"/>
                  <a:gd name="T9" fmla="*/ 118 h 220"/>
                  <a:gd name="T10" fmla="*/ 199 w 250"/>
                  <a:gd name="T11" fmla="*/ 214 h 220"/>
                  <a:gd name="T12" fmla="*/ 167 w 250"/>
                  <a:gd name="T13" fmla="*/ 220 h 220"/>
                  <a:gd name="T14" fmla="*/ 97 w 250"/>
                  <a:gd name="T15" fmla="*/ 193 h 220"/>
                  <a:gd name="T16" fmla="*/ 86 w 250"/>
                  <a:gd name="T17" fmla="*/ 123 h 220"/>
                  <a:gd name="T18" fmla="*/ 87 w 250"/>
                  <a:gd name="T19" fmla="*/ 123 h 220"/>
                  <a:gd name="T20" fmla="*/ 31 w 250"/>
                  <a:gd name="T21" fmla="*/ 138 h 220"/>
                  <a:gd name="T22" fmla="*/ 5 w 250"/>
                  <a:gd name="T23" fmla="*/ 87 h 220"/>
                  <a:gd name="T24" fmla="*/ 53 w 250"/>
                  <a:gd name="T25" fmla="*/ 57 h 220"/>
                  <a:gd name="T26" fmla="*/ 56 w 250"/>
                  <a:gd name="T27" fmla="*/ 58 h 220"/>
                  <a:gd name="T28" fmla="*/ 67 w 250"/>
                  <a:gd name="T29" fmla="*/ 17 h 220"/>
                  <a:gd name="T30" fmla="*/ 106 w 250"/>
                  <a:gd name="T31" fmla="*/ 4 h 220"/>
                  <a:gd name="T32" fmla="*/ 132 w 250"/>
                  <a:gd name="T33" fmla="*/ 36 h 220"/>
                  <a:gd name="T34" fmla="*/ 137 w 250"/>
                  <a:gd name="T35" fmla="*/ 39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0" h="220">
                    <a:moveTo>
                      <a:pt x="137" y="39"/>
                    </a:moveTo>
                    <a:cubicBezTo>
                      <a:pt x="150" y="22"/>
                      <a:pt x="177" y="19"/>
                      <a:pt x="193" y="33"/>
                    </a:cubicBezTo>
                    <a:cubicBezTo>
                      <a:pt x="209" y="47"/>
                      <a:pt x="209" y="75"/>
                      <a:pt x="194" y="89"/>
                    </a:cubicBezTo>
                    <a:cubicBezTo>
                      <a:pt x="203" y="85"/>
                      <a:pt x="213" y="88"/>
                      <a:pt x="221" y="94"/>
                    </a:cubicBezTo>
                    <a:cubicBezTo>
                      <a:pt x="229" y="100"/>
                      <a:pt x="234" y="109"/>
                      <a:pt x="237" y="118"/>
                    </a:cubicBezTo>
                    <a:cubicBezTo>
                      <a:pt x="250" y="154"/>
                      <a:pt x="235" y="200"/>
                      <a:pt x="199" y="214"/>
                    </a:cubicBezTo>
                    <a:cubicBezTo>
                      <a:pt x="189" y="218"/>
                      <a:pt x="178" y="220"/>
                      <a:pt x="167" y="220"/>
                    </a:cubicBezTo>
                    <a:cubicBezTo>
                      <a:pt x="141" y="220"/>
                      <a:pt x="115" y="212"/>
                      <a:pt x="97" y="193"/>
                    </a:cubicBezTo>
                    <a:cubicBezTo>
                      <a:pt x="79" y="175"/>
                      <a:pt x="73" y="145"/>
                      <a:pt x="86" y="123"/>
                    </a:cubicBezTo>
                    <a:cubicBezTo>
                      <a:pt x="87" y="123"/>
                      <a:pt x="87" y="123"/>
                      <a:pt x="87" y="123"/>
                    </a:cubicBezTo>
                    <a:cubicBezTo>
                      <a:pt x="74" y="139"/>
                      <a:pt x="50" y="146"/>
                      <a:pt x="31" y="138"/>
                    </a:cubicBezTo>
                    <a:cubicBezTo>
                      <a:pt x="12" y="130"/>
                      <a:pt x="0" y="107"/>
                      <a:pt x="5" y="87"/>
                    </a:cubicBezTo>
                    <a:cubicBezTo>
                      <a:pt x="11" y="67"/>
                      <a:pt x="33" y="53"/>
                      <a:pt x="53" y="57"/>
                    </a:cubicBezTo>
                    <a:cubicBezTo>
                      <a:pt x="56" y="58"/>
                      <a:pt x="56" y="58"/>
                      <a:pt x="56" y="58"/>
                    </a:cubicBezTo>
                    <a:cubicBezTo>
                      <a:pt x="54" y="44"/>
                      <a:pt x="57" y="28"/>
                      <a:pt x="67" y="17"/>
                    </a:cubicBezTo>
                    <a:cubicBezTo>
                      <a:pt x="76" y="6"/>
                      <a:pt x="92" y="0"/>
                      <a:pt x="106" y="4"/>
                    </a:cubicBezTo>
                    <a:cubicBezTo>
                      <a:pt x="121" y="7"/>
                      <a:pt x="132" y="21"/>
                      <a:pt x="132" y="36"/>
                    </a:cubicBezTo>
                    <a:lnTo>
                      <a:pt x="137" y="39"/>
                    </a:lnTo>
                    <a:close/>
                  </a:path>
                </a:pathLst>
              </a:custGeom>
              <a:solidFill>
                <a:srgbClr val="442D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D173088-1BCC-4BED-973D-2F5C846EB49B}"/>
                  </a:ext>
                </a:extLst>
              </p:cNvPr>
              <p:cNvSpPr/>
              <p:nvPr/>
            </p:nvSpPr>
            <p:spPr bwMode="auto">
              <a:xfrm>
                <a:off x="6483351" y="2441575"/>
                <a:ext cx="635000" cy="963613"/>
              </a:xfrm>
              <a:custGeom>
                <a:avLst/>
                <a:gdLst>
                  <a:gd name="T0" fmla="*/ 180 w 184"/>
                  <a:gd name="T1" fmla="*/ 241 h 279"/>
                  <a:gd name="T2" fmla="*/ 180 w 184"/>
                  <a:gd name="T3" fmla="*/ 241 h 279"/>
                  <a:gd name="T4" fmla="*/ 120 w 184"/>
                  <a:gd name="T5" fmla="*/ 271 h 279"/>
                  <a:gd name="T6" fmla="*/ 120 w 184"/>
                  <a:gd name="T7" fmla="*/ 271 h 279"/>
                  <a:gd name="T8" fmla="*/ 92 w 184"/>
                  <a:gd name="T9" fmla="*/ 245 h 279"/>
                  <a:gd name="T10" fmla="*/ 3 w 184"/>
                  <a:gd name="T11" fmla="*/ 43 h 279"/>
                  <a:gd name="T12" fmla="*/ 9 w 184"/>
                  <a:gd name="T13" fmla="*/ 25 h 279"/>
                  <a:gd name="T14" fmla="*/ 53 w 184"/>
                  <a:gd name="T15" fmla="*/ 4 h 279"/>
                  <a:gd name="T16" fmla="*/ 71 w 184"/>
                  <a:gd name="T17" fmla="*/ 10 h 279"/>
                  <a:gd name="T18" fmla="*/ 177 w 184"/>
                  <a:gd name="T19" fmla="*/ 205 h 279"/>
                  <a:gd name="T20" fmla="*/ 180 w 184"/>
                  <a:gd name="T21" fmla="*/ 241 h 2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4" h="279">
                    <a:moveTo>
                      <a:pt x="180" y="241"/>
                    </a:moveTo>
                    <a:cubicBezTo>
                      <a:pt x="180" y="241"/>
                      <a:pt x="180" y="241"/>
                      <a:pt x="180" y="241"/>
                    </a:cubicBezTo>
                    <a:cubicBezTo>
                      <a:pt x="171" y="265"/>
                      <a:pt x="144" y="279"/>
                      <a:pt x="120" y="271"/>
                    </a:cubicBezTo>
                    <a:cubicBezTo>
                      <a:pt x="120" y="271"/>
                      <a:pt x="120" y="271"/>
                      <a:pt x="120" y="271"/>
                    </a:cubicBezTo>
                    <a:cubicBezTo>
                      <a:pt x="108" y="266"/>
                      <a:pt x="98" y="257"/>
                      <a:pt x="92" y="245"/>
                    </a:cubicBezTo>
                    <a:cubicBezTo>
                      <a:pt x="3" y="43"/>
                      <a:pt x="3" y="43"/>
                      <a:pt x="3" y="43"/>
                    </a:cubicBezTo>
                    <a:cubicBezTo>
                      <a:pt x="0" y="36"/>
                      <a:pt x="2" y="29"/>
                      <a:pt x="9" y="25"/>
                    </a:cubicBezTo>
                    <a:cubicBezTo>
                      <a:pt x="53" y="4"/>
                      <a:pt x="53" y="4"/>
                      <a:pt x="53" y="4"/>
                    </a:cubicBezTo>
                    <a:cubicBezTo>
                      <a:pt x="60" y="0"/>
                      <a:pt x="68" y="3"/>
                      <a:pt x="71" y="10"/>
                    </a:cubicBezTo>
                    <a:cubicBezTo>
                      <a:pt x="177" y="205"/>
                      <a:pt x="177" y="205"/>
                      <a:pt x="177" y="205"/>
                    </a:cubicBezTo>
                    <a:cubicBezTo>
                      <a:pt x="183" y="216"/>
                      <a:pt x="184" y="230"/>
                      <a:pt x="180" y="24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DF9F78C5-2C18-42BB-8FD8-545E7D2398D0}"/>
                  </a:ext>
                </a:extLst>
              </p:cNvPr>
              <p:cNvSpPr/>
              <p:nvPr/>
            </p:nvSpPr>
            <p:spPr bwMode="auto">
              <a:xfrm>
                <a:off x="6445251" y="2290763"/>
                <a:ext cx="203200" cy="227013"/>
              </a:xfrm>
              <a:custGeom>
                <a:avLst/>
                <a:gdLst>
                  <a:gd name="T0" fmla="*/ 128 w 128"/>
                  <a:gd name="T1" fmla="*/ 109 h 143"/>
                  <a:gd name="T2" fmla="*/ 54 w 128"/>
                  <a:gd name="T3" fmla="*/ 143 h 143"/>
                  <a:gd name="T4" fmla="*/ 0 w 128"/>
                  <a:gd name="T5" fmla="*/ 35 h 143"/>
                  <a:gd name="T6" fmla="*/ 74 w 128"/>
                  <a:gd name="T7" fmla="*/ 0 h 143"/>
                  <a:gd name="T8" fmla="*/ 128 w 128"/>
                  <a:gd name="T9" fmla="*/ 109 h 1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43">
                    <a:moveTo>
                      <a:pt x="128" y="109"/>
                    </a:moveTo>
                    <a:lnTo>
                      <a:pt x="54" y="143"/>
                    </a:lnTo>
                    <a:lnTo>
                      <a:pt x="0" y="35"/>
                    </a:lnTo>
                    <a:lnTo>
                      <a:pt x="74" y="0"/>
                    </a:lnTo>
                    <a:lnTo>
                      <a:pt x="128" y="109"/>
                    </a:ln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400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FB6B7032-086B-4469-AE1E-3F1EA559C4EC}"/>
                  </a:ext>
                </a:extLst>
              </p:cNvPr>
              <p:cNvSpPr/>
              <p:nvPr/>
            </p:nvSpPr>
            <p:spPr bwMode="auto">
              <a:xfrm>
                <a:off x="6445251" y="2287588"/>
                <a:ext cx="203200" cy="203200"/>
              </a:xfrm>
              <a:custGeom>
                <a:avLst/>
                <a:gdLst>
                  <a:gd name="T0" fmla="*/ 38 w 59"/>
                  <a:gd name="T1" fmla="*/ 51 h 59"/>
                  <a:gd name="T2" fmla="*/ 42 w 59"/>
                  <a:gd name="T3" fmla="*/ 59 h 59"/>
                  <a:gd name="T4" fmla="*/ 59 w 59"/>
                  <a:gd name="T5" fmla="*/ 51 h 59"/>
                  <a:gd name="T6" fmla="*/ 34 w 59"/>
                  <a:gd name="T7" fmla="*/ 0 h 59"/>
                  <a:gd name="T8" fmla="*/ 0 w 59"/>
                  <a:gd name="T9" fmla="*/ 17 h 59"/>
                  <a:gd name="T10" fmla="*/ 13 w 59"/>
                  <a:gd name="T11" fmla="*/ 42 h 59"/>
                  <a:gd name="T12" fmla="*/ 13 w 59"/>
                  <a:gd name="T13" fmla="*/ 42 h 59"/>
                  <a:gd name="T14" fmla="*/ 38 w 59"/>
                  <a:gd name="T15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9" h="59">
                    <a:moveTo>
                      <a:pt x="38" y="51"/>
                    </a:moveTo>
                    <a:cubicBezTo>
                      <a:pt x="42" y="59"/>
                      <a:pt x="42" y="59"/>
                      <a:pt x="42" y="59"/>
                    </a:cubicBezTo>
                    <a:cubicBezTo>
                      <a:pt x="59" y="51"/>
                      <a:pt x="59" y="51"/>
                      <a:pt x="59" y="51"/>
                    </a:cubicBezTo>
                    <a:cubicBezTo>
                      <a:pt x="34" y="0"/>
                      <a:pt x="34" y="0"/>
                      <a:pt x="34" y="0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13" y="42"/>
                      <a:pt x="13" y="42"/>
                      <a:pt x="13" y="42"/>
                    </a:cubicBezTo>
                    <a:cubicBezTo>
                      <a:pt x="23" y="37"/>
                      <a:pt x="33" y="41"/>
                      <a:pt x="38" y="51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4B2301E6-55C5-45C9-8B24-4D1559C9CAA2}"/>
                  </a:ext>
                </a:extLst>
              </p:cNvPr>
              <p:cNvSpPr/>
              <p:nvPr/>
            </p:nvSpPr>
            <p:spPr bwMode="auto">
              <a:xfrm>
                <a:off x="5435601" y="955675"/>
                <a:ext cx="1558925" cy="1555750"/>
              </a:xfrm>
              <a:custGeom>
                <a:avLst/>
                <a:gdLst>
                  <a:gd name="T0" fmla="*/ 290 w 451"/>
                  <a:gd name="T1" fmla="*/ 36 h 451"/>
                  <a:gd name="T2" fmla="*/ 36 w 451"/>
                  <a:gd name="T3" fmla="*/ 161 h 451"/>
                  <a:gd name="T4" fmla="*/ 161 w 451"/>
                  <a:gd name="T5" fmla="*/ 415 h 451"/>
                  <a:gd name="T6" fmla="*/ 415 w 451"/>
                  <a:gd name="T7" fmla="*/ 290 h 451"/>
                  <a:gd name="T8" fmla="*/ 290 w 451"/>
                  <a:gd name="T9" fmla="*/ 36 h 451"/>
                  <a:gd name="T10" fmla="*/ 174 w 451"/>
                  <a:gd name="T11" fmla="*/ 377 h 451"/>
                  <a:gd name="T12" fmla="*/ 74 w 451"/>
                  <a:gd name="T13" fmla="*/ 174 h 451"/>
                  <a:gd name="T14" fmla="*/ 277 w 451"/>
                  <a:gd name="T15" fmla="*/ 73 h 451"/>
                  <a:gd name="T16" fmla="*/ 377 w 451"/>
                  <a:gd name="T17" fmla="*/ 277 h 451"/>
                  <a:gd name="T18" fmla="*/ 174 w 451"/>
                  <a:gd name="T19" fmla="*/ 377 h 4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51" h="451">
                    <a:moveTo>
                      <a:pt x="290" y="36"/>
                    </a:moveTo>
                    <a:cubicBezTo>
                      <a:pt x="185" y="0"/>
                      <a:pt x="72" y="56"/>
                      <a:pt x="36" y="161"/>
                    </a:cubicBezTo>
                    <a:cubicBezTo>
                      <a:pt x="0" y="266"/>
                      <a:pt x="56" y="379"/>
                      <a:pt x="161" y="415"/>
                    </a:cubicBezTo>
                    <a:cubicBezTo>
                      <a:pt x="266" y="451"/>
                      <a:pt x="380" y="395"/>
                      <a:pt x="415" y="290"/>
                    </a:cubicBezTo>
                    <a:cubicBezTo>
                      <a:pt x="451" y="185"/>
                      <a:pt x="395" y="71"/>
                      <a:pt x="290" y="36"/>
                    </a:cubicBezTo>
                    <a:close/>
                    <a:moveTo>
                      <a:pt x="174" y="377"/>
                    </a:moveTo>
                    <a:cubicBezTo>
                      <a:pt x="91" y="349"/>
                      <a:pt x="46" y="257"/>
                      <a:pt x="74" y="174"/>
                    </a:cubicBezTo>
                    <a:cubicBezTo>
                      <a:pt x="102" y="90"/>
                      <a:pt x="194" y="45"/>
                      <a:pt x="277" y="73"/>
                    </a:cubicBezTo>
                    <a:cubicBezTo>
                      <a:pt x="361" y="102"/>
                      <a:pt x="406" y="193"/>
                      <a:pt x="377" y="277"/>
                    </a:cubicBezTo>
                    <a:cubicBezTo>
                      <a:pt x="349" y="360"/>
                      <a:pt x="258" y="405"/>
                      <a:pt x="174" y="377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58876B72-453F-4EAD-86AF-4C9279119D3D}"/>
                  </a:ext>
                </a:extLst>
              </p:cNvPr>
              <p:cNvSpPr/>
              <p:nvPr/>
            </p:nvSpPr>
            <p:spPr bwMode="auto">
              <a:xfrm>
                <a:off x="5594351" y="1111250"/>
                <a:ext cx="1244600" cy="1241425"/>
              </a:xfrm>
              <a:custGeom>
                <a:avLst/>
                <a:gdLst>
                  <a:gd name="T0" fmla="*/ 231 w 360"/>
                  <a:gd name="T1" fmla="*/ 28 h 360"/>
                  <a:gd name="T2" fmla="*/ 331 w 360"/>
                  <a:gd name="T3" fmla="*/ 232 h 360"/>
                  <a:gd name="T4" fmla="*/ 128 w 360"/>
                  <a:gd name="T5" fmla="*/ 332 h 360"/>
                  <a:gd name="T6" fmla="*/ 28 w 360"/>
                  <a:gd name="T7" fmla="*/ 129 h 360"/>
                  <a:gd name="T8" fmla="*/ 231 w 360"/>
                  <a:gd name="T9" fmla="*/ 28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60" h="360">
                    <a:moveTo>
                      <a:pt x="231" y="28"/>
                    </a:moveTo>
                    <a:cubicBezTo>
                      <a:pt x="315" y="57"/>
                      <a:pt x="360" y="148"/>
                      <a:pt x="331" y="232"/>
                    </a:cubicBezTo>
                    <a:cubicBezTo>
                      <a:pt x="303" y="316"/>
                      <a:pt x="212" y="360"/>
                      <a:pt x="128" y="332"/>
                    </a:cubicBezTo>
                    <a:cubicBezTo>
                      <a:pt x="44" y="303"/>
                      <a:pt x="0" y="212"/>
                      <a:pt x="28" y="129"/>
                    </a:cubicBezTo>
                    <a:cubicBezTo>
                      <a:pt x="57" y="45"/>
                      <a:pt x="148" y="0"/>
                      <a:pt x="231" y="28"/>
                    </a:cubicBezTo>
                    <a:close/>
                  </a:path>
                </a:pathLst>
              </a:custGeom>
              <a:solidFill>
                <a:srgbClr val="C1D9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6E05425E-4759-438B-B293-5350EBE60E59}"/>
                  </a:ext>
                </a:extLst>
              </p:cNvPr>
              <p:cNvSpPr/>
              <p:nvPr/>
            </p:nvSpPr>
            <p:spPr bwMode="auto">
              <a:xfrm>
                <a:off x="5799138" y="1293813"/>
                <a:ext cx="687388" cy="485775"/>
              </a:xfrm>
              <a:custGeom>
                <a:avLst/>
                <a:gdLst>
                  <a:gd name="T0" fmla="*/ 40 w 199"/>
                  <a:gd name="T1" fmla="*/ 120 h 141"/>
                  <a:gd name="T2" fmla="*/ 164 w 199"/>
                  <a:gd name="T3" fmla="*/ 59 h 141"/>
                  <a:gd name="T4" fmla="*/ 165 w 199"/>
                  <a:gd name="T5" fmla="*/ 59 h 141"/>
                  <a:gd name="T6" fmla="*/ 180 w 199"/>
                  <a:gd name="T7" fmla="*/ 23 h 141"/>
                  <a:gd name="T8" fmla="*/ 143 w 199"/>
                  <a:gd name="T9" fmla="*/ 9 h 141"/>
                  <a:gd name="T10" fmla="*/ 16 w 199"/>
                  <a:gd name="T11" fmla="*/ 72 h 141"/>
                  <a:gd name="T12" fmla="*/ 4 w 199"/>
                  <a:gd name="T13" fmla="*/ 110 h 141"/>
                  <a:gd name="T14" fmla="*/ 41 w 199"/>
                  <a:gd name="T15" fmla="*/ 120 h 141"/>
                  <a:gd name="T16" fmla="*/ 40 w 199"/>
                  <a:gd name="T17" fmla="*/ 120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9" h="141">
                    <a:moveTo>
                      <a:pt x="40" y="120"/>
                    </a:moveTo>
                    <a:cubicBezTo>
                      <a:pt x="63" y="74"/>
                      <a:pt x="114" y="49"/>
                      <a:pt x="164" y="59"/>
                    </a:cubicBezTo>
                    <a:cubicBezTo>
                      <a:pt x="165" y="59"/>
                      <a:pt x="165" y="59"/>
                      <a:pt x="165" y="59"/>
                    </a:cubicBezTo>
                    <a:cubicBezTo>
                      <a:pt x="187" y="64"/>
                      <a:pt x="199" y="34"/>
                      <a:pt x="180" y="23"/>
                    </a:cubicBezTo>
                    <a:cubicBezTo>
                      <a:pt x="168" y="16"/>
                      <a:pt x="156" y="12"/>
                      <a:pt x="143" y="9"/>
                    </a:cubicBezTo>
                    <a:cubicBezTo>
                      <a:pt x="91" y="0"/>
                      <a:pt x="38" y="26"/>
                      <a:pt x="16" y="72"/>
                    </a:cubicBezTo>
                    <a:cubicBezTo>
                      <a:pt x="9" y="83"/>
                      <a:pt x="5" y="98"/>
                      <a:pt x="4" y="110"/>
                    </a:cubicBezTo>
                    <a:cubicBezTo>
                      <a:pt x="0" y="133"/>
                      <a:pt x="32" y="141"/>
                      <a:pt x="41" y="120"/>
                    </a:cubicBezTo>
                    <a:cubicBezTo>
                      <a:pt x="40" y="121"/>
                      <a:pt x="40" y="120"/>
                      <a:pt x="40" y="120"/>
                    </a:cubicBezTo>
                    <a:close/>
                  </a:path>
                </a:pathLst>
              </a:custGeom>
              <a:solidFill>
                <a:srgbClr val="E2EF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D20C0D03-28AF-447D-A689-07992552F203}"/>
                  </a:ext>
                </a:extLst>
              </p:cNvPr>
              <p:cNvSpPr/>
              <p:nvPr/>
            </p:nvSpPr>
            <p:spPr bwMode="auto">
              <a:xfrm>
                <a:off x="5992813" y="1949450"/>
                <a:ext cx="877888" cy="561975"/>
              </a:xfrm>
              <a:custGeom>
                <a:avLst/>
                <a:gdLst>
                  <a:gd name="T0" fmla="*/ 0 w 254"/>
                  <a:gd name="T1" fmla="*/ 127 h 163"/>
                  <a:gd name="T2" fmla="*/ 0 w 254"/>
                  <a:gd name="T3" fmla="*/ 127 h 163"/>
                  <a:gd name="T4" fmla="*/ 254 w 254"/>
                  <a:gd name="T5" fmla="*/ 2 h 163"/>
                  <a:gd name="T6" fmla="*/ 254 w 254"/>
                  <a:gd name="T7" fmla="*/ 2 h 163"/>
                  <a:gd name="T8" fmla="*/ 237 w 254"/>
                  <a:gd name="T9" fmla="*/ 10 h 163"/>
                  <a:gd name="T10" fmla="*/ 149 w 254"/>
                  <a:gd name="T11" fmla="*/ 104 h 163"/>
                  <a:gd name="T12" fmla="*/ 17 w 254"/>
                  <a:gd name="T13" fmla="*/ 118 h 163"/>
                  <a:gd name="T14" fmla="*/ 0 w 254"/>
                  <a:gd name="T15" fmla="*/ 127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4" h="163">
                    <a:moveTo>
                      <a:pt x="0" y="127"/>
                    </a:moveTo>
                    <a:cubicBezTo>
                      <a:pt x="0" y="127"/>
                      <a:pt x="0" y="127"/>
                      <a:pt x="0" y="127"/>
                    </a:cubicBezTo>
                    <a:cubicBezTo>
                      <a:pt x="105" y="163"/>
                      <a:pt x="219" y="107"/>
                      <a:pt x="254" y="2"/>
                    </a:cubicBezTo>
                    <a:cubicBezTo>
                      <a:pt x="254" y="2"/>
                      <a:pt x="254" y="2"/>
                      <a:pt x="254" y="2"/>
                    </a:cubicBezTo>
                    <a:cubicBezTo>
                      <a:pt x="248" y="0"/>
                      <a:pt x="240" y="2"/>
                      <a:pt x="237" y="10"/>
                    </a:cubicBezTo>
                    <a:cubicBezTo>
                      <a:pt x="220" y="52"/>
                      <a:pt x="188" y="85"/>
                      <a:pt x="149" y="104"/>
                    </a:cubicBezTo>
                    <a:cubicBezTo>
                      <a:pt x="110" y="125"/>
                      <a:pt x="63" y="130"/>
                      <a:pt x="17" y="118"/>
                    </a:cubicBezTo>
                    <a:cubicBezTo>
                      <a:pt x="10" y="116"/>
                      <a:pt x="2" y="121"/>
                      <a:pt x="0" y="127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CACB6A80-7751-4288-AF65-897825CE99AD}"/>
                  </a:ext>
                </a:extLst>
              </p:cNvPr>
              <p:cNvSpPr/>
              <p:nvPr/>
            </p:nvSpPr>
            <p:spPr bwMode="auto">
              <a:xfrm>
                <a:off x="5561013" y="955675"/>
                <a:ext cx="876300" cy="561975"/>
              </a:xfrm>
              <a:custGeom>
                <a:avLst/>
                <a:gdLst>
                  <a:gd name="T0" fmla="*/ 254 w 254"/>
                  <a:gd name="T1" fmla="*/ 36 h 163"/>
                  <a:gd name="T2" fmla="*/ 254 w 254"/>
                  <a:gd name="T3" fmla="*/ 36 h 163"/>
                  <a:gd name="T4" fmla="*/ 0 w 254"/>
                  <a:gd name="T5" fmla="*/ 161 h 163"/>
                  <a:gd name="T6" fmla="*/ 0 w 254"/>
                  <a:gd name="T7" fmla="*/ 161 h 163"/>
                  <a:gd name="T8" fmla="*/ 17 w 254"/>
                  <a:gd name="T9" fmla="*/ 152 h 163"/>
                  <a:gd name="T10" fmla="*/ 100 w 254"/>
                  <a:gd name="T11" fmla="*/ 61 h 163"/>
                  <a:gd name="T12" fmla="*/ 237 w 254"/>
                  <a:gd name="T13" fmla="*/ 44 h 163"/>
                  <a:gd name="T14" fmla="*/ 254 w 254"/>
                  <a:gd name="T15" fmla="*/ 36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4" h="163">
                    <a:moveTo>
                      <a:pt x="254" y="36"/>
                    </a:moveTo>
                    <a:cubicBezTo>
                      <a:pt x="254" y="36"/>
                      <a:pt x="254" y="36"/>
                      <a:pt x="254" y="36"/>
                    </a:cubicBezTo>
                    <a:cubicBezTo>
                      <a:pt x="149" y="0"/>
                      <a:pt x="36" y="56"/>
                      <a:pt x="0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6" y="163"/>
                      <a:pt x="14" y="160"/>
                      <a:pt x="17" y="152"/>
                    </a:cubicBezTo>
                    <a:cubicBezTo>
                      <a:pt x="34" y="111"/>
                      <a:pt x="64" y="80"/>
                      <a:pt x="100" y="61"/>
                    </a:cubicBezTo>
                    <a:cubicBezTo>
                      <a:pt x="142" y="40"/>
                      <a:pt x="191" y="32"/>
                      <a:pt x="237" y="44"/>
                    </a:cubicBezTo>
                    <a:cubicBezTo>
                      <a:pt x="245" y="46"/>
                      <a:pt x="252" y="42"/>
                      <a:pt x="254" y="36"/>
                    </a:cubicBezTo>
                    <a:close/>
                  </a:path>
                </a:pathLst>
              </a:custGeom>
              <a:solidFill>
                <a:srgbClr val="4C556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573975B0-3954-4A3F-87C2-EE0320BC2A60}"/>
                  </a:ext>
                </a:extLst>
              </p:cNvPr>
              <p:cNvSpPr/>
              <p:nvPr/>
            </p:nvSpPr>
            <p:spPr bwMode="auto">
              <a:xfrm>
                <a:off x="6648451" y="2497138"/>
                <a:ext cx="125413" cy="196850"/>
              </a:xfrm>
              <a:custGeom>
                <a:avLst/>
                <a:gdLst>
                  <a:gd name="T0" fmla="*/ 27 w 36"/>
                  <a:gd name="T1" fmla="*/ 56 h 57"/>
                  <a:gd name="T2" fmla="*/ 23 w 36"/>
                  <a:gd name="T3" fmla="*/ 53 h 57"/>
                  <a:gd name="T4" fmla="*/ 2 w 36"/>
                  <a:gd name="T5" fmla="*/ 10 h 57"/>
                  <a:gd name="T6" fmla="*/ 5 w 36"/>
                  <a:gd name="T7" fmla="*/ 2 h 57"/>
                  <a:gd name="T8" fmla="*/ 14 w 36"/>
                  <a:gd name="T9" fmla="*/ 5 h 57"/>
                  <a:gd name="T10" fmla="*/ 34 w 36"/>
                  <a:gd name="T11" fmla="*/ 47 h 57"/>
                  <a:gd name="T12" fmla="*/ 31 w 36"/>
                  <a:gd name="T13" fmla="*/ 56 h 57"/>
                  <a:gd name="T14" fmla="*/ 27 w 36"/>
                  <a:gd name="T15" fmla="*/ 5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6" h="57">
                    <a:moveTo>
                      <a:pt x="27" y="56"/>
                    </a:moveTo>
                    <a:cubicBezTo>
                      <a:pt x="26" y="55"/>
                      <a:pt x="23" y="54"/>
                      <a:pt x="23" y="53"/>
                    </a:cubicBezTo>
                    <a:cubicBezTo>
                      <a:pt x="2" y="10"/>
                      <a:pt x="2" y="10"/>
                      <a:pt x="2" y="10"/>
                    </a:cubicBezTo>
                    <a:cubicBezTo>
                      <a:pt x="0" y="7"/>
                      <a:pt x="1" y="3"/>
                      <a:pt x="5" y="2"/>
                    </a:cubicBezTo>
                    <a:cubicBezTo>
                      <a:pt x="8" y="0"/>
                      <a:pt x="12" y="1"/>
                      <a:pt x="14" y="5"/>
                    </a:cubicBezTo>
                    <a:cubicBezTo>
                      <a:pt x="34" y="47"/>
                      <a:pt x="34" y="47"/>
                      <a:pt x="34" y="47"/>
                    </a:cubicBezTo>
                    <a:cubicBezTo>
                      <a:pt x="36" y="50"/>
                      <a:pt x="35" y="54"/>
                      <a:pt x="31" y="56"/>
                    </a:cubicBezTo>
                    <a:cubicBezTo>
                      <a:pt x="31" y="57"/>
                      <a:pt x="28" y="56"/>
                      <a:pt x="27" y="56"/>
                    </a:cubicBez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 fontScale="32500" lnSpcReduction="20000"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92F98566-BB52-4CC3-8C5F-82AB0BB8A7D8}"/>
                </a:ext>
              </a:extLst>
            </p:cNvPr>
            <p:cNvCxnSpPr/>
            <p:nvPr/>
          </p:nvCxnSpPr>
          <p:spPr>
            <a:xfrm>
              <a:off x="6686160" y="1130300"/>
              <a:ext cx="0" cy="5003800"/>
            </a:xfrm>
            <a:prstGeom prst="line">
              <a:avLst/>
            </a:prstGeom>
            <a:ln w="222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0450FC6B-67F5-4586-9572-0BB20DE86AA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62806" y="3254944"/>
              <a:ext cx="43560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连接符 8">
              <a:extLst>
                <a:ext uri="{FF2B5EF4-FFF2-40B4-BE49-F238E27FC236}">
                  <a16:creationId xmlns:a16="http://schemas.microsoft.com/office/drawing/2014/main" id="{34080385-3AF5-412E-B207-96D5D5D9340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62806" y="4009452"/>
              <a:ext cx="43560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连接符 9">
              <a:extLst>
                <a:ext uri="{FF2B5EF4-FFF2-40B4-BE49-F238E27FC236}">
                  <a16:creationId xmlns:a16="http://schemas.microsoft.com/office/drawing/2014/main" id="{2A75A44B-0F36-4967-895F-CC8C0A9E3F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162806" y="4763960"/>
              <a:ext cx="43560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23D0CC4A-49D0-459C-9DA9-1AC3AC1B41C6}"/>
                </a:ext>
              </a:extLst>
            </p:cNvPr>
            <p:cNvCxnSpPr/>
            <p:nvPr/>
          </p:nvCxnSpPr>
          <p:spPr>
            <a:xfrm flipV="1">
              <a:off x="7162806" y="2500437"/>
              <a:ext cx="4356094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28BF634E-98FA-47A2-A6B9-A5CA49E9E75A}"/>
                </a:ext>
              </a:extLst>
            </p:cNvPr>
            <p:cNvGrpSpPr/>
            <p:nvPr/>
          </p:nvGrpSpPr>
          <p:grpSpPr>
            <a:xfrm>
              <a:off x="6456149" y="4156696"/>
              <a:ext cx="5062751" cy="460022"/>
              <a:chOff x="6456149" y="4376642"/>
              <a:chExt cx="5062751" cy="460022"/>
            </a:xfrm>
          </p:grpSpPr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93055649-E591-4C0E-96EB-499FEEFEEE46}"/>
                  </a:ext>
                </a:extLst>
              </p:cNvPr>
              <p:cNvSpPr/>
              <p:nvPr/>
            </p:nvSpPr>
            <p:spPr bwMode="auto">
              <a:xfrm>
                <a:off x="7041762" y="4406598"/>
                <a:ext cx="4477138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grpSp>
            <p:nvGrpSpPr>
              <p:cNvPr id="39" name="组合 38">
                <a:extLst>
                  <a:ext uri="{FF2B5EF4-FFF2-40B4-BE49-F238E27FC236}">
                    <a16:creationId xmlns:a16="http://schemas.microsoft.com/office/drawing/2014/main" id="{0C4FCB78-2A80-47BE-B9B7-A2F6CC388632}"/>
                  </a:ext>
                </a:extLst>
              </p:cNvPr>
              <p:cNvGrpSpPr/>
              <p:nvPr/>
            </p:nvGrpSpPr>
            <p:grpSpPr>
              <a:xfrm>
                <a:off x="6456149" y="4376642"/>
                <a:ext cx="460022" cy="460022"/>
                <a:chOff x="6456149" y="4376642"/>
                <a:chExt cx="460022" cy="460022"/>
              </a:xfrm>
            </p:grpSpPr>
            <p:sp>
              <p:nvSpPr>
                <p:cNvPr id="40" name="椭圆 39">
                  <a:extLst>
                    <a:ext uri="{FF2B5EF4-FFF2-40B4-BE49-F238E27FC236}">
                      <a16:creationId xmlns:a16="http://schemas.microsoft.com/office/drawing/2014/main" id="{B9DB9937-B780-4F64-90EE-C868A0CABC26}"/>
                    </a:ext>
                  </a:extLst>
                </p:cNvPr>
                <p:cNvSpPr/>
                <p:nvPr/>
              </p:nvSpPr>
              <p:spPr>
                <a:xfrm>
                  <a:off x="6456149" y="4376642"/>
                  <a:ext cx="460022" cy="460022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 sz="2400" b="1" i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71A66C02-7754-4BE2-82A3-06A986D3ED3A}"/>
                    </a:ext>
                  </a:extLst>
                </p:cNvPr>
                <p:cNvSpPr/>
                <p:nvPr/>
              </p:nvSpPr>
              <p:spPr bwMode="auto">
                <a:xfrm>
                  <a:off x="6568006" y="4495912"/>
                  <a:ext cx="236308" cy="221482"/>
                </a:xfrm>
                <a:custGeom>
                  <a:avLst/>
                  <a:gdLst>
                    <a:gd name="connsiteX0" fmla="*/ 388426 w 607282"/>
                    <a:gd name="connsiteY0" fmla="*/ 385710 h 569180"/>
                    <a:gd name="connsiteX1" fmla="*/ 431276 w 607282"/>
                    <a:gd name="connsiteY1" fmla="*/ 385710 h 569180"/>
                    <a:gd name="connsiteX2" fmla="*/ 431276 w 607282"/>
                    <a:gd name="connsiteY2" fmla="*/ 438433 h 569180"/>
                    <a:gd name="connsiteX3" fmla="*/ 522771 w 607282"/>
                    <a:gd name="connsiteY3" fmla="*/ 529738 h 569180"/>
                    <a:gd name="connsiteX4" fmla="*/ 522771 w 607282"/>
                    <a:gd name="connsiteY4" fmla="*/ 559964 h 569180"/>
                    <a:gd name="connsiteX5" fmla="*/ 492483 w 607282"/>
                    <a:gd name="connsiteY5" fmla="*/ 559964 h 569180"/>
                    <a:gd name="connsiteX6" fmla="*/ 431276 w 607282"/>
                    <a:gd name="connsiteY6" fmla="*/ 498941 h 569180"/>
                    <a:gd name="connsiteX7" fmla="*/ 431276 w 607282"/>
                    <a:gd name="connsiteY7" fmla="*/ 547771 h 569180"/>
                    <a:gd name="connsiteX8" fmla="*/ 409822 w 607282"/>
                    <a:gd name="connsiteY8" fmla="*/ 569180 h 569180"/>
                    <a:gd name="connsiteX9" fmla="*/ 388426 w 607282"/>
                    <a:gd name="connsiteY9" fmla="*/ 547771 h 569180"/>
                    <a:gd name="connsiteX10" fmla="*/ 388426 w 607282"/>
                    <a:gd name="connsiteY10" fmla="*/ 498941 h 569180"/>
                    <a:gd name="connsiteX11" fmla="*/ 327276 w 607282"/>
                    <a:gd name="connsiteY11" fmla="*/ 559964 h 569180"/>
                    <a:gd name="connsiteX12" fmla="*/ 296988 w 607282"/>
                    <a:gd name="connsiteY12" fmla="*/ 559964 h 569180"/>
                    <a:gd name="connsiteX13" fmla="*/ 296988 w 607282"/>
                    <a:gd name="connsiteY13" fmla="*/ 529738 h 569180"/>
                    <a:gd name="connsiteX14" fmla="*/ 296931 w 607282"/>
                    <a:gd name="connsiteY14" fmla="*/ 529738 h 569180"/>
                    <a:gd name="connsiteX15" fmla="*/ 388426 w 607282"/>
                    <a:gd name="connsiteY15" fmla="*/ 438433 h 569180"/>
                    <a:gd name="connsiteX16" fmla="*/ 388426 w 607282"/>
                    <a:gd name="connsiteY16" fmla="*/ 434597 h 569180"/>
                    <a:gd name="connsiteX17" fmla="*/ 38140 w 607282"/>
                    <a:gd name="connsiteY17" fmla="*/ 145929 h 569180"/>
                    <a:gd name="connsiteX18" fmla="*/ 38255 w 607282"/>
                    <a:gd name="connsiteY18" fmla="*/ 145929 h 569180"/>
                    <a:gd name="connsiteX19" fmla="*/ 66358 w 607282"/>
                    <a:gd name="connsiteY19" fmla="*/ 145929 h 569180"/>
                    <a:gd name="connsiteX20" fmla="*/ 68767 w 607282"/>
                    <a:gd name="connsiteY20" fmla="*/ 161160 h 569180"/>
                    <a:gd name="connsiteX21" fmla="*/ 76453 w 607282"/>
                    <a:gd name="connsiteY21" fmla="*/ 208857 h 569180"/>
                    <a:gd name="connsiteX22" fmla="*/ 82589 w 607282"/>
                    <a:gd name="connsiteY22" fmla="*/ 246763 h 569180"/>
                    <a:gd name="connsiteX23" fmla="*/ 92684 w 607282"/>
                    <a:gd name="connsiteY23" fmla="*/ 246763 h 569180"/>
                    <a:gd name="connsiteX24" fmla="*/ 99222 w 607282"/>
                    <a:gd name="connsiteY24" fmla="*/ 172898 h 569180"/>
                    <a:gd name="connsiteX25" fmla="*/ 91594 w 607282"/>
                    <a:gd name="connsiteY25" fmla="*/ 145929 h 569180"/>
                    <a:gd name="connsiteX26" fmla="*/ 136502 w 607282"/>
                    <a:gd name="connsiteY26" fmla="*/ 145929 h 569180"/>
                    <a:gd name="connsiteX27" fmla="*/ 128874 w 607282"/>
                    <a:gd name="connsiteY27" fmla="*/ 172898 h 569180"/>
                    <a:gd name="connsiteX28" fmla="*/ 135355 w 607282"/>
                    <a:gd name="connsiteY28" fmla="*/ 246763 h 569180"/>
                    <a:gd name="connsiteX29" fmla="*/ 145507 w 607282"/>
                    <a:gd name="connsiteY29" fmla="*/ 246763 h 569180"/>
                    <a:gd name="connsiteX30" fmla="*/ 153192 w 607282"/>
                    <a:gd name="connsiteY30" fmla="*/ 198780 h 569180"/>
                    <a:gd name="connsiteX31" fmla="*/ 161738 w 607282"/>
                    <a:gd name="connsiteY31" fmla="*/ 145929 h 569180"/>
                    <a:gd name="connsiteX32" fmla="*/ 336094 w 607282"/>
                    <a:gd name="connsiteY32" fmla="*/ 145929 h 569180"/>
                    <a:gd name="connsiteX33" fmla="*/ 374349 w 607282"/>
                    <a:gd name="connsiteY33" fmla="*/ 184121 h 569180"/>
                    <a:gd name="connsiteX34" fmla="*/ 336094 w 607282"/>
                    <a:gd name="connsiteY34" fmla="*/ 222256 h 569180"/>
                    <a:gd name="connsiteX35" fmla="*/ 189841 w 607282"/>
                    <a:gd name="connsiteY35" fmla="*/ 222256 h 569180"/>
                    <a:gd name="connsiteX36" fmla="*/ 189841 w 607282"/>
                    <a:gd name="connsiteY36" fmla="*/ 298011 h 569180"/>
                    <a:gd name="connsiteX37" fmla="*/ 189841 w 607282"/>
                    <a:gd name="connsiteY37" fmla="*/ 365807 h 569180"/>
                    <a:gd name="connsiteX38" fmla="*/ 189841 w 607282"/>
                    <a:gd name="connsiteY38" fmla="*/ 528081 h 569180"/>
                    <a:gd name="connsiteX39" fmla="*/ 151586 w 607282"/>
                    <a:gd name="connsiteY39" fmla="*/ 566216 h 569180"/>
                    <a:gd name="connsiteX40" fmla="*/ 114019 w 607282"/>
                    <a:gd name="connsiteY40" fmla="*/ 535239 h 569180"/>
                    <a:gd name="connsiteX41" fmla="*/ 76453 w 607282"/>
                    <a:gd name="connsiteY41" fmla="*/ 566216 h 569180"/>
                    <a:gd name="connsiteX42" fmla="*/ 38255 w 607282"/>
                    <a:gd name="connsiteY42" fmla="*/ 528081 h 569180"/>
                    <a:gd name="connsiteX43" fmla="*/ 38255 w 607282"/>
                    <a:gd name="connsiteY43" fmla="*/ 384874 h 569180"/>
                    <a:gd name="connsiteX44" fmla="*/ 0 w 607282"/>
                    <a:gd name="connsiteY44" fmla="*/ 346739 h 569180"/>
                    <a:gd name="connsiteX45" fmla="*/ 0 w 607282"/>
                    <a:gd name="connsiteY45" fmla="*/ 184121 h 569180"/>
                    <a:gd name="connsiteX46" fmla="*/ 38140 w 607282"/>
                    <a:gd name="connsiteY46" fmla="*/ 145929 h 569180"/>
                    <a:gd name="connsiteX47" fmla="*/ 545532 w 607282"/>
                    <a:gd name="connsiteY47" fmla="*/ 89195 h 569180"/>
                    <a:gd name="connsiteX48" fmla="*/ 587343 w 607282"/>
                    <a:gd name="connsiteY48" fmla="*/ 89195 h 569180"/>
                    <a:gd name="connsiteX49" fmla="*/ 587343 w 607282"/>
                    <a:gd name="connsiteY49" fmla="*/ 124061 h 569180"/>
                    <a:gd name="connsiteX50" fmla="*/ 587228 w 607282"/>
                    <a:gd name="connsiteY50" fmla="*/ 124061 h 569180"/>
                    <a:gd name="connsiteX51" fmla="*/ 587343 w 607282"/>
                    <a:gd name="connsiteY51" fmla="*/ 324787 h 569180"/>
                    <a:gd name="connsiteX52" fmla="*/ 541403 w 607282"/>
                    <a:gd name="connsiteY52" fmla="*/ 370989 h 569180"/>
                    <a:gd name="connsiteX53" fmla="*/ 278325 w 607282"/>
                    <a:gd name="connsiteY53" fmla="*/ 370531 h 569180"/>
                    <a:gd name="connsiteX54" fmla="*/ 233131 w 607282"/>
                    <a:gd name="connsiteY54" fmla="*/ 331027 h 569180"/>
                    <a:gd name="connsiteX55" fmla="*/ 232729 w 607282"/>
                    <a:gd name="connsiteY55" fmla="*/ 233012 h 569180"/>
                    <a:gd name="connsiteX56" fmla="*/ 272475 w 607282"/>
                    <a:gd name="connsiteY56" fmla="*/ 233012 h 569180"/>
                    <a:gd name="connsiteX57" fmla="*/ 272475 w 607282"/>
                    <a:gd name="connsiteY57" fmla="*/ 330340 h 569180"/>
                    <a:gd name="connsiteX58" fmla="*/ 545532 w 607282"/>
                    <a:gd name="connsiteY58" fmla="*/ 329997 h 569180"/>
                    <a:gd name="connsiteX59" fmla="*/ 545532 w 607282"/>
                    <a:gd name="connsiteY59" fmla="*/ 124061 h 569180"/>
                    <a:gd name="connsiteX60" fmla="*/ 231948 w 607282"/>
                    <a:gd name="connsiteY60" fmla="*/ 89124 h 569180"/>
                    <a:gd name="connsiteX61" fmla="*/ 273793 w 607282"/>
                    <a:gd name="connsiteY61" fmla="*/ 89124 h 569180"/>
                    <a:gd name="connsiteX62" fmla="*/ 273793 w 607282"/>
                    <a:gd name="connsiteY62" fmla="*/ 135062 h 569180"/>
                    <a:gd name="connsiteX63" fmla="*/ 272240 w 607282"/>
                    <a:gd name="connsiteY63" fmla="*/ 135062 h 569180"/>
                    <a:gd name="connsiteX64" fmla="*/ 233571 w 607282"/>
                    <a:gd name="connsiteY64" fmla="*/ 135062 h 569180"/>
                    <a:gd name="connsiteX65" fmla="*/ 231948 w 607282"/>
                    <a:gd name="connsiteY65" fmla="*/ 135062 h 569180"/>
                    <a:gd name="connsiteX66" fmla="*/ 409822 w 607282"/>
                    <a:gd name="connsiteY66" fmla="*/ 10232 h 569180"/>
                    <a:gd name="connsiteX67" fmla="*/ 437925 w 607282"/>
                    <a:gd name="connsiteY67" fmla="*/ 35771 h 569180"/>
                    <a:gd name="connsiteX68" fmla="*/ 447503 w 607282"/>
                    <a:gd name="connsiteY68" fmla="*/ 35771 h 569180"/>
                    <a:gd name="connsiteX69" fmla="*/ 578958 w 607282"/>
                    <a:gd name="connsiteY69" fmla="*/ 35828 h 569180"/>
                    <a:gd name="connsiteX70" fmla="*/ 593009 w 607282"/>
                    <a:gd name="connsiteY70" fmla="*/ 37031 h 569180"/>
                    <a:gd name="connsiteX71" fmla="*/ 607233 w 607282"/>
                    <a:gd name="connsiteY71" fmla="*/ 57874 h 569180"/>
                    <a:gd name="connsiteX72" fmla="*/ 587159 w 607282"/>
                    <a:gd name="connsiteY72" fmla="*/ 76828 h 569180"/>
                    <a:gd name="connsiteX73" fmla="*/ 579244 w 607282"/>
                    <a:gd name="connsiteY73" fmla="*/ 76885 h 569180"/>
                    <a:gd name="connsiteX74" fmla="*/ 241776 w 607282"/>
                    <a:gd name="connsiteY74" fmla="*/ 76885 h 569180"/>
                    <a:gd name="connsiteX75" fmla="*/ 233861 w 607282"/>
                    <a:gd name="connsiteY75" fmla="*/ 76828 h 569180"/>
                    <a:gd name="connsiteX76" fmla="*/ 212984 w 607282"/>
                    <a:gd name="connsiteY76" fmla="*/ 56672 h 569180"/>
                    <a:gd name="connsiteX77" fmla="*/ 233287 w 607282"/>
                    <a:gd name="connsiteY77" fmla="*/ 35943 h 569180"/>
                    <a:gd name="connsiteX78" fmla="*/ 244357 w 607282"/>
                    <a:gd name="connsiteY78" fmla="*/ 35771 h 569180"/>
                    <a:gd name="connsiteX79" fmla="*/ 371108 w 607282"/>
                    <a:gd name="connsiteY79" fmla="*/ 35771 h 569180"/>
                    <a:gd name="connsiteX80" fmla="*/ 381661 w 607282"/>
                    <a:gd name="connsiteY80" fmla="*/ 35771 h 569180"/>
                    <a:gd name="connsiteX81" fmla="*/ 409822 w 607282"/>
                    <a:gd name="connsiteY81" fmla="*/ 10232 h 569180"/>
                    <a:gd name="connsiteX82" fmla="*/ 114034 w 607282"/>
                    <a:gd name="connsiteY82" fmla="*/ 0 h 569180"/>
                    <a:gd name="connsiteX83" fmla="*/ 182130 w 607282"/>
                    <a:gd name="connsiteY83" fmla="*/ 67990 h 569180"/>
                    <a:gd name="connsiteX84" fmla="*/ 114034 w 607282"/>
                    <a:gd name="connsiteY84" fmla="*/ 135980 h 569180"/>
                    <a:gd name="connsiteX85" fmla="*/ 45938 w 607282"/>
                    <a:gd name="connsiteY85" fmla="*/ 67990 h 569180"/>
                    <a:gd name="connsiteX86" fmla="*/ 114034 w 607282"/>
                    <a:gd name="connsiteY86" fmla="*/ 0 h 5691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</a:cxnLst>
                  <a:rect l="l" t="t" r="r" b="b"/>
                  <a:pathLst>
                    <a:path w="607282" h="569180">
                      <a:moveTo>
                        <a:pt x="388426" y="385710"/>
                      </a:moveTo>
                      <a:lnTo>
                        <a:pt x="431276" y="385710"/>
                      </a:lnTo>
                      <a:lnTo>
                        <a:pt x="431276" y="438433"/>
                      </a:lnTo>
                      <a:lnTo>
                        <a:pt x="522771" y="529738"/>
                      </a:lnTo>
                      <a:cubicBezTo>
                        <a:pt x="531146" y="538096"/>
                        <a:pt x="531146" y="551606"/>
                        <a:pt x="522771" y="559964"/>
                      </a:cubicBezTo>
                      <a:cubicBezTo>
                        <a:pt x="514396" y="568321"/>
                        <a:pt x="500858" y="568321"/>
                        <a:pt x="492483" y="559964"/>
                      </a:cubicBezTo>
                      <a:lnTo>
                        <a:pt x="431276" y="498941"/>
                      </a:lnTo>
                      <a:lnTo>
                        <a:pt x="431276" y="547771"/>
                      </a:lnTo>
                      <a:cubicBezTo>
                        <a:pt x="431276" y="559563"/>
                        <a:pt x="421697" y="569180"/>
                        <a:pt x="409822" y="569180"/>
                      </a:cubicBezTo>
                      <a:cubicBezTo>
                        <a:pt x="398005" y="569180"/>
                        <a:pt x="388426" y="559563"/>
                        <a:pt x="388426" y="547771"/>
                      </a:cubicBezTo>
                      <a:lnTo>
                        <a:pt x="388426" y="498941"/>
                      </a:lnTo>
                      <a:lnTo>
                        <a:pt x="327276" y="559964"/>
                      </a:lnTo>
                      <a:cubicBezTo>
                        <a:pt x="318901" y="568321"/>
                        <a:pt x="305306" y="568321"/>
                        <a:pt x="296988" y="559964"/>
                      </a:cubicBezTo>
                      <a:cubicBezTo>
                        <a:pt x="288613" y="551606"/>
                        <a:pt x="288613" y="538096"/>
                        <a:pt x="296988" y="529738"/>
                      </a:cubicBezTo>
                      <a:lnTo>
                        <a:pt x="296931" y="529738"/>
                      </a:lnTo>
                      <a:lnTo>
                        <a:pt x="388426" y="438433"/>
                      </a:lnTo>
                      <a:lnTo>
                        <a:pt x="388426" y="434597"/>
                      </a:lnTo>
                      <a:close/>
                      <a:moveTo>
                        <a:pt x="38140" y="145929"/>
                      </a:moveTo>
                      <a:lnTo>
                        <a:pt x="38255" y="145929"/>
                      </a:lnTo>
                      <a:lnTo>
                        <a:pt x="66358" y="145929"/>
                      </a:lnTo>
                      <a:lnTo>
                        <a:pt x="68767" y="161160"/>
                      </a:lnTo>
                      <a:lnTo>
                        <a:pt x="76453" y="208857"/>
                      </a:lnTo>
                      <a:lnTo>
                        <a:pt x="82589" y="246763"/>
                      </a:lnTo>
                      <a:lnTo>
                        <a:pt x="92684" y="246763"/>
                      </a:lnTo>
                      <a:lnTo>
                        <a:pt x="99222" y="172898"/>
                      </a:lnTo>
                      <a:lnTo>
                        <a:pt x="91594" y="145929"/>
                      </a:lnTo>
                      <a:lnTo>
                        <a:pt x="136502" y="145929"/>
                      </a:lnTo>
                      <a:lnTo>
                        <a:pt x="128874" y="172898"/>
                      </a:lnTo>
                      <a:lnTo>
                        <a:pt x="135355" y="246763"/>
                      </a:lnTo>
                      <a:lnTo>
                        <a:pt x="145507" y="246763"/>
                      </a:lnTo>
                      <a:lnTo>
                        <a:pt x="153192" y="198780"/>
                      </a:lnTo>
                      <a:lnTo>
                        <a:pt x="161738" y="145929"/>
                      </a:lnTo>
                      <a:lnTo>
                        <a:pt x="336094" y="145929"/>
                      </a:lnTo>
                      <a:cubicBezTo>
                        <a:pt x="357200" y="145929"/>
                        <a:pt x="374349" y="162992"/>
                        <a:pt x="374349" y="184121"/>
                      </a:cubicBezTo>
                      <a:cubicBezTo>
                        <a:pt x="374349" y="205193"/>
                        <a:pt x="357200" y="222256"/>
                        <a:pt x="336094" y="222256"/>
                      </a:cubicBezTo>
                      <a:lnTo>
                        <a:pt x="189841" y="222256"/>
                      </a:lnTo>
                      <a:lnTo>
                        <a:pt x="189841" y="298011"/>
                      </a:lnTo>
                      <a:lnTo>
                        <a:pt x="189841" y="365807"/>
                      </a:lnTo>
                      <a:lnTo>
                        <a:pt x="189841" y="528081"/>
                      </a:lnTo>
                      <a:cubicBezTo>
                        <a:pt x="189841" y="549153"/>
                        <a:pt x="172692" y="566216"/>
                        <a:pt x="151586" y="566216"/>
                      </a:cubicBezTo>
                      <a:cubicBezTo>
                        <a:pt x="132889" y="566216"/>
                        <a:pt x="117403" y="552875"/>
                        <a:pt x="114019" y="535239"/>
                      </a:cubicBezTo>
                      <a:cubicBezTo>
                        <a:pt x="110693" y="552875"/>
                        <a:pt x="95150" y="566216"/>
                        <a:pt x="76453" y="566216"/>
                      </a:cubicBezTo>
                      <a:cubicBezTo>
                        <a:pt x="55346" y="566216"/>
                        <a:pt x="38255" y="549153"/>
                        <a:pt x="38255" y="528081"/>
                      </a:cubicBezTo>
                      <a:lnTo>
                        <a:pt x="38255" y="384874"/>
                      </a:lnTo>
                      <a:cubicBezTo>
                        <a:pt x="17091" y="384874"/>
                        <a:pt x="0" y="367811"/>
                        <a:pt x="0" y="346739"/>
                      </a:cubicBezTo>
                      <a:lnTo>
                        <a:pt x="0" y="184121"/>
                      </a:lnTo>
                      <a:cubicBezTo>
                        <a:pt x="0" y="163050"/>
                        <a:pt x="17091" y="145986"/>
                        <a:pt x="38140" y="145929"/>
                      </a:cubicBezTo>
                      <a:close/>
                      <a:moveTo>
                        <a:pt x="545532" y="89195"/>
                      </a:moveTo>
                      <a:lnTo>
                        <a:pt x="587343" y="89195"/>
                      </a:lnTo>
                      <a:lnTo>
                        <a:pt x="587343" y="124061"/>
                      </a:lnTo>
                      <a:lnTo>
                        <a:pt x="587228" y="124061"/>
                      </a:lnTo>
                      <a:cubicBezTo>
                        <a:pt x="587228" y="190989"/>
                        <a:pt x="587056" y="257859"/>
                        <a:pt x="587343" y="324787"/>
                      </a:cubicBezTo>
                      <a:cubicBezTo>
                        <a:pt x="587457" y="352669"/>
                        <a:pt x="567498" y="371104"/>
                        <a:pt x="541403" y="370989"/>
                      </a:cubicBezTo>
                      <a:cubicBezTo>
                        <a:pt x="453710" y="370646"/>
                        <a:pt x="366018" y="370703"/>
                        <a:pt x="278325" y="370531"/>
                      </a:cubicBezTo>
                      <a:cubicBezTo>
                        <a:pt x="255441" y="370474"/>
                        <a:pt x="234278" y="353527"/>
                        <a:pt x="233131" y="331027"/>
                      </a:cubicBezTo>
                      <a:cubicBezTo>
                        <a:pt x="231525" y="299024"/>
                        <a:pt x="232729" y="266905"/>
                        <a:pt x="232729" y="233012"/>
                      </a:cubicBezTo>
                      <a:lnTo>
                        <a:pt x="272475" y="233012"/>
                      </a:lnTo>
                      <a:lnTo>
                        <a:pt x="272475" y="330340"/>
                      </a:lnTo>
                      <a:cubicBezTo>
                        <a:pt x="364010" y="330512"/>
                        <a:pt x="453997" y="330398"/>
                        <a:pt x="545532" y="329997"/>
                      </a:cubicBezTo>
                      <a:lnTo>
                        <a:pt x="545532" y="124061"/>
                      </a:lnTo>
                      <a:close/>
                      <a:moveTo>
                        <a:pt x="231948" y="89124"/>
                      </a:moveTo>
                      <a:lnTo>
                        <a:pt x="273793" y="89124"/>
                      </a:lnTo>
                      <a:lnTo>
                        <a:pt x="273793" y="135062"/>
                      </a:lnTo>
                      <a:lnTo>
                        <a:pt x="272240" y="135062"/>
                      </a:lnTo>
                      <a:lnTo>
                        <a:pt x="233571" y="135062"/>
                      </a:lnTo>
                      <a:lnTo>
                        <a:pt x="231948" y="135062"/>
                      </a:lnTo>
                      <a:close/>
                      <a:moveTo>
                        <a:pt x="409822" y="10232"/>
                      </a:moveTo>
                      <a:cubicBezTo>
                        <a:pt x="424505" y="10232"/>
                        <a:pt x="436606" y="21455"/>
                        <a:pt x="437925" y="35771"/>
                      </a:cubicBezTo>
                      <a:lnTo>
                        <a:pt x="447503" y="35771"/>
                      </a:lnTo>
                      <a:cubicBezTo>
                        <a:pt x="491321" y="35771"/>
                        <a:pt x="535140" y="35771"/>
                        <a:pt x="578958" y="35828"/>
                      </a:cubicBezTo>
                      <a:cubicBezTo>
                        <a:pt x="583661" y="35828"/>
                        <a:pt x="588650" y="35599"/>
                        <a:pt x="593009" y="37031"/>
                      </a:cubicBezTo>
                      <a:cubicBezTo>
                        <a:pt x="601326" y="39665"/>
                        <a:pt x="607921" y="50144"/>
                        <a:pt x="607233" y="57874"/>
                      </a:cubicBezTo>
                      <a:cubicBezTo>
                        <a:pt x="606315" y="67380"/>
                        <a:pt x="597368" y="75912"/>
                        <a:pt x="587159" y="76828"/>
                      </a:cubicBezTo>
                      <a:cubicBezTo>
                        <a:pt x="584521" y="77057"/>
                        <a:pt x="581883" y="76885"/>
                        <a:pt x="579244" y="76885"/>
                      </a:cubicBezTo>
                      <a:cubicBezTo>
                        <a:pt x="466774" y="76885"/>
                        <a:pt x="354304" y="76885"/>
                        <a:pt x="241776" y="76885"/>
                      </a:cubicBezTo>
                      <a:cubicBezTo>
                        <a:pt x="239137" y="76885"/>
                        <a:pt x="236499" y="77057"/>
                        <a:pt x="233861" y="76828"/>
                      </a:cubicBezTo>
                      <a:cubicBezTo>
                        <a:pt x="223078" y="75740"/>
                        <a:pt x="213156" y="66120"/>
                        <a:pt x="212984" y="56672"/>
                      </a:cubicBezTo>
                      <a:cubicBezTo>
                        <a:pt x="212755" y="47166"/>
                        <a:pt x="222448" y="37088"/>
                        <a:pt x="233287" y="35943"/>
                      </a:cubicBezTo>
                      <a:cubicBezTo>
                        <a:pt x="236958" y="35542"/>
                        <a:pt x="240686" y="35771"/>
                        <a:pt x="244357" y="35771"/>
                      </a:cubicBezTo>
                      <a:cubicBezTo>
                        <a:pt x="286626" y="35771"/>
                        <a:pt x="328839" y="35771"/>
                        <a:pt x="371108" y="35771"/>
                      </a:cubicBezTo>
                      <a:lnTo>
                        <a:pt x="381661" y="35771"/>
                      </a:lnTo>
                      <a:cubicBezTo>
                        <a:pt x="382981" y="21455"/>
                        <a:pt x="395082" y="10232"/>
                        <a:pt x="409822" y="10232"/>
                      </a:cubicBezTo>
                      <a:close/>
                      <a:moveTo>
                        <a:pt x="114034" y="0"/>
                      </a:moveTo>
                      <a:cubicBezTo>
                        <a:pt x="151642" y="0"/>
                        <a:pt x="182130" y="30440"/>
                        <a:pt x="182130" y="67990"/>
                      </a:cubicBezTo>
                      <a:cubicBezTo>
                        <a:pt x="182130" y="105540"/>
                        <a:pt x="151642" y="135980"/>
                        <a:pt x="114034" y="135980"/>
                      </a:cubicBezTo>
                      <a:cubicBezTo>
                        <a:pt x="76426" y="135980"/>
                        <a:pt x="45938" y="105540"/>
                        <a:pt x="45938" y="67990"/>
                      </a:cubicBezTo>
                      <a:cubicBezTo>
                        <a:pt x="45938" y="30440"/>
                        <a:pt x="76426" y="0"/>
                        <a:pt x="114034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2E25847C-BD84-4731-BB9C-6906A9ECE99B}"/>
                </a:ext>
              </a:extLst>
            </p:cNvPr>
            <p:cNvGrpSpPr/>
            <p:nvPr/>
          </p:nvGrpSpPr>
          <p:grpSpPr>
            <a:xfrm>
              <a:off x="6456149" y="3402187"/>
              <a:ext cx="5062751" cy="460022"/>
              <a:chOff x="6456149" y="3622134"/>
              <a:chExt cx="5062751" cy="460022"/>
            </a:xfrm>
          </p:grpSpPr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189EB6F8-7847-41C3-A8B4-2E9CF104F803}"/>
                  </a:ext>
                </a:extLst>
              </p:cNvPr>
              <p:cNvSpPr/>
              <p:nvPr/>
            </p:nvSpPr>
            <p:spPr bwMode="auto">
              <a:xfrm>
                <a:off x="7041762" y="3652090"/>
                <a:ext cx="4477138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grpSp>
            <p:nvGrpSpPr>
              <p:cNvPr id="35" name="组合 34">
                <a:extLst>
                  <a:ext uri="{FF2B5EF4-FFF2-40B4-BE49-F238E27FC236}">
                    <a16:creationId xmlns:a16="http://schemas.microsoft.com/office/drawing/2014/main" id="{45D6B533-2642-441A-B90B-F013D042660A}"/>
                  </a:ext>
                </a:extLst>
              </p:cNvPr>
              <p:cNvGrpSpPr/>
              <p:nvPr/>
            </p:nvGrpSpPr>
            <p:grpSpPr>
              <a:xfrm>
                <a:off x="6456149" y="3622134"/>
                <a:ext cx="460022" cy="460022"/>
                <a:chOff x="6456149" y="3622134"/>
                <a:chExt cx="460022" cy="460022"/>
              </a:xfrm>
            </p:grpSpPr>
            <p:sp>
              <p:nvSpPr>
                <p:cNvPr id="36" name="椭圆 35">
                  <a:extLst>
                    <a:ext uri="{FF2B5EF4-FFF2-40B4-BE49-F238E27FC236}">
                      <a16:creationId xmlns:a16="http://schemas.microsoft.com/office/drawing/2014/main" id="{8AA6D2B2-1172-4A85-9EF5-2D358C5E0525}"/>
                    </a:ext>
                  </a:extLst>
                </p:cNvPr>
                <p:cNvSpPr/>
                <p:nvPr/>
              </p:nvSpPr>
              <p:spPr>
                <a:xfrm>
                  <a:off x="6456149" y="3622134"/>
                  <a:ext cx="460022" cy="460022"/>
                </a:xfrm>
                <a:prstGeom prst="ellipse">
                  <a:avLst/>
                </a:prstGeom>
                <a:solidFill>
                  <a:schemeClr val="accent3"/>
                </a:solidFill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 sz="2400" b="1" i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9580E319-BEC5-4111-9E93-6162B858D0EF}"/>
                    </a:ext>
                  </a:extLst>
                </p:cNvPr>
                <p:cNvSpPr/>
                <p:nvPr/>
              </p:nvSpPr>
              <p:spPr bwMode="auto">
                <a:xfrm>
                  <a:off x="6557738" y="3719134"/>
                  <a:ext cx="256844" cy="266022"/>
                </a:xfrm>
                <a:custGeom>
                  <a:avLst/>
                  <a:gdLst>
                    <a:gd name="connsiteX0" fmla="*/ 307751 w 586469"/>
                    <a:gd name="connsiteY0" fmla="*/ 301103 h 607427"/>
                    <a:gd name="connsiteX1" fmla="*/ 468697 w 586469"/>
                    <a:gd name="connsiteY1" fmla="*/ 301103 h 607427"/>
                    <a:gd name="connsiteX2" fmla="*/ 546247 w 586469"/>
                    <a:gd name="connsiteY2" fmla="*/ 301103 h 607427"/>
                    <a:gd name="connsiteX3" fmla="*/ 586469 w 586469"/>
                    <a:gd name="connsiteY3" fmla="*/ 301103 h 607427"/>
                    <a:gd name="connsiteX4" fmla="*/ 586469 w 586469"/>
                    <a:gd name="connsiteY4" fmla="*/ 332857 h 607427"/>
                    <a:gd name="connsiteX5" fmla="*/ 546247 w 586469"/>
                    <a:gd name="connsiteY5" fmla="*/ 332857 h 607427"/>
                    <a:gd name="connsiteX6" fmla="*/ 468697 w 586469"/>
                    <a:gd name="connsiteY6" fmla="*/ 332857 h 607427"/>
                    <a:gd name="connsiteX7" fmla="*/ 307751 w 586469"/>
                    <a:gd name="connsiteY7" fmla="*/ 332857 h 607427"/>
                    <a:gd name="connsiteX8" fmla="*/ 295598 w 586469"/>
                    <a:gd name="connsiteY8" fmla="*/ 320711 h 607427"/>
                    <a:gd name="connsiteX9" fmla="*/ 295598 w 586469"/>
                    <a:gd name="connsiteY9" fmla="*/ 313249 h 607427"/>
                    <a:gd name="connsiteX10" fmla="*/ 307751 w 586469"/>
                    <a:gd name="connsiteY10" fmla="*/ 301103 h 607427"/>
                    <a:gd name="connsiteX11" fmla="*/ 122002 w 586469"/>
                    <a:gd name="connsiteY11" fmla="*/ 165476 h 607427"/>
                    <a:gd name="connsiteX12" fmla="*/ 145152 w 586469"/>
                    <a:gd name="connsiteY12" fmla="*/ 188589 h 607427"/>
                    <a:gd name="connsiteX13" fmla="*/ 145152 w 586469"/>
                    <a:gd name="connsiteY13" fmla="*/ 323050 h 607427"/>
                    <a:gd name="connsiteX14" fmla="*/ 122002 w 586469"/>
                    <a:gd name="connsiteY14" fmla="*/ 346163 h 607427"/>
                    <a:gd name="connsiteX15" fmla="*/ 98852 w 586469"/>
                    <a:gd name="connsiteY15" fmla="*/ 323050 h 607427"/>
                    <a:gd name="connsiteX16" fmla="*/ 98852 w 586469"/>
                    <a:gd name="connsiteY16" fmla="*/ 270121 h 607427"/>
                    <a:gd name="connsiteX17" fmla="*/ 24655 w 586469"/>
                    <a:gd name="connsiteY17" fmla="*/ 361360 h 607427"/>
                    <a:gd name="connsiteX18" fmla="*/ 110832 w 586469"/>
                    <a:gd name="connsiteY18" fmla="*/ 454332 h 607427"/>
                    <a:gd name="connsiteX19" fmla="*/ 134792 w 586469"/>
                    <a:gd name="connsiteY19" fmla="*/ 439887 h 607427"/>
                    <a:gd name="connsiteX20" fmla="*/ 330528 w 586469"/>
                    <a:gd name="connsiteY20" fmla="*/ 439887 h 607427"/>
                    <a:gd name="connsiteX21" fmla="*/ 330528 w 586469"/>
                    <a:gd name="connsiteY21" fmla="*/ 494029 h 607427"/>
                    <a:gd name="connsiteX22" fmla="*/ 134792 w 586469"/>
                    <a:gd name="connsiteY22" fmla="*/ 494029 h 607427"/>
                    <a:gd name="connsiteX23" fmla="*/ 110543 w 586469"/>
                    <a:gd name="connsiteY23" fmla="*/ 479005 h 607427"/>
                    <a:gd name="connsiteX24" fmla="*/ 0 w 586469"/>
                    <a:gd name="connsiteY24" fmla="*/ 361360 h 607427"/>
                    <a:gd name="connsiteX25" fmla="*/ 98852 w 586469"/>
                    <a:gd name="connsiteY25" fmla="*/ 245101 h 607427"/>
                    <a:gd name="connsiteX26" fmla="*/ 98852 w 586469"/>
                    <a:gd name="connsiteY26" fmla="*/ 188589 h 607427"/>
                    <a:gd name="connsiteX27" fmla="*/ 122002 w 586469"/>
                    <a:gd name="connsiteY27" fmla="*/ 165476 h 607427"/>
                    <a:gd name="connsiteX28" fmla="*/ 563182 w 586469"/>
                    <a:gd name="connsiteY28" fmla="*/ 131818 h 607427"/>
                    <a:gd name="connsiteX29" fmla="*/ 569952 w 586469"/>
                    <a:gd name="connsiteY29" fmla="*/ 145572 h 607427"/>
                    <a:gd name="connsiteX30" fmla="*/ 521637 w 586469"/>
                    <a:gd name="connsiteY30" fmla="*/ 286290 h 607427"/>
                    <a:gd name="connsiteX31" fmla="*/ 520017 w 586469"/>
                    <a:gd name="connsiteY31" fmla="*/ 289353 h 607427"/>
                    <a:gd name="connsiteX32" fmla="*/ 511164 w 586469"/>
                    <a:gd name="connsiteY32" fmla="*/ 293976 h 607427"/>
                    <a:gd name="connsiteX33" fmla="*/ 339372 w 586469"/>
                    <a:gd name="connsiteY33" fmla="*/ 293976 h 607427"/>
                    <a:gd name="connsiteX34" fmla="*/ 328552 w 586469"/>
                    <a:gd name="connsiteY34" fmla="*/ 283169 h 607427"/>
                    <a:gd name="connsiteX35" fmla="*/ 339372 w 586469"/>
                    <a:gd name="connsiteY35" fmla="*/ 272363 h 607427"/>
                    <a:gd name="connsiteX36" fmla="*/ 503584 w 586469"/>
                    <a:gd name="connsiteY36" fmla="*/ 272363 h 607427"/>
                    <a:gd name="connsiteX37" fmla="*/ 549469 w 586469"/>
                    <a:gd name="connsiteY37" fmla="*/ 138579 h 607427"/>
                    <a:gd name="connsiteX38" fmla="*/ 563182 w 586469"/>
                    <a:gd name="connsiteY38" fmla="*/ 131818 h 607427"/>
                    <a:gd name="connsiteX39" fmla="*/ 216578 w 586469"/>
                    <a:gd name="connsiteY39" fmla="*/ 110153 h 607427"/>
                    <a:gd name="connsiteX40" fmla="*/ 285152 w 586469"/>
                    <a:gd name="connsiteY40" fmla="*/ 189719 h 607427"/>
                    <a:gd name="connsiteX41" fmla="*/ 285152 w 586469"/>
                    <a:gd name="connsiteY41" fmla="*/ 207632 h 607427"/>
                    <a:gd name="connsiteX42" fmla="*/ 288798 w 586469"/>
                    <a:gd name="connsiteY42" fmla="*/ 207632 h 607427"/>
                    <a:gd name="connsiteX43" fmla="*/ 442961 w 586469"/>
                    <a:gd name="connsiteY43" fmla="*/ 207689 h 607427"/>
                    <a:gd name="connsiteX44" fmla="*/ 469754 w 586469"/>
                    <a:gd name="connsiteY44" fmla="*/ 234500 h 607427"/>
                    <a:gd name="connsiteX45" fmla="*/ 442961 w 586469"/>
                    <a:gd name="connsiteY45" fmla="*/ 261254 h 607427"/>
                    <a:gd name="connsiteX46" fmla="*/ 289550 w 586469"/>
                    <a:gd name="connsiteY46" fmla="*/ 261254 h 607427"/>
                    <a:gd name="connsiteX47" fmla="*/ 283300 w 586469"/>
                    <a:gd name="connsiteY47" fmla="*/ 261022 h 607427"/>
                    <a:gd name="connsiteX48" fmla="*/ 266750 w 586469"/>
                    <a:gd name="connsiteY48" fmla="*/ 253569 h 607427"/>
                    <a:gd name="connsiteX49" fmla="*/ 214147 w 586469"/>
                    <a:gd name="connsiteY49" fmla="*/ 196249 h 607427"/>
                    <a:gd name="connsiteX50" fmla="*/ 207782 w 586469"/>
                    <a:gd name="connsiteY50" fmla="*/ 195960 h 607427"/>
                    <a:gd name="connsiteX51" fmla="*/ 207492 w 586469"/>
                    <a:gd name="connsiteY51" fmla="*/ 202316 h 607427"/>
                    <a:gd name="connsiteX52" fmla="*/ 260095 w 586469"/>
                    <a:gd name="connsiteY52" fmla="*/ 259636 h 607427"/>
                    <a:gd name="connsiteX53" fmla="*/ 283185 w 586469"/>
                    <a:gd name="connsiteY53" fmla="*/ 269805 h 607427"/>
                    <a:gd name="connsiteX54" fmla="*/ 285152 w 586469"/>
                    <a:gd name="connsiteY54" fmla="*/ 269805 h 607427"/>
                    <a:gd name="connsiteX55" fmla="*/ 285152 w 586469"/>
                    <a:gd name="connsiteY55" fmla="*/ 343304 h 607427"/>
                    <a:gd name="connsiteX56" fmla="*/ 291286 w 586469"/>
                    <a:gd name="connsiteY56" fmla="*/ 343304 h 607427"/>
                    <a:gd name="connsiteX57" fmla="*/ 351123 w 586469"/>
                    <a:gd name="connsiteY57" fmla="*/ 343304 h 607427"/>
                    <a:gd name="connsiteX58" fmla="*/ 366979 w 586469"/>
                    <a:gd name="connsiteY58" fmla="*/ 343304 h 607427"/>
                    <a:gd name="connsiteX59" fmla="*/ 375428 w 586469"/>
                    <a:gd name="connsiteY59" fmla="*/ 343304 h 607427"/>
                    <a:gd name="connsiteX60" fmla="*/ 409975 w 586469"/>
                    <a:gd name="connsiteY60" fmla="*/ 377685 h 607427"/>
                    <a:gd name="connsiteX61" fmla="*/ 409975 w 586469"/>
                    <a:gd name="connsiteY61" fmla="*/ 572989 h 607427"/>
                    <a:gd name="connsiteX62" fmla="*/ 375428 w 586469"/>
                    <a:gd name="connsiteY62" fmla="*/ 607427 h 607427"/>
                    <a:gd name="connsiteX63" fmla="*/ 340822 w 586469"/>
                    <a:gd name="connsiteY63" fmla="*/ 572989 h 607427"/>
                    <a:gd name="connsiteX64" fmla="*/ 340822 w 586469"/>
                    <a:gd name="connsiteY64" fmla="*/ 429169 h 607427"/>
                    <a:gd name="connsiteX65" fmla="*/ 291286 w 586469"/>
                    <a:gd name="connsiteY65" fmla="*/ 429169 h 607427"/>
                    <a:gd name="connsiteX66" fmla="*/ 274273 w 586469"/>
                    <a:gd name="connsiteY66" fmla="*/ 429169 h 607427"/>
                    <a:gd name="connsiteX67" fmla="*/ 234401 w 586469"/>
                    <a:gd name="connsiteY67" fmla="*/ 429169 h 607427"/>
                    <a:gd name="connsiteX68" fmla="*/ 198523 w 586469"/>
                    <a:gd name="connsiteY68" fmla="*/ 429169 h 607427"/>
                    <a:gd name="connsiteX69" fmla="*/ 155584 w 586469"/>
                    <a:gd name="connsiteY69" fmla="*/ 388606 h 607427"/>
                    <a:gd name="connsiteX70" fmla="*/ 155526 w 586469"/>
                    <a:gd name="connsiteY70" fmla="*/ 386237 h 607427"/>
                    <a:gd name="connsiteX71" fmla="*/ 155584 w 586469"/>
                    <a:gd name="connsiteY71" fmla="*/ 383868 h 607427"/>
                    <a:gd name="connsiteX72" fmla="*/ 155584 w 586469"/>
                    <a:gd name="connsiteY72" fmla="*/ 366302 h 607427"/>
                    <a:gd name="connsiteX73" fmla="*/ 155526 w 586469"/>
                    <a:gd name="connsiteY73" fmla="*/ 363586 h 607427"/>
                    <a:gd name="connsiteX74" fmla="*/ 155526 w 586469"/>
                    <a:gd name="connsiteY74" fmla="*/ 171113 h 607427"/>
                    <a:gd name="connsiteX75" fmla="*/ 216578 w 586469"/>
                    <a:gd name="connsiteY75" fmla="*/ 110153 h 607427"/>
                    <a:gd name="connsiteX76" fmla="*/ 295599 w 586469"/>
                    <a:gd name="connsiteY76" fmla="*/ 0 h 607427"/>
                    <a:gd name="connsiteX77" fmla="*/ 362848 w 586469"/>
                    <a:gd name="connsiteY77" fmla="*/ 67179 h 607427"/>
                    <a:gd name="connsiteX78" fmla="*/ 295599 w 586469"/>
                    <a:gd name="connsiteY78" fmla="*/ 134358 h 607427"/>
                    <a:gd name="connsiteX79" fmla="*/ 228350 w 586469"/>
                    <a:gd name="connsiteY79" fmla="*/ 67179 h 607427"/>
                    <a:gd name="connsiteX80" fmla="*/ 295599 w 586469"/>
                    <a:gd name="connsiteY80" fmla="*/ 0 h 6074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</a:cxnLst>
                  <a:rect l="l" t="t" r="r" b="b"/>
                  <a:pathLst>
                    <a:path w="586469" h="607427">
                      <a:moveTo>
                        <a:pt x="307751" y="301103"/>
                      </a:moveTo>
                      <a:lnTo>
                        <a:pt x="468697" y="301103"/>
                      </a:lnTo>
                      <a:lnTo>
                        <a:pt x="546247" y="301103"/>
                      </a:lnTo>
                      <a:lnTo>
                        <a:pt x="586469" y="301103"/>
                      </a:lnTo>
                      <a:lnTo>
                        <a:pt x="586469" y="332857"/>
                      </a:lnTo>
                      <a:lnTo>
                        <a:pt x="546247" y="332857"/>
                      </a:lnTo>
                      <a:lnTo>
                        <a:pt x="468697" y="332857"/>
                      </a:lnTo>
                      <a:lnTo>
                        <a:pt x="307751" y="332857"/>
                      </a:lnTo>
                      <a:cubicBezTo>
                        <a:pt x="301038" y="332857"/>
                        <a:pt x="295598" y="327420"/>
                        <a:pt x="295598" y="320711"/>
                      </a:cubicBezTo>
                      <a:lnTo>
                        <a:pt x="295598" y="313249"/>
                      </a:lnTo>
                      <a:cubicBezTo>
                        <a:pt x="295598" y="306540"/>
                        <a:pt x="301038" y="301103"/>
                        <a:pt x="307751" y="301103"/>
                      </a:cubicBezTo>
                      <a:close/>
                      <a:moveTo>
                        <a:pt x="122002" y="165476"/>
                      </a:moveTo>
                      <a:cubicBezTo>
                        <a:pt x="134792" y="165476"/>
                        <a:pt x="145152" y="175819"/>
                        <a:pt x="145152" y="188589"/>
                      </a:cubicBezTo>
                      <a:lnTo>
                        <a:pt x="145152" y="323050"/>
                      </a:lnTo>
                      <a:cubicBezTo>
                        <a:pt x="145152" y="335820"/>
                        <a:pt x="134792" y="346163"/>
                        <a:pt x="122002" y="346163"/>
                      </a:cubicBezTo>
                      <a:cubicBezTo>
                        <a:pt x="109211" y="346163"/>
                        <a:pt x="98852" y="335820"/>
                        <a:pt x="98852" y="323050"/>
                      </a:cubicBezTo>
                      <a:lnTo>
                        <a:pt x="98852" y="270121"/>
                      </a:lnTo>
                      <a:cubicBezTo>
                        <a:pt x="56545" y="279019"/>
                        <a:pt x="24655" y="316520"/>
                        <a:pt x="24655" y="361360"/>
                      </a:cubicBezTo>
                      <a:cubicBezTo>
                        <a:pt x="24655" y="410360"/>
                        <a:pt x="62679" y="450634"/>
                        <a:pt x="110832" y="454332"/>
                      </a:cubicBezTo>
                      <a:cubicBezTo>
                        <a:pt x="115346" y="445780"/>
                        <a:pt x="124375" y="439887"/>
                        <a:pt x="134792" y="439887"/>
                      </a:cubicBezTo>
                      <a:lnTo>
                        <a:pt x="330528" y="439887"/>
                      </a:lnTo>
                      <a:lnTo>
                        <a:pt x="330528" y="494029"/>
                      </a:lnTo>
                      <a:lnTo>
                        <a:pt x="134792" y="494029"/>
                      </a:lnTo>
                      <a:cubicBezTo>
                        <a:pt x="124201" y="494029"/>
                        <a:pt x="114999" y="487904"/>
                        <a:pt x="110543" y="479005"/>
                      </a:cubicBezTo>
                      <a:cubicBezTo>
                        <a:pt x="48963" y="475134"/>
                        <a:pt x="0" y="423823"/>
                        <a:pt x="0" y="361360"/>
                      </a:cubicBezTo>
                      <a:cubicBezTo>
                        <a:pt x="0" y="302941"/>
                        <a:pt x="42828" y="254288"/>
                        <a:pt x="98852" y="245101"/>
                      </a:cubicBezTo>
                      <a:lnTo>
                        <a:pt x="98852" y="188589"/>
                      </a:lnTo>
                      <a:cubicBezTo>
                        <a:pt x="98852" y="175819"/>
                        <a:pt x="109211" y="165476"/>
                        <a:pt x="122002" y="165476"/>
                      </a:cubicBezTo>
                      <a:close/>
                      <a:moveTo>
                        <a:pt x="563182" y="131818"/>
                      </a:moveTo>
                      <a:cubicBezTo>
                        <a:pt x="568852" y="133783"/>
                        <a:pt x="571861" y="139909"/>
                        <a:pt x="569952" y="145572"/>
                      </a:cubicBezTo>
                      <a:lnTo>
                        <a:pt x="521637" y="286290"/>
                      </a:lnTo>
                      <a:cubicBezTo>
                        <a:pt x="521290" y="287446"/>
                        <a:pt x="520711" y="288428"/>
                        <a:pt x="520017" y="289353"/>
                      </a:cubicBezTo>
                      <a:cubicBezTo>
                        <a:pt x="518107" y="292127"/>
                        <a:pt x="514867" y="293976"/>
                        <a:pt x="511164" y="293976"/>
                      </a:cubicBezTo>
                      <a:lnTo>
                        <a:pt x="339372" y="293976"/>
                      </a:lnTo>
                      <a:cubicBezTo>
                        <a:pt x="333412" y="293976"/>
                        <a:pt x="328552" y="289122"/>
                        <a:pt x="328552" y="283169"/>
                      </a:cubicBezTo>
                      <a:cubicBezTo>
                        <a:pt x="328552" y="277217"/>
                        <a:pt x="333412" y="272363"/>
                        <a:pt x="339372" y="272363"/>
                      </a:cubicBezTo>
                      <a:lnTo>
                        <a:pt x="503584" y="272363"/>
                      </a:lnTo>
                      <a:lnTo>
                        <a:pt x="549469" y="138579"/>
                      </a:lnTo>
                      <a:cubicBezTo>
                        <a:pt x="551378" y="132916"/>
                        <a:pt x="557511" y="129911"/>
                        <a:pt x="563182" y="131818"/>
                      </a:cubicBezTo>
                      <a:close/>
                      <a:moveTo>
                        <a:pt x="216578" y="110153"/>
                      </a:moveTo>
                      <a:lnTo>
                        <a:pt x="285152" y="189719"/>
                      </a:lnTo>
                      <a:lnTo>
                        <a:pt x="285152" y="207632"/>
                      </a:lnTo>
                      <a:lnTo>
                        <a:pt x="288798" y="207632"/>
                      </a:lnTo>
                      <a:lnTo>
                        <a:pt x="442961" y="207689"/>
                      </a:lnTo>
                      <a:cubicBezTo>
                        <a:pt x="457775" y="207689"/>
                        <a:pt x="469754" y="219708"/>
                        <a:pt x="469754" y="234500"/>
                      </a:cubicBezTo>
                      <a:cubicBezTo>
                        <a:pt x="469754" y="249293"/>
                        <a:pt x="457775" y="261254"/>
                        <a:pt x="442961" y="261254"/>
                      </a:cubicBezTo>
                      <a:lnTo>
                        <a:pt x="289550" y="261254"/>
                      </a:lnTo>
                      <a:cubicBezTo>
                        <a:pt x="289550" y="261254"/>
                        <a:pt x="283532" y="261022"/>
                        <a:pt x="283300" y="261022"/>
                      </a:cubicBezTo>
                      <a:cubicBezTo>
                        <a:pt x="276935" y="260791"/>
                        <a:pt x="271032" y="258249"/>
                        <a:pt x="266750" y="253569"/>
                      </a:cubicBezTo>
                      <a:lnTo>
                        <a:pt x="214147" y="196249"/>
                      </a:lnTo>
                      <a:cubicBezTo>
                        <a:pt x="212469" y="194400"/>
                        <a:pt x="209576" y="194284"/>
                        <a:pt x="207782" y="195960"/>
                      </a:cubicBezTo>
                      <a:cubicBezTo>
                        <a:pt x="205930" y="197635"/>
                        <a:pt x="205814" y="200467"/>
                        <a:pt x="207492" y="202316"/>
                      </a:cubicBezTo>
                      <a:lnTo>
                        <a:pt x="260095" y="259636"/>
                      </a:lnTo>
                      <a:cubicBezTo>
                        <a:pt x="266056" y="266107"/>
                        <a:pt x="274447" y="269805"/>
                        <a:pt x="283185" y="269805"/>
                      </a:cubicBezTo>
                      <a:cubicBezTo>
                        <a:pt x="283300" y="269805"/>
                        <a:pt x="285152" y="269805"/>
                        <a:pt x="285152" y="269805"/>
                      </a:cubicBezTo>
                      <a:lnTo>
                        <a:pt x="285152" y="343304"/>
                      </a:lnTo>
                      <a:lnTo>
                        <a:pt x="291286" y="343304"/>
                      </a:lnTo>
                      <a:lnTo>
                        <a:pt x="351123" y="343304"/>
                      </a:lnTo>
                      <a:lnTo>
                        <a:pt x="366979" y="343304"/>
                      </a:lnTo>
                      <a:lnTo>
                        <a:pt x="375428" y="343304"/>
                      </a:lnTo>
                      <a:cubicBezTo>
                        <a:pt x="394524" y="343304"/>
                        <a:pt x="409975" y="358674"/>
                        <a:pt x="409975" y="377685"/>
                      </a:cubicBezTo>
                      <a:lnTo>
                        <a:pt x="409975" y="572989"/>
                      </a:lnTo>
                      <a:cubicBezTo>
                        <a:pt x="409975" y="591999"/>
                        <a:pt x="394524" y="607427"/>
                        <a:pt x="375428" y="607427"/>
                      </a:cubicBezTo>
                      <a:cubicBezTo>
                        <a:pt x="356331" y="607427"/>
                        <a:pt x="340822" y="591999"/>
                        <a:pt x="340822" y="572989"/>
                      </a:cubicBezTo>
                      <a:lnTo>
                        <a:pt x="340822" y="429169"/>
                      </a:lnTo>
                      <a:lnTo>
                        <a:pt x="291286" y="429169"/>
                      </a:lnTo>
                      <a:lnTo>
                        <a:pt x="274273" y="429169"/>
                      </a:lnTo>
                      <a:lnTo>
                        <a:pt x="234401" y="429169"/>
                      </a:lnTo>
                      <a:lnTo>
                        <a:pt x="198523" y="429169"/>
                      </a:lnTo>
                      <a:cubicBezTo>
                        <a:pt x="175606" y="429169"/>
                        <a:pt x="156857" y="411256"/>
                        <a:pt x="155584" y="388606"/>
                      </a:cubicBezTo>
                      <a:cubicBezTo>
                        <a:pt x="155526" y="387797"/>
                        <a:pt x="155526" y="387046"/>
                        <a:pt x="155526" y="386237"/>
                      </a:cubicBezTo>
                      <a:cubicBezTo>
                        <a:pt x="155526" y="385428"/>
                        <a:pt x="155526" y="384619"/>
                        <a:pt x="155584" y="383868"/>
                      </a:cubicBezTo>
                      <a:lnTo>
                        <a:pt x="155584" y="366302"/>
                      </a:lnTo>
                      <a:cubicBezTo>
                        <a:pt x="155526" y="365377"/>
                        <a:pt x="155526" y="364453"/>
                        <a:pt x="155526" y="363586"/>
                      </a:cubicBezTo>
                      <a:lnTo>
                        <a:pt x="155526" y="171113"/>
                      </a:lnTo>
                      <a:cubicBezTo>
                        <a:pt x="155526" y="137426"/>
                        <a:pt x="182840" y="110153"/>
                        <a:pt x="216578" y="110153"/>
                      </a:cubicBezTo>
                      <a:close/>
                      <a:moveTo>
                        <a:pt x="295599" y="0"/>
                      </a:moveTo>
                      <a:cubicBezTo>
                        <a:pt x="332740" y="0"/>
                        <a:pt x="362848" y="30077"/>
                        <a:pt x="362848" y="67179"/>
                      </a:cubicBezTo>
                      <a:cubicBezTo>
                        <a:pt x="362848" y="104281"/>
                        <a:pt x="332740" y="134358"/>
                        <a:pt x="295599" y="134358"/>
                      </a:cubicBezTo>
                      <a:cubicBezTo>
                        <a:pt x="258458" y="134358"/>
                        <a:pt x="228350" y="104281"/>
                        <a:pt x="228350" y="67179"/>
                      </a:cubicBezTo>
                      <a:cubicBezTo>
                        <a:pt x="228350" y="30077"/>
                        <a:pt x="258458" y="0"/>
                        <a:pt x="29559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CAD0B779-EF6B-40C9-AE4C-B49941D7FC65}"/>
                </a:ext>
              </a:extLst>
            </p:cNvPr>
            <p:cNvGrpSpPr/>
            <p:nvPr/>
          </p:nvGrpSpPr>
          <p:grpSpPr>
            <a:xfrm>
              <a:off x="6456149" y="2647679"/>
              <a:ext cx="5062751" cy="460022"/>
              <a:chOff x="6456149" y="2867626"/>
              <a:chExt cx="5062751" cy="460022"/>
            </a:xfrm>
          </p:grpSpPr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8C374469-14E3-4825-94B4-0165A8132D1F}"/>
                  </a:ext>
                </a:extLst>
              </p:cNvPr>
              <p:cNvSpPr/>
              <p:nvPr/>
            </p:nvSpPr>
            <p:spPr bwMode="auto">
              <a:xfrm>
                <a:off x="7041762" y="2897582"/>
                <a:ext cx="4477138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08FA1445-E10C-4CDA-BCB3-1853B206A601}"/>
                  </a:ext>
                </a:extLst>
              </p:cNvPr>
              <p:cNvGrpSpPr/>
              <p:nvPr/>
            </p:nvGrpSpPr>
            <p:grpSpPr>
              <a:xfrm>
                <a:off x="6456149" y="2867626"/>
                <a:ext cx="460022" cy="460022"/>
                <a:chOff x="6456149" y="2867626"/>
                <a:chExt cx="460022" cy="460022"/>
              </a:xfrm>
            </p:grpSpPr>
            <p:sp>
              <p:nvSpPr>
                <p:cNvPr id="32" name="椭圆 31">
                  <a:extLst>
                    <a:ext uri="{FF2B5EF4-FFF2-40B4-BE49-F238E27FC236}">
                      <a16:creationId xmlns:a16="http://schemas.microsoft.com/office/drawing/2014/main" id="{93E7E087-AEC2-47E1-A3C7-9EEFB427CD4B}"/>
                    </a:ext>
                  </a:extLst>
                </p:cNvPr>
                <p:cNvSpPr/>
                <p:nvPr/>
              </p:nvSpPr>
              <p:spPr>
                <a:xfrm>
                  <a:off x="6456149" y="2867626"/>
                  <a:ext cx="460022" cy="460022"/>
                </a:xfrm>
                <a:prstGeom prst="ellipse">
                  <a:avLst/>
                </a:prstGeom>
                <a:solidFill>
                  <a:schemeClr val="accent2"/>
                </a:solidFill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 sz="2400" b="1" i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2EC82681-8B77-48B0-897E-FA1043FB71CD}"/>
                    </a:ext>
                  </a:extLst>
                </p:cNvPr>
                <p:cNvSpPr/>
                <p:nvPr/>
              </p:nvSpPr>
              <p:spPr bwMode="auto">
                <a:xfrm>
                  <a:off x="6561860" y="2971264"/>
                  <a:ext cx="248602" cy="252746"/>
                </a:xfrm>
                <a:custGeom>
                  <a:avLst/>
                  <a:gdLst>
                    <a:gd name="connsiteX0" fmla="*/ 265579 w 596772"/>
                    <a:gd name="connsiteY0" fmla="*/ 291153 h 606722"/>
                    <a:gd name="connsiteX1" fmla="*/ 300286 w 596772"/>
                    <a:gd name="connsiteY1" fmla="*/ 291153 h 606722"/>
                    <a:gd name="connsiteX2" fmla="*/ 304913 w 596772"/>
                    <a:gd name="connsiteY2" fmla="*/ 295864 h 606722"/>
                    <a:gd name="connsiteX3" fmla="*/ 304913 w 596772"/>
                    <a:gd name="connsiteY3" fmla="*/ 342613 h 606722"/>
                    <a:gd name="connsiteX4" fmla="*/ 300286 w 596772"/>
                    <a:gd name="connsiteY4" fmla="*/ 347323 h 606722"/>
                    <a:gd name="connsiteX5" fmla="*/ 265579 w 596772"/>
                    <a:gd name="connsiteY5" fmla="*/ 347323 h 606722"/>
                    <a:gd name="connsiteX6" fmla="*/ 260951 w 596772"/>
                    <a:gd name="connsiteY6" fmla="*/ 342613 h 606722"/>
                    <a:gd name="connsiteX7" fmla="*/ 260951 w 596772"/>
                    <a:gd name="connsiteY7" fmla="*/ 295864 h 606722"/>
                    <a:gd name="connsiteX8" fmla="*/ 265579 w 596772"/>
                    <a:gd name="connsiteY8" fmla="*/ 291153 h 606722"/>
                    <a:gd name="connsiteX9" fmla="*/ 197340 w 596772"/>
                    <a:gd name="connsiteY9" fmla="*/ 256012 h 606722"/>
                    <a:gd name="connsiteX10" fmla="*/ 232032 w 596772"/>
                    <a:gd name="connsiteY10" fmla="*/ 256012 h 606722"/>
                    <a:gd name="connsiteX11" fmla="*/ 236747 w 596772"/>
                    <a:gd name="connsiteY11" fmla="*/ 260636 h 606722"/>
                    <a:gd name="connsiteX12" fmla="*/ 236747 w 596772"/>
                    <a:gd name="connsiteY12" fmla="*/ 342612 h 606722"/>
                    <a:gd name="connsiteX13" fmla="*/ 232032 w 596772"/>
                    <a:gd name="connsiteY13" fmla="*/ 347324 h 606722"/>
                    <a:gd name="connsiteX14" fmla="*/ 197340 w 596772"/>
                    <a:gd name="connsiteY14" fmla="*/ 347324 h 606722"/>
                    <a:gd name="connsiteX15" fmla="*/ 192714 w 596772"/>
                    <a:gd name="connsiteY15" fmla="*/ 342612 h 606722"/>
                    <a:gd name="connsiteX16" fmla="*/ 192714 w 596772"/>
                    <a:gd name="connsiteY16" fmla="*/ 260636 h 606722"/>
                    <a:gd name="connsiteX17" fmla="*/ 197340 w 596772"/>
                    <a:gd name="connsiteY17" fmla="*/ 256012 h 606722"/>
                    <a:gd name="connsiteX18" fmla="*/ 129129 w 596772"/>
                    <a:gd name="connsiteY18" fmla="*/ 221223 h 606722"/>
                    <a:gd name="connsiteX19" fmla="*/ 163877 w 596772"/>
                    <a:gd name="connsiteY19" fmla="*/ 221223 h 606722"/>
                    <a:gd name="connsiteX20" fmla="*/ 168510 w 596772"/>
                    <a:gd name="connsiteY20" fmla="*/ 225844 h 606722"/>
                    <a:gd name="connsiteX21" fmla="*/ 168510 w 596772"/>
                    <a:gd name="connsiteY21" fmla="*/ 342614 h 606722"/>
                    <a:gd name="connsiteX22" fmla="*/ 163877 w 596772"/>
                    <a:gd name="connsiteY22" fmla="*/ 347324 h 606722"/>
                    <a:gd name="connsiteX23" fmla="*/ 129129 w 596772"/>
                    <a:gd name="connsiteY23" fmla="*/ 347324 h 606722"/>
                    <a:gd name="connsiteX24" fmla="*/ 124407 w 596772"/>
                    <a:gd name="connsiteY24" fmla="*/ 342614 h 606722"/>
                    <a:gd name="connsiteX25" fmla="*/ 124407 w 596772"/>
                    <a:gd name="connsiteY25" fmla="*/ 225844 h 606722"/>
                    <a:gd name="connsiteX26" fmla="*/ 129129 w 596772"/>
                    <a:gd name="connsiteY26" fmla="*/ 221223 h 606722"/>
                    <a:gd name="connsiteX27" fmla="*/ 60869 w 596772"/>
                    <a:gd name="connsiteY27" fmla="*/ 182200 h 606722"/>
                    <a:gd name="connsiteX28" fmla="*/ 95576 w 596772"/>
                    <a:gd name="connsiteY28" fmla="*/ 182200 h 606722"/>
                    <a:gd name="connsiteX29" fmla="*/ 100203 w 596772"/>
                    <a:gd name="connsiteY29" fmla="*/ 186910 h 606722"/>
                    <a:gd name="connsiteX30" fmla="*/ 100203 w 596772"/>
                    <a:gd name="connsiteY30" fmla="*/ 342613 h 606722"/>
                    <a:gd name="connsiteX31" fmla="*/ 95576 w 596772"/>
                    <a:gd name="connsiteY31" fmla="*/ 347323 h 606722"/>
                    <a:gd name="connsiteX32" fmla="*/ 60869 w 596772"/>
                    <a:gd name="connsiteY32" fmla="*/ 347323 h 606722"/>
                    <a:gd name="connsiteX33" fmla="*/ 56241 w 596772"/>
                    <a:gd name="connsiteY33" fmla="*/ 342613 h 606722"/>
                    <a:gd name="connsiteX34" fmla="*/ 56241 w 596772"/>
                    <a:gd name="connsiteY34" fmla="*/ 186910 h 606722"/>
                    <a:gd name="connsiteX35" fmla="*/ 60869 w 596772"/>
                    <a:gd name="connsiteY35" fmla="*/ 182200 h 606722"/>
                    <a:gd name="connsiteX36" fmla="*/ 13172 w 596772"/>
                    <a:gd name="connsiteY36" fmla="*/ 118197 h 606722"/>
                    <a:gd name="connsiteX37" fmla="*/ 350131 w 596772"/>
                    <a:gd name="connsiteY37" fmla="*/ 118197 h 606722"/>
                    <a:gd name="connsiteX38" fmla="*/ 350754 w 596772"/>
                    <a:gd name="connsiteY38" fmla="*/ 118197 h 606722"/>
                    <a:gd name="connsiteX39" fmla="*/ 333221 w 596772"/>
                    <a:gd name="connsiteY39" fmla="*/ 144594 h 606722"/>
                    <a:gd name="connsiteX40" fmla="*/ 26344 w 596772"/>
                    <a:gd name="connsiteY40" fmla="*/ 144594 h 606722"/>
                    <a:gd name="connsiteX41" fmla="*/ 26344 w 596772"/>
                    <a:gd name="connsiteY41" fmla="*/ 367597 h 606722"/>
                    <a:gd name="connsiteX42" fmla="*/ 330729 w 596772"/>
                    <a:gd name="connsiteY42" fmla="*/ 367597 h 606722"/>
                    <a:gd name="connsiteX43" fmla="*/ 357696 w 596772"/>
                    <a:gd name="connsiteY43" fmla="*/ 391594 h 606722"/>
                    <a:gd name="connsiteX44" fmla="*/ 350131 w 596772"/>
                    <a:gd name="connsiteY44" fmla="*/ 393905 h 606722"/>
                    <a:gd name="connsiteX45" fmla="*/ 238078 w 596772"/>
                    <a:gd name="connsiteY45" fmla="*/ 393905 h 606722"/>
                    <a:gd name="connsiteX46" fmla="*/ 296997 w 596772"/>
                    <a:gd name="connsiteY46" fmla="*/ 496651 h 606722"/>
                    <a:gd name="connsiteX47" fmla="*/ 292636 w 596772"/>
                    <a:gd name="connsiteY47" fmla="*/ 512828 h 606722"/>
                    <a:gd name="connsiteX48" fmla="*/ 276349 w 596772"/>
                    <a:gd name="connsiteY48" fmla="*/ 508472 h 606722"/>
                    <a:gd name="connsiteX49" fmla="*/ 210755 w 596772"/>
                    <a:gd name="connsiteY49" fmla="*/ 393905 h 606722"/>
                    <a:gd name="connsiteX50" fmla="*/ 152548 w 596772"/>
                    <a:gd name="connsiteY50" fmla="*/ 393905 h 606722"/>
                    <a:gd name="connsiteX51" fmla="*/ 86865 w 596772"/>
                    <a:gd name="connsiteY51" fmla="*/ 508472 h 606722"/>
                    <a:gd name="connsiteX52" fmla="*/ 70667 w 596772"/>
                    <a:gd name="connsiteY52" fmla="*/ 512828 h 606722"/>
                    <a:gd name="connsiteX53" fmla="*/ 66306 w 596772"/>
                    <a:gd name="connsiteY53" fmla="*/ 496651 h 606722"/>
                    <a:gd name="connsiteX54" fmla="*/ 125136 w 596772"/>
                    <a:gd name="connsiteY54" fmla="*/ 393905 h 606722"/>
                    <a:gd name="connsiteX55" fmla="*/ 13172 w 596772"/>
                    <a:gd name="connsiteY55" fmla="*/ 393905 h 606722"/>
                    <a:gd name="connsiteX56" fmla="*/ 0 w 596772"/>
                    <a:gd name="connsiteY56" fmla="*/ 380751 h 606722"/>
                    <a:gd name="connsiteX57" fmla="*/ 0 w 596772"/>
                    <a:gd name="connsiteY57" fmla="*/ 131351 h 606722"/>
                    <a:gd name="connsiteX58" fmla="*/ 13172 w 596772"/>
                    <a:gd name="connsiteY58" fmla="*/ 118197 h 606722"/>
                    <a:gd name="connsiteX59" fmla="*/ 457846 w 596772"/>
                    <a:gd name="connsiteY59" fmla="*/ 115375 h 606722"/>
                    <a:gd name="connsiteX60" fmla="*/ 481520 w 596772"/>
                    <a:gd name="connsiteY60" fmla="*/ 115375 h 606722"/>
                    <a:gd name="connsiteX61" fmla="*/ 484546 w 596772"/>
                    <a:gd name="connsiteY61" fmla="*/ 120618 h 606722"/>
                    <a:gd name="connsiteX62" fmla="*/ 476002 w 596772"/>
                    <a:gd name="connsiteY62" fmla="*/ 136259 h 606722"/>
                    <a:gd name="connsiteX63" fmla="*/ 485614 w 596772"/>
                    <a:gd name="connsiteY63" fmla="*/ 153854 h 606722"/>
                    <a:gd name="connsiteX64" fmla="*/ 486682 w 596772"/>
                    <a:gd name="connsiteY64" fmla="*/ 160697 h 606722"/>
                    <a:gd name="connsiteX65" fmla="*/ 479651 w 596772"/>
                    <a:gd name="connsiteY65" fmla="*/ 193845 h 606722"/>
                    <a:gd name="connsiteX66" fmla="*/ 509554 w 596772"/>
                    <a:gd name="connsiteY66" fmla="*/ 115819 h 606722"/>
                    <a:gd name="connsiteX67" fmla="*/ 534296 w 596772"/>
                    <a:gd name="connsiteY67" fmla="*/ 115819 h 606722"/>
                    <a:gd name="connsiteX68" fmla="*/ 591343 w 596772"/>
                    <a:gd name="connsiteY68" fmla="*/ 172516 h 606722"/>
                    <a:gd name="connsiteX69" fmla="*/ 592233 w 596772"/>
                    <a:gd name="connsiteY69" fmla="*/ 349540 h 606722"/>
                    <a:gd name="connsiteX70" fmla="*/ 582621 w 596772"/>
                    <a:gd name="connsiteY70" fmla="*/ 368825 h 606722"/>
                    <a:gd name="connsiteX71" fmla="*/ 582621 w 596772"/>
                    <a:gd name="connsiteY71" fmla="*/ 390597 h 606722"/>
                    <a:gd name="connsiteX72" fmla="*/ 586804 w 596772"/>
                    <a:gd name="connsiteY72" fmla="*/ 390597 h 606722"/>
                    <a:gd name="connsiteX73" fmla="*/ 596772 w 596772"/>
                    <a:gd name="connsiteY73" fmla="*/ 400550 h 606722"/>
                    <a:gd name="connsiteX74" fmla="*/ 596772 w 596772"/>
                    <a:gd name="connsiteY74" fmla="*/ 496438 h 606722"/>
                    <a:gd name="connsiteX75" fmla="*/ 586804 w 596772"/>
                    <a:gd name="connsiteY75" fmla="*/ 506391 h 606722"/>
                    <a:gd name="connsiteX76" fmla="*/ 550404 w 596772"/>
                    <a:gd name="connsiteY76" fmla="*/ 506391 h 606722"/>
                    <a:gd name="connsiteX77" fmla="*/ 540525 w 596772"/>
                    <a:gd name="connsiteY77" fmla="*/ 496438 h 606722"/>
                    <a:gd name="connsiteX78" fmla="*/ 540525 w 596772"/>
                    <a:gd name="connsiteY78" fmla="*/ 400550 h 606722"/>
                    <a:gd name="connsiteX79" fmla="*/ 550404 w 596772"/>
                    <a:gd name="connsiteY79" fmla="*/ 390597 h 606722"/>
                    <a:gd name="connsiteX80" fmla="*/ 554498 w 596772"/>
                    <a:gd name="connsiteY80" fmla="*/ 390597 h 606722"/>
                    <a:gd name="connsiteX81" fmla="*/ 554498 w 596772"/>
                    <a:gd name="connsiteY81" fmla="*/ 369536 h 606722"/>
                    <a:gd name="connsiteX82" fmla="*/ 543996 w 596772"/>
                    <a:gd name="connsiteY82" fmla="*/ 349807 h 606722"/>
                    <a:gd name="connsiteX83" fmla="*/ 543106 w 596772"/>
                    <a:gd name="connsiteY83" fmla="*/ 172783 h 606722"/>
                    <a:gd name="connsiteX84" fmla="*/ 543106 w 596772"/>
                    <a:gd name="connsiteY84" fmla="*/ 172516 h 606722"/>
                    <a:gd name="connsiteX85" fmla="*/ 538034 w 596772"/>
                    <a:gd name="connsiteY85" fmla="*/ 167451 h 606722"/>
                    <a:gd name="connsiteX86" fmla="*/ 532961 w 596772"/>
                    <a:gd name="connsiteY86" fmla="*/ 172516 h 606722"/>
                    <a:gd name="connsiteX87" fmla="*/ 533495 w 596772"/>
                    <a:gd name="connsiteY87" fmla="*/ 368469 h 606722"/>
                    <a:gd name="connsiteX88" fmla="*/ 514093 w 596772"/>
                    <a:gd name="connsiteY88" fmla="*/ 400550 h 606722"/>
                    <a:gd name="connsiteX89" fmla="*/ 514093 w 596772"/>
                    <a:gd name="connsiteY89" fmla="*/ 496438 h 606722"/>
                    <a:gd name="connsiteX90" fmla="*/ 533495 w 596772"/>
                    <a:gd name="connsiteY90" fmla="*/ 528519 h 606722"/>
                    <a:gd name="connsiteX91" fmla="*/ 533495 w 596772"/>
                    <a:gd name="connsiteY91" fmla="*/ 577752 h 606722"/>
                    <a:gd name="connsiteX92" fmla="*/ 504570 w 596772"/>
                    <a:gd name="connsiteY92" fmla="*/ 606722 h 606722"/>
                    <a:gd name="connsiteX93" fmla="*/ 475646 w 596772"/>
                    <a:gd name="connsiteY93" fmla="*/ 577752 h 606722"/>
                    <a:gd name="connsiteX94" fmla="*/ 475646 w 596772"/>
                    <a:gd name="connsiteY94" fmla="*/ 346697 h 606722"/>
                    <a:gd name="connsiteX95" fmla="*/ 463097 w 596772"/>
                    <a:gd name="connsiteY95" fmla="*/ 346697 h 606722"/>
                    <a:gd name="connsiteX96" fmla="*/ 463097 w 596772"/>
                    <a:gd name="connsiteY96" fmla="*/ 577752 h 606722"/>
                    <a:gd name="connsiteX97" fmla="*/ 434173 w 596772"/>
                    <a:gd name="connsiteY97" fmla="*/ 606722 h 606722"/>
                    <a:gd name="connsiteX98" fmla="*/ 405249 w 596772"/>
                    <a:gd name="connsiteY98" fmla="*/ 577752 h 606722"/>
                    <a:gd name="connsiteX99" fmla="*/ 405160 w 596772"/>
                    <a:gd name="connsiteY99" fmla="*/ 172783 h 606722"/>
                    <a:gd name="connsiteX100" fmla="*/ 400532 w 596772"/>
                    <a:gd name="connsiteY100" fmla="*/ 168162 h 606722"/>
                    <a:gd name="connsiteX101" fmla="*/ 395904 w 596772"/>
                    <a:gd name="connsiteY101" fmla="*/ 172783 h 606722"/>
                    <a:gd name="connsiteX102" fmla="*/ 395014 w 596772"/>
                    <a:gd name="connsiteY102" fmla="*/ 349807 h 606722"/>
                    <a:gd name="connsiteX103" fmla="*/ 370896 w 596772"/>
                    <a:gd name="connsiteY103" fmla="*/ 373712 h 606722"/>
                    <a:gd name="connsiteX104" fmla="*/ 370718 w 596772"/>
                    <a:gd name="connsiteY104" fmla="*/ 373712 h 606722"/>
                    <a:gd name="connsiteX105" fmla="*/ 346688 w 596772"/>
                    <a:gd name="connsiteY105" fmla="*/ 349540 h 606722"/>
                    <a:gd name="connsiteX106" fmla="*/ 347578 w 596772"/>
                    <a:gd name="connsiteY106" fmla="*/ 172516 h 606722"/>
                    <a:gd name="connsiteX107" fmla="*/ 404715 w 596772"/>
                    <a:gd name="connsiteY107" fmla="*/ 115819 h 606722"/>
                    <a:gd name="connsiteX108" fmla="*/ 429189 w 596772"/>
                    <a:gd name="connsiteY108" fmla="*/ 115819 h 606722"/>
                    <a:gd name="connsiteX109" fmla="*/ 458825 w 596772"/>
                    <a:gd name="connsiteY109" fmla="*/ 193845 h 606722"/>
                    <a:gd name="connsiteX110" fmla="*/ 452685 w 596772"/>
                    <a:gd name="connsiteY110" fmla="*/ 160608 h 606722"/>
                    <a:gd name="connsiteX111" fmla="*/ 453664 w 596772"/>
                    <a:gd name="connsiteY111" fmla="*/ 153854 h 606722"/>
                    <a:gd name="connsiteX112" fmla="*/ 463453 w 596772"/>
                    <a:gd name="connsiteY112" fmla="*/ 136259 h 606722"/>
                    <a:gd name="connsiteX113" fmla="*/ 454821 w 596772"/>
                    <a:gd name="connsiteY113" fmla="*/ 120618 h 606722"/>
                    <a:gd name="connsiteX114" fmla="*/ 457846 w 596772"/>
                    <a:gd name="connsiteY114" fmla="*/ 115375 h 606722"/>
                    <a:gd name="connsiteX115" fmla="*/ 469684 w 596772"/>
                    <a:gd name="connsiteY115" fmla="*/ 0 h 606722"/>
                    <a:gd name="connsiteX116" fmla="*/ 519715 w 596772"/>
                    <a:gd name="connsiteY116" fmla="*/ 49960 h 606722"/>
                    <a:gd name="connsiteX117" fmla="*/ 469684 w 596772"/>
                    <a:gd name="connsiteY117" fmla="*/ 99921 h 606722"/>
                    <a:gd name="connsiteX118" fmla="*/ 419653 w 596772"/>
                    <a:gd name="connsiteY118" fmla="*/ 49960 h 606722"/>
                    <a:gd name="connsiteX119" fmla="*/ 469684 w 596772"/>
                    <a:gd name="connsiteY119" fmla="*/ 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</a:cxnLst>
                  <a:rect l="l" t="t" r="r" b="b"/>
                  <a:pathLst>
                    <a:path w="596772" h="606722">
                      <a:moveTo>
                        <a:pt x="265579" y="291153"/>
                      </a:moveTo>
                      <a:lnTo>
                        <a:pt x="300286" y="291153"/>
                      </a:lnTo>
                      <a:cubicBezTo>
                        <a:pt x="302866" y="291153"/>
                        <a:pt x="304913" y="293286"/>
                        <a:pt x="304913" y="295864"/>
                      </a:cubicBezTo>
                      <a:lnTo>
                        <a:pt x="304913" y="342613"/>
                      </a:lnTo>
                      <a:cubicBezTo>
                        <a:pt x="304913" y="345190"/>
                        <a:pt x="302866" y="347323"/>
                        <a:pt x="300286" y="347323"/>
                      </a:cubicBezTo>
                      <a:lnTo>
                        <a:pt x="265579" y="347323"/>
                      </a:lnTo>
                      <a:cubicBezTo>
                        <a:pt x="262998" y="347323"/>
                        <a:pt x="260951" y="345190"/>
                        <a:pt x="260951" y="342613"/>
                      </a:cubicBezTo>
                      <a:lnTo>
                        <a:pt x="260951" y="295864"/>
                      </a:lnTo>
                      <a:cubicBezTo>
                        <a:pt x="260951" y="293286"/>
                        <a:pt x="262998" y="291153"/>
                        <a:pt x="265579" y="291153"/>
                      </a:cubicBezTo>
                      <a:close/>
                      <a:moveTo>
                        <a:pt x="197340" y="256012"/>
                      </a:moveTo>
                      <a:lnTo>
                        <a:pt x="232032" y="256012"/>
                      </a:lnTo>
                      <a:cubicBezTo>
                        <a:pt x="234612" y="256012"/>
                        <a:pt x="236747" y="258057"/>
                        <a:pt x="236747" y="260636"/>
                      </a:cubicBezTo>
                      <a:lnTo>
                        <a:pt x="236747" y="342612"/>
                      </a:lnTo>
                      <a:cubicBezTo>
                        <a:pt x="236747" y="345190"/>
                        <a:pt x="234612" y="347324"/>
                        <a:pt x="232032" y="347324"/>
                      </a:cubicBezTo>
                      <a:lnTo>
                        <a:pt x="197340" y="347324"/>
                      </a:lnTo>
                      <a:cubicBezTo>
                        <a:pt x="194760" y="347324"/>
                        <a:pt x="192714" y="345190"/>
                        <a:pt x="192714" y="342612"/>
                      </a:cubicBezTo>
                      <a:lnTo>
                        <a:pt x="192714" y="260636"/>
                      </a:lnTo>
                      <a:cubicBezTo>
                        <a:pt x="192714" y="258057"/>
                        <a:pt x="194760" y="256012"/>
                        <a:pt x="197340" y="256012"/>
                      </a:cubicBezTo>
                      <a:close/>
                      <a:moveTo>
                        <a:pt x="129129" y="221223"/>
                      </a:moveTo>
                      <a:lnTo>
                        <a:pt x="163877" y="221223"/>
                      </a:lnTo>
                      <a:cubicBezTo>
                        <a:pt x="166372" y="221223"/>
                        <a:pt x="168510" y="223267"/>
                        <a:pt x="168510" y="225844"/>
                      </a:cubicBezTo>
                      <a:lnTo>
                        <a:pt x="168510" y="342614"/>
                      </a:lnTo>
                      <a:cubicBezTo>
                        <a:pt x="168510" y="345191"/>
                        <a:pt x="166372" y="347324"/>
                        <a:pt x="163877" y="347324"/>
                      </a:cubicBezTo>
                      <a:lnTo>
                        <a:pt x="129129" y="347324"/>
                      </a:lnTo>
                      <a:cubicBezTo>
                        <a:pt x="126545" y="347324"/>
                        <a:pt x="124407" y="345191"/>
                        <a:pt x="124407" y="342614"/>
                      </a:cubicBezTo>
                      <a:lnTo>
                        <a:pt x="124407" y="225844"/>
                      </a:lnTo>
                      <a:cubicBezTo>
                        <a:pt x="124407" y="223267"/>
                        <a:pt x="126545" y="221223"/>
                        <a:pt x="129129" y="221223"/>
                      </a:cubicBezTo>
                      <a:close/>
                      <a:moveTo>
                        <a:pt x="60869" y="182200"/>
                      </a:moveTo>
                      <a:lnTo>
                        <a:pt x="95576" y="182200"/>
                      </a:lnTo>
                      <a:cubicBezTo>
                        <a:pt x="98156" y="182200"/>
                        <a:pt x="100203" y="184333"/>
                        <a:pt x="100203" y="186910"/>
                      </a:cubicBezTo>
                      <a:lnTo>
                        <a:pt x="100203" y="342613"/>
                      </a:lnTo>
                      <a:cubicBezTo>
                        <a:pt x="100203" y="345190"/>
                        <a:pt x="98156" y="347323"/>
                        <a:pt x="95576" y="347323"/>
                      </a:cubicBezTo>
                      <a:lnTo>
                        <a:pt x="60869" y="347323"/>
                      </a:lnTo>
                      <a:cubicBezTo>
                        <a:pt x="58288" y="347323"/>
                        <a:pt x="56241" y="345190"/>
                        <a:pt x="56241" y="342613"/>
                      </a:cubicBezTo>
                      <a:lnTo>
                        <a:pt x="56241" y="186910"/>
                      </a:lnTo>
                      <a:cubicBezTo>
                        <a:pt x="56241" y="184333"/>
                        <a:pt x="58288" y="182200"/>
                        <a:pt x="60869" y="182200"/>
                      </a:cubicBezTo>
                      <a:close/>
                      <a:moveTo>
                        <a:pt x="13172" y="118197"/>
                      </a:moveTo>
                      <a:lnTo>
                        <a:pt x="350131" y="118197"/>
                      </a:lnTo>
                      <a:cubicBezTo>
                        <a:pt x="350309" y="118197"/>
                        <a:pt x="350487" y="118197"/>
                        <a:pt x="350754" y="118197"/>
                      </a:cubicBezTo>
                      <a:cubicBezTo>
                        <a:pt x="343189" y="125663"/>
                        <a:pt x="337226" y="134551"/>
                        <a:pt x="333221" y="144594"/>
                      </a:cubicBezTo>
                      <a:lnTo>
                        <a:pt x="26344" y="144594"/>
                      </a:lnTo>
                      <a:lnTo>
                        <a:pt x="26344" y="367597"/>
                      </a:lnTo>
                      <a:lnTo>
                        <a:pt x="330729" y="367597"/>
                      </a:lnTo>
                      <a:cubicBezTo>
                        <a:pt x="335802" y="378973"/>
                        <a:pt x="345592" y="387772"/>
                        <a:pt x="357696" y="391594"/>
                      </a:cubicBezTo>
                      <a:cubicBezTo>
                        <a:pt x="355560" y="393016"/>
                        <a:pt x="352890" y="393905"/>
                        <a:pt x="350131" y="393905"/>
                      </a:cubicBezTo>
                      <a:lnTo>
                        <a:pt x="238078" y="393905"/>
                      </a:lnTo>
                      <a:lnTo>
                        <a:pt x="296997" y="496651"/>
                      </a:lnTo>
                      <a:cubicBezTo>
                        <a:pt x="300290" y="502340"/>
                        <a:pt x="298332" y="509628"/>
                        <a:pt x="292636" y="512828"/>
                      </a:cubicBezTo>
                      <a:cubicBezTo>
                        <a:pt x="286940" y="516116"/>
                        <a:pt x="279642" y="514161"/>
                        <a:pt x="276349" y="508472"/>
                      </a:cubicBezTo>
                      <a:lnTo>
                        <a:pt x="210755" y="393905"/>
                      </a:lnTo>
                      <a:lnTo>
                        <a:pt x="152548" y="393905"/>
                      </a:lnTo>
                      <a:lnTo>
                        <a:pt x="86865" y="508472"/>
                      </a:lnTo>
                      <a:cubicBezTo>
                        <a:pt x="83661" y="514161"/>
                        <a:pt x="76363" y="516116"/>
                        <a:pt x="70667" y="512828"/>
                      </a:cubicBezTo>
                      <a:cubicBezTo>
                        <a:pt x="64971" y="509628"/>
                        <a:pt x="63013" y="502340"/>
                        <a:pt x="66306" y="496651"/>
                      </a:cubicBezTo>
                      <a:lnTo>
                        <a:pt x="125136" y="393905"/>
                      </a:lnTo>
                      <a:lnTo>
                        <a:pt x="13172" y="393905"/>
                      </a:lnTo>
                      <a:cubicBezTo>
                        <a:pt x="5874" y="393905"/>
                        <a:pt x="0" y="388039"/>
                        <a:pt x="0" y="380751"/>
                      </a:cubicBezTo>
                      <a:lnTo>
                        <a:pt x="0" y="131351"/>
                      </a:lnTo>
                      <a:cubicBezTo>
                        <a:pt x="0" y="124063"/>
                        <a:pt x="5874" y="118197"/>
                        <a:pt x="13172" y="118197"/>
                      </a:cubicBezTo>
                      <a:close/>
                      <a:moveTo>
                        <a:pt x="457846" y="115375"/>
                      </a:moveTo>
                      <a:lnTo>
                        <a:pt x="481520" y="115375"/>
                      </a:lnTo>
                      <a:cubicBezTo>
                        <a:pt x="484190" y="115375"/>
                        <a:pt x="485881" y="118307"/>
                        <a:pt x="484546" y="120618"/>
                      </a:cubicBezTo>
                      <a:lnTo>
                        <a:pt x="476002" y="136259"/>
                      </a:lnTo>
                      <a:lnTo>
                        <a:pt x="485614" y="153854"/>
                      </a:lnTo>
                      <a:cubicBezTo>
                        <a:pt x="486771" y="155898"/>
                        <a:pt x="487127" y="158298"/>
                        <a:pt x="486682" y="160697"/>
                      </a:cubicBezTo>
                      <a:lnTo>
                        <a:pt x="479651" y="193845"/>
                      </a:lnTo>
                      <a:cubicBezTo>
                        <a:pt x="483033" y="184958"/>
                        <a:pt x="506350" y="124084"/>
                        <a:pt x="509554" y="115819"/>
                      </a:cubicBezTo>
                      <a:lnTo>
                        <a:pt x="534296" y="115819"/>
                      </a:lnTo>
                      <a:cubicBezTo>
                        <a:pt x="565623" y="115819"/>
                        <a:pt x="591165" y="141235"/>
                        <a:pt x="591343" y="172516"/>
                      </a:cubicBezTo>
                      <a:lnTo>
                        <a:pt x="592233" y="349540"/>
                      </a:lnTo>
                      <a:cubicBezTo>
                        <a:pt x="592322" y="357272"/>
                        <a:pt x="588584" y="364381"/>
                        <a:pt x="582621" y="368825"/>
                      </a:cubicBezTo>
                      <a:lnTo>
                        <a:pt x="582621" y="390597"/>
                      </a:lnTo>
                      <a:lnTo>
                        <a:pt x="586804" y="390597"/>
                      </a:lnTo>
                      <a:cubicBezTo>
                        <a:pt x="592322" y="390597"/>
                        <a:pt x="596772" y="395040"/>
                        <a:pt x="596772" y="400550"/>
                      </a:cubicBezTo>
                      <a:lnTo>
                        <a:pt x="596772" y="496438"/>
                      </a:lnTo>
                      <a:cubicBezTo>
                        <a:pt x="596772" y="501859"/>
                        <a:pt x="592322" y="506391"/>
                        <a:pt x="586804" y="506391"/>
                      </a:cubicBezTo>
                      <a:lnTo>
                        <a:pt x="550404" y="506391"/>
                      </a:lnTo>
                      <a:cubicBezTo>
                        <a:pt x="544975" y="506391"/>
                        <a:pt x="540525" y="501859"/>
                        <a:pt x="540525" y="496438"/>
                      </a:cubicBezTo>
                      <a:lnTo>
                        <a:pt x="540525" y="400550"/>
                      </a:lnTo>
                      <a:cubicBezTo>
                        <a:pt x="540525" y="395040"/>
                        <a:pt x="544975" y="390597"/>
                        <a:pt x="550404" y="390597"/>
                      </a:cubicBezTo>
                      <a:lnTo>
                        <a:pt x="554498" y="390597"/>
                      </a:lnTo>
                      <a:lnTo>
                        <a:pt x="554498" y="369536"/>
                      </a:lnTo>
                      <a:cubicBezTo>
                        <a:pt x="548268" y="365270"/>
                        <a:pt x="543996" y="357983"/>
                        <a:pt x="543996" y="349807"/>
                      </a:cubicBezTo>
                      <a:lnTo>
                        <a:pt x="543106" y="172783"/>
                      </a:lnTo>
                      <a:cubicBezTo>
                        <a:pt x="543106" y="172694"/>
                        <a:pt x="543106" y="172605"/>
                        <a:pt x="543106" y="172516"/>
                      </a:cubicBezTo>
                      <a:cubicBezTo>
                        <a:pt x="543106" y="169762"/>
                        <a:pt x="540792" y="167451"/>
                        <a:pt x="538034" y="167451"/>
                      </a:cubicBezTo>
                      <a:cubicBezTo>
                        <a:pt x="535275" y="167451"/>
                        <a:pt x="532961" y="169762"/>
                        <a:pt x="532961" y="172516"/>
                      </a:cubicBezTo>
                      <a:cubicBezTo>
                        <a:pt x="533050" y="345897"/>
                        <a:pt x="533495" y="367047"/>
                        <a:pt x="533495" y="368469"/>
                      </a:cubicBezTo>
                      <a:cubicBezTo>
                        <a:pt x="522014" y="374512"/>
                        <a:pt x="514093" y="386598"/>
                        <a:pt x="514093" y="400550"/>
                      </a:cubicBezTo>
                      <a:lnTo>
                        <a:pt x="514093" y="496438"/>
                      </a:lnTo>
                      <a:cubicBezTo>
                        <a:pt x="514093" y="510301"/>
                        <a:pt x="522014" y="522476"/>
                        <a:pt x="533495" y="528519"/>
                      </a:cubicBezTo>
                      <a:lnTo>
                        <a:pt x="533495" y="577752"/>
                      </a:lnTo>
                      <a:cubicBezTo>
                        <a:pt x="533495" y="593748"/>
                        <a:pt x="520590" y="606722"/>
                        <a:pt x="504570" y="606722"/>
                      </a:cubicBezTo>
                      <a:cubicBezTo>
                        <a:pt x="488551" y="606722"/>
                        <a:pt x="475646" y="593748"/>
                        <a:pt x="475646" y="577752"/>
                      </a:cubicBezTo>
                      <a:lnTo>
                        <a:pt x="475646" y="346697"/>
                      </a:lnTo>
                      <a:lnTo>
                        <a:pt x="463097" y="346697"/>
                      </a:lnTo>
                      <a:lnTo>
                        <a:pt x="463097" y="577752"/>
                      </a:lnTo>
                      <a:cubicBezTo>
                        <a:pt x="463097" y="593748"/>
                        <a:pt x="450193" y="606722"/>
                        <a:pt x="434173" y="606722"/>
                      </a:cubicBezTo>
                      <a:cubicBezTo>
                        <a:pt x="418153" y="606722"/>
                        <a:pt x="405249" y="593748"/>
                        <a:pt x="405249" y="577752"/>
                      </a:cubicBezTo>
                      <a:cubicBezTo>
                        <a:pt x="405249" y="572242"/>
                        <a:pt x="405160" y="232236"/>
                        <a:pt x="405160" y="172783"/>
                      </a:cubicBezTo>
                      <a:cubicBezTo>
                        <a:pt x="405160" y="170206"/>
                        <a:pt x="403113" y="168162"/>
                        <a:pt x="400532" y="168162"/>
                      </a:cubicBezTo>
                      <a:cubicBezTo>
                        <a:pt x="397951" y="168162"/>
                        <a:pt x="395904" y="170206"/>
                        <a:pt x="395904" y="172783"/>
                      </a:cubicBezTo>
                      <a:lnTo>
                        <a:pt x="395014" y="349807"/>
                      </a:lnTo>
                      <a:cubicBezTo>
                        <a:pt x="394925" y="363048"/>
                        <a:pt x="384156" y="373712"/>
                        <a:pt x="370896" y="373712"/>
                      </a:cubicBezTo>
                      <a:lnTo>
                        <a:pt x="370718" y="373712"/>
                      </a:lnTo>
                      <a:cubicBezTo>
                        <a:pt x="357368" y="373712"/>
                        <a:pt x="346688" y="362871"/>
                        <a:pt x="346688" y="349540"/>
                      </a:cubicBezTo>
                      <a:lnTo>
                        <a:pt x="347578" y="172516"/>
                      </a:lnTo>
                      <a:cubicBezTo>
                        <a:pt x="347756" y="141235"/>
                        <a:pt x="373387" y="115819"/>
                        <a:pt x="404715" y="115819"/>
                      </a:cubicBezTo>
                      <a:lnTo>
                        <a:pt x="429189" y="115819"/>
                      </a:lnTo>
                      <a:cubicBezTo>
                        <a:pt x="432571" y="124350"/>
                        <a:pt x="455711" y="185847"/>
                        <a:pt x="458825" y="193845"/>
                      </a:cubicBezTo>
                      <a:lnTo>
                        <a:pt x="452685" y="160608"/>
                      </a:lnTo>
                      <a:cubicBezTo>
                        <a:pt x="452240" y="158298"/>
                        <a:pt x="452596" y="155898"/>
                        <a:pt x="453664" y="153854"/>
                      </a:cubicBezTo>
                      <a:lnTo>
                        <a:pt x="463453" y="136259"/>
                      </a:lnTo>
                      <a:lnTo>
                        <a:pt x="454821" y="120618"/>
                      </a:lnTo>
                      <a:cubicBezTo>
                        <a:pt x="453486" y="118219"/>
                        <a:pt x="455177" y="115375"/>
                        <a:pt x="457846" y="115375"/>
                      </a:cubicBezTo>
                      <a:close/>
                      <a:moveTo>
                        <a:pt x="469684" y="0"/>
                      </a:moveTo>
                      <a:cubicBezTo>
                        <a:pt x="497281" y="0"/>
                        <a:pt x="519715" y="22402"/>
                        <a:pt x="519715" y="49960"/>
                      </a:cubicBezTo>
                      <a:cubicBezTo>
                        <a:pt x="519715" y="77696"/>
                        <a:pt x="497103" y="99921"/>
                        <a:pt x="469684" y="99921"/>
                      </a:cubicBezTo>
                      <a:cubicBezTo>
                        <a:pt x="442087" y="99921"/>
                        <a:pt x="419653" y="77607"/>
                        <a:pt x="419653" y="49960"/>
                      </a:cubicBezTo>
                      <a:cubicBezTo>
                        <a:pt x="419653" y="22402"/>
                        <a:pt x="442087" y="0"/>
                        <a:pt x="469684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4C15AA2-1C07-4ED5-AB8E-784E0749859C}"/>
                </a:ext>
              </a:extLst>
            </p:cNvPr>
            <p:cNvGrpSpPr/>
            <p:nvPr/>
          </p:nvGrpSpPr>
          <p:grpSpPr>
            <a:xfrm>
              <a:off x="6456149" y="4911206"/>
              <a:ext cx="5062751" cy="460022"/>
              <a:chOff x="6456149" y="5131153"/>
              <a:chExt cx="5062751" cy="460022"/>
            </a:xfrm>
          </p:grpSpPr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72A7C449-1290-4BF2-BF95-20289AC8EF7C}"/>
                  </a:ext>
                </a:extLst>
              </p:cNvPr>
              <p:cNvSpPr/>
              <p:nvPr/>
            </p:nvSpPr>
            <p:spPr bwMode="auto">
              <a:xfrm>
                <a:off x="7041762" y="5161109"/>
                <a:ext cx="4477138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grpSp>
            <p:nvGrpSpPr>
              <p:cNvPr id="27" name="组合 26">
                <a:extLst>
                  <a:ext uri="{FF2B5EF4-FFF2-40B4-BE49-F238E27FC236}">
                    <a16:creationId xmlns:a16="http://schemas.microsoft.com/office/drawing/2014/main" id="{6152C121-7C36-4F88-A666-D78BA49F405B}"/>
                  </a:ext>
                </a:extLst>
              </p:cNvPr>
              <p:cNvGrpSpPr/>
              <p:nvPr/>
            </p:nvGrpSpPr>
            <p:grpSpPr>
              <a:xfrm>
                <a:off x="6456149" y="5131153"/>
                <a:ext cx="460022" cy="460022"/>
                <a:chOff x="6456149" y="5131153"/>
                <a:chExt cx="460022" cy="460022"/>
              </a:xfrm>
            </p:grpSpPr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86EBB28B-E89D-43C2-9D83-B608A7F2A1AE}"/>
                    </a:ext>
                  </a:extLst>
                </p:cNvPr>
                <p:cNvSpPr/>
                <p:nvPr/>
              </p:nvSpPr>
              <p:spPr>
                <a:xfrm>
                  <a:off x="6456149" y="5131153"/>
                  <a:ext cx="460022" cy="460022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 sz="2400" b="1" i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5D0151F4-7C0D-4D13-AA8B-3C7A01DA4A3C}"/>
                    </a:ext>
                  </a:extLst>
                </p:cNvPr>
                <p:cNvSpPr/>
                <p:nvPr/>
              </p:nvSpPr>
              <p:spPr bwMode="auto">
                <a:xfrm>
                  <a:off x="6558794" y="5264503"/>
                  <a:ext cx="254732" cy="193322"/>
                </a:xfrm>
                <a:custGeom>
                  <a:avLst/>
                  <a:gdLst>
                    <a:gd name="connsiteX0" fmla="*/ 303008 w 607074"/>
                    <a:gd name="connsiteY0" fmla="*/ 220799 h 460721"/>
                    <a:gd name="connsiteX1" fmla="*/ 325871 w 607074"/>
                    <a:gd name="connsiteY1" fmla="*/ 243592 h 460721"/>
                    <a:gd name="connsiteX2" fmla="*/ 280145 w 607074"/>
                    <a:gd name="connsiteY2" fmla="*/ 243592 h 460721"/>
                    <a:gd name="connsiteX3" fmla="*/ 401290 w 607074"/>
                    <a:gd name="connsiteY3" fmla="*/ 203510 h 460721"/>
                    <a:gd name="connsiteX4" fmla="*/ 431072 w 607074"/>
                    <a:gd name="connsiteY4" fmla="*/ 218026 h 460721"/>
                    <a:gd name="connsiteX5" fmla="*/ 564154 w 607074"/>
                    <a:gd name="connsiteY5" fmla="*/ 373624 h 460721"/>
                    <a:gd name="connsiteX6" fmla="*/ 564388 w 607074"/>
                    <a:gd name="connsiteY6" fmla="*/ 373857 h 460721"/>
                    <a:gd name="connsiteX7" fmla="*/ 565147 w 607074"/>
                    <a:gd name="connsiteY7" fmla="*/ 374848 h 460721"/>
                    <a:gd name="connsiteX8" fmla="*/ 565672 w 607074"/>
                    <a:gd name="connsiteY8" fmla="*/ 375489 h 460721"/>
                    <a:gd name="connsiteX9" fmla="*/ 566373 w 607074"/>
                    <a:gd name="connsiteY9" fmla="*/ 376481 h 460721"/>
                    <a:gd name="connsiteX10" fmla="*/ 566898 w 607074"/>
                    <a:gd name="connsiteY10" fmla="*/ 377180 h 460721"/>
                    <a:gd name="connsiteX11" fmla="*/ 567541 w 607074"/>
                    <a:gd name="connsiteY11" fmla="*/ 378171 h 460721"/>
                    <a:gd name="connsiteX12" fmla="*/ 568008 w 607074"/>
                    <a:gd name="connsiteY12" fmla="*/ 378929 h 460721"/>
                    <a:gd name="connsiteX13" fmla="*/ 568592 w 607074"/>
                    <a:gd name="connsiteY13" fmla="*/ 379862 h 460721"/>
                    <a:gd name="connsiteX14" fmla="*/ 569059 w 607074"/>
                    <a:gd name="connsiteY14" fmla="*/ 380678 h 460721"/>
                    <a:gd name="connsiteX15" fmla="*/ 569526 w 607074"/>
                    <a:gd name="connsiteY15" fmla="*/ 381611 h 460721"/>
                    <a:gd name="connsiteX16" fmla="*/ 569993 w 607074"/>
                    <a:gd name="connsiteY16" fmla="*/ 382485 h 460721"/>
                    <a:gd name="connsiteX17" fmla="*/ 570402 w 607074"/>
                    <a:gd name="connsiteY17" fmla="*/ 383476 h 460721"/>
                    <a:gd name="connsiteX18" fmla="*/ 570811 w 607074"/>
                    <a:gd name="connsiteY18" fmla="*/ 384351 h 460721"/>
                    <a:gd name="connsiteX19" fmla="*/ 571220 w 607074"/>
                    <a:gd name="connsiteY19" fmla="*/ 385342 h 460721"/>
                    <a:gd name="connsiteX20" fmla="*/ 571570 w 607074"/>
                    <a:gd name="connsiteY20" fmla="*/ 386216 h 460721"/>
                    <a:gd name="connsiteX21" fmla="*/ 571979 w 607074"/>
                    <a:gd name="connsiteY21" fmla="*/ 387324 h 460721"/>
                    <a:gd name="connsiteX22" fmla="*/ 572212 w 607074"/>
                    <a:gd name="connsiteY22" fmla="*/ 388140 h 460721"/>
                    <a:gd name="connsiteX23" fmla="*/ 572563 w 607074"/>
                    <a:gd name="connsiteY23" fmla="*/ 389248 h 460721"/>
                    <a:gd name="connsiteX24" fmla="*/ 572796 w 607074"/>
                    <a:gd name="connsiteY24" fmla="*/ 390122 h 460721"/>
                    <a:gd name="connsiteX25" fmla="*/ 573088 w 607074"/>
                    <a:gd name="connsiteY25" fmla="*/ 391230 h 460721"/>
                    <a:gd name="connsiteX26" fmla="*/ 573264 w 607074"/>
                    <a:gd name="connsiteY26" fmla="*/ 392104 h 460721"/>
                    <a:gd name="connsiteX27" fmla="*/ 573439 w 607074"/>
                    <a:gd name="connsiteY27" fmla="*/ 393154 h 460721"/>
                    <a:gd name="connsiteX28" fmla="*/ 573614 w 607074"/>
                    <a:gd name="connsiteY28" fmla="*/ 394087 h 460721"/>
                    <a:gd name="connsiteX29" fmla="*/ 573789 w 607074"/>
                    <a:gd name="connsiteY29" fmla="*/ 395078 h 460721"/>
                    <a:gd name="connsiteX30" fmla="*/ 573906 w 607074"/>
                    <a:gd name="connsiteY30" fmla="*/ 396185 h 460721"/>
                    <a:gd name="connsiteX31" fmla="*/ 573964 w 607074"/>
                    <a:gd name="connsiteY31" fmla="*/ 397060 h 460721"/>
                    <a:gd name="connsiteX32" fmla="*/ 574081 w 607074"/>
                    <a:gd name="connsiteY32" fmla="*/ 398226 h 460721"/>
                    <a:gd name="connsiteX33" fmla="*/ 574139 w 607074"/>
                    <a:gd name="connsiteY33" fmla="*/ 399159 h 460721"/>
                    <a:gd name="connsiteX34" fmla="*/ 574139 w 607074"/>
                    <a:gd name="connsiteY34" fmla="*/ 400324 h 460721"/>
                    <a:gd name="connsiteX35" fmla="*/ 574139 w 607074"/>
                    <a:gd name="connsiteY35" fmla="*/ 400674 h 460721"/>
                    <a:gd name="connsiteX36" fmla="*/ 574139 w 607074"/>
                    <a:gd name="connsiteY36" fmla="*/ 401257 h 460721"/>
                    <a:gd name="connsiteX37" fmla="*/ 574081 w 607074"/>
                    <a:gd name="connsiteY37" fmla="*/ 402365 h 460721"/>
                    <a:gd name="connsiteX38" fmla="*/ 574023 w 607074"/>
                    <a:gd name="connsiteY38" fmla="*/ 403414 h 460721"/>
                    <a:gd name="connsiteX39" fmla="*/ 573964 w 607074"/>
                    <a:gd name="connsiteY39" fmla="*/ 404289 h 460721"/>
                    <a:gd name="connsiteX40" fmla="*/ 573847 w 607074"/>
                    <a:gd name="connsiteY40" fmla="*/ 405571 h 460721"/>
                    <a:gd name="connsiteX41" fmla="*/ 573789 w 607074"/>
                    <a:gd name="connsiteY41" fmla="*/ 406271 h 460721"/>
                    <a:gd name="connsiteX42" fmla="*/ 573556 w 607074"/>
                    <a:gd name="connsiteY42" fmla="*/ 407612 h 460721"/>
                    <a:gd name="connsiteX43" fmla="*/ 573439 w 607074"/>
                    <a:gd name="connsiteY43" fmla="*/ 408136 h 460721"/>
                    <a:gd name="connsiteX44" fmla="*/ 573147 w 607074"/>
                    <a:gd name="connsiteY44" fmla="*/ 409652 h 460721"/>
                    <a:gd name="connsiteX45" fmla="*/ 573030 w 607074"/>
                    <a:gd name="connsiteY45" fmla="*/ 410060 h 460721"/>
                    <a:gd name="connsiteX46" fmla="*/ 572680 w 607074"/>
                    <a:gd name="connsiteY46" fmla="*/ 411634 h 460721"/>
                    <a:gd name="connsiteX47" fmla="*/ 572563 w 607074"/>
                    <a:gd name="connsiteY47" fmla="*/ 412042 h 460721"/>
                    <a:gd name="connsiteX48" fmla="*/ 572096 w 607074"/>
                    <a:gd name="connsiteY48" fmla="*/ 413500 h 460721"/>
                    <a:gd name="connsiteX49" fmla="*/ 571920 w 607074"/>
                    <a:gd name="connsiteY49" fmla="*/ 414025 h 460721"/>
                    <a:gd name="connsiteX50" fmla="*/ 571453 w 607074"/>
                    <a:gd name="connsiteY50" fmla="*/ 415365 h 460721"/>
                    <a:gd name="connsiteX51" fmla="*/ 571161 w 607074"/>
                    <a:gd name="connsiteY51" fmla="*/ 416007 h 460721"/>
                    <a:gd name="connsiteX52" fmla="*/ 570694 w 607074"/>
                    <a:gd name="connsiteY52" fmla="*/ 417173 h 460721"/>
                    <a:gd name="connsiteX53" fmla="*/ 570344 w 607074"/>
                    <a:gd name="connsiteY53" fmla="*/ 418047 h 460721"/>
                    <a:gd name="connsiteX54" fmla="*/ 569877 w 607074"/>
                    <a:gd name="connsiteY54" fmla="*/ 418980 h 460721"/>
                    <a:gd name="connsiteX55" fmla="*/ 569351 w 607074"/>
                    <a:gd name="connsiteY55" fmla="*/ 419971 h 460721"/>
                    <a:gd name="connsiteX56" fmla="*/ 569001 w 607074"/>
                    <a:gd name="connsiteY56" fmla="*/ 420729 h 460721"/>
                    <a:gd name="connsiteX57" fmla="*/ 568300 w 607074"/>
                    <a:gd name="connsiteY57" fmla="*/ 421836 h 460721"/>
                    <a:gd name="connsiteX58" fmla="*/ 568008 w 607074"/>
                    <a:gd name="connsiteY58" fmla="*/ 422419 h 460721"/>
                    <a:gd name="connsiteX59" fmla="*/ 567190 w 607074"/>
                    <a:gd name="connsiteY59" fmla="*/ 423644 h 460721"/>
                    <a:gd name="connsiteX60" fmla="*/ 566898 w 607074"/>
                    <a:gd name="connsiteY60" fmla="*/ 424052 h 460721"/>
                    <a:gd name="connsiteX61" fmla="*/ 566023 w 607074"/>
                    <a:gd name="connsiteY61" fmla="*/ 425276 h 460721"/>
                    <a:gd name="connsiteX62" fmla="*/ 565731 w 607074"/>
                    <a:gd name="connsiteY62" fmla="*/ 425742 h 460721"/>
                    <a:gd name="connsiteX63" fmla="*/ 564855 w 607074"/>
                    <a:gd name="connsiteY63" fmla="*/ 426850 h 460721"/>
                    <a:gd name="connsiteX64" fmla="*/ 564446 w 607074"/>
                    <a:gd name="connsiteY64" fmla="*/ 427316 h 460721"/>
                    <a:gd name="connsiteX65" fmla="*/ 563570 w 607074"/>
                    <a:gd name="connsiteY65" fmla="*/ 428308 h 460721"/>
                    <a:gd name="connsiteX66" fmla="*/ 563044 w 607074"/>
                    <a:gd name="connsiteY66" fmla="*/ 428891 h 460721"/>
                    <a:gd name="connsiteX67" fmla="*/ 562227 w 607074"/>
                    <a:gd name="connsiteY67" fmla="*/ 429765 h 460721"/>
                    <a:gd name="connsiteX68" fmla="*/ 561526 w 607074"/>
                    <a:gd name="connsiteY68" fmla="*/ 430465 h 460721"/>
                    <a:gd name="connsiteX69" fmla="*/ 560825 w 607074"/>
                    <a:gd name="connsiteY69" fmla="*/ 431106 h 460721"/>
                    <a:gd name="connsiteX70" fmla="*/ 559891 w 607074"/>
                    <a:gd name="connsiteY70" fmla="*/ 431922 h 460721"/>
                    <a:gd name="connsiteX71" fmla="*/ 559541 w 607074"/>
                    <a:gd name="connsiteY71" fmla="*/ 432272 h 460721"/>
                    <a:gd name="connsiteX72" fmla="*/ 559307 w 607074"/>
                    <a:gd name="connsiteY72" fmla="*/ 432447 h 460721"/>
                    <a:gd name="connsiteX73" fmla="*/ 558256 w 607074"/>
                    <a:gd name="connsiteY73" fmla="*/ 433321 h 460721"/>
                    <a:gd name="connsiteX74" fmla="*/ 557672 w 607074"/>
                    <a:gd name="connsiteY74" fmla="*/ 433788 h 460721"/>
                    <a:gd name="connsiteX75" fmla="*/ 556621 w 607074"/>
                    <a:gd name="connsiteY75" fmla="*/ 434545 h 460721"/>
                    <a:gd name="connsiteX76" fmla="*/ 555979 w 607074"/>
                    <a:gd name="connsiteY76" fmla="*/ 435012 h 460721"/>
                    <a:gd name="connsiteX77" fmla="*/ 554928 w 607074"/>
                    <a:gd name="connsiteY77" fmla="*/ 435653 h 460721"/>
                    <a:gd name="connsiteX78" fmla="*/ 554227 w 607074"/>
                    <a:gd name="connsiteY78" fmla="*/ 436119 h 460721"/>
                    <a:gd name="connsiteX79" fmla="*/ 553234 w 607074"/>
                    <a:gd name="connsiteY79" fmla="*/ 436702 h 460721"/>
                    <a:gd name="connsiteX80" fmla="*/ 553176 w 607074"/>
                    <a:gd name="connsiteY80" fmla="*/ 436761 h 460721"/>
                    <a:gd name="connsiteX81" fmla="*/ 607074 w 607074"/>
                    <a:gd name="connsiteY81" fmla="*/ 436761 h 460721"/>
                    <a:gd name="connsiteX82" fmla="*/ 607074 w 607074"/>
                    <a:gd name="connsiteY82" fmla="*/ 460721 h 460721"/>
                    <a:gd name="connsiteX83" fmla="*/ 0 w 607074"/>
                    <a:gd name="connsiteY83" fmla="*/ 460721 h 460721"/>
                    <a:gd name="connsiteX84" fmla="*/ 0 w 607074"/>
                    <a:gd name="connsiteY84" fmla="*/ 436761 h 460721"/>
                    <a:gd name="connsiteX85" fmla="*/ 168353 w 607074"/>
                    <a:gd name="connsiteY85" fmla="*/ 436761 h 460721"/>
                    <a:gd name="connsiteX86" fmla="*/ 163681 w 607074"/>
                    <a:gd name="connsiteY86" fmla="*/ 425334 h 460721"/>
                    <a:gd name="connsiteX87" fmla="*/ 163681 w 607074"/>
                    <a:gd name="connsiteY87" fmla="*/ 271661 h 460721"/>
                    <a:gd name="connsiteX88" fmla="*/ 180149 w 607074"/>
                    <a:gd name="connsiteY88" fmla="*/ 255221 h 460721"/>
                    <a:gd name="connsiteX89" fmla="*/ 426926 w 607074"/>
                    <a:gd name="connsiteY89" fmla="*/ 255221 h 460721"/>
                    <a:gd name="connsiteX90" fmla="*/ 443335 w 607074"/>
                    <a:gd name="connsiteY90" fmla="*/ 271661 h 460721"/>
                    <a:gd name="connsiteX91" fmla="*/ 443335 w 607074"/>
                    <a:gd name="connsiteY91" fmla="*/ 425276 h 460721"/>
                    <a:gd name="connsiteX92" fmla="*/ 438722 w 607074"/>
                    <a:gd name="connsiteY92" fmla="*/ 436761 h 460721"/>
                    <a:gd name="connsiteX93" fmla="*/ 450693 w 607074"/>
                    <a:gd name="connsiteY93" fmla="*/ 436761 h 460721"/>
                    <a:gd name="connsiteX94" fmla="*/ 453554 w 607074"/>
                    <a:gd name="connsiteY94" fmla="*/ 425568 h 460721"/>
                    <a:gd name="connsiteX95" fmla="*/ 453554 w 607074"/>
                    <a:gd name="connsiteY95" fmla="*/ 267755 h 460721"/>
                    <a:gd name="connsiteX96" fmla="*/ 430254 w 607074"/>
                    <a:gd name="connsiteY96" fmla="*/ 244435 h 460721"/>
                    <a:gd name="connsiteX97" fmla="*/ 401290 w 607074"/>
                    <a:gd name="connsiteY97" fmla="*/ 244435 h 460721"/>
                    <a:gd name="connsiteX98" fmla="*/ 72409 w 607074"/>
                    <a:gd name="connsiteY98" fmla="*/ 153691 h 460721"/>
                    <a:gd name="connsiteX99" fmla="*/ 81692 w 607074"/>
                    <a:gd name="connsiteY99" fmla="*/ 153750 h 460721"/>
                    <a:gd name="connsiteX100" fmla="*/ 120575 w 607074"/>
                    <a:gd name="connsiteY100" fmla="*/ 192698 h 460721"/>
                    <a:gd name="connsiteX101" fmla="*/ 120342 w 607074"/>
                    <a:gd name="connsiteY101" fmla="*/ 274269 h 460721"/>
                    <a:gd name="connsiteX102" fmla="*/ 177791 w 607074"/>
                    <a:gd name="connsiteY102" fmla="*/ 215205 h 460721"/>
                    <a:gd name="connsiteX103" fmla="*/ 205698 w 607074"/>
                    <a:gd name="connsiteY103" fmla="*/ 203427 h 460721"/>
                    <a:gd name="connsiteX104" fmla="*/ 205698 w 607074"/>
                    <a:gd name="connsiteY104" fmla="*/ 244416 h 460721"/>
                    <a:gd name="connsiteX105" fmla="*/ 176798 w 607074"/>
                    <a:gd name="connsiteY105" fmla="*/ 244416 h 460721"/>
                    <a:gd name="connsiteX106" fmla="*/ 153503 w 607074"/>
                    <a:gd name="connsiteY106" fmla="*/ 267739 h 460721"/>
                    <a:gd name="connsiteX107" fmla="*/ 153503 w 607074"/>
                    <a:gd name="connsiteY107" fmla="*/ 365461 h 460721"/>
                    <a:gd name="connsiteX108" fmla="*/ 103002 w 607074"/>
                    <a:gd name="connsiteY108" fmla="*/ 417295 h 460721"/>
                    <a:gd name="connsiteX109" fmla="*/ 62484 w 607074"/>
                    <a:gd name="connsiteY109" fmla="*/ 423767 h 460721"/>
                    <a:gd name="connsiteX110" fmla="*/ 32942 w 607074"/>
                    <a:gd name="connsiteY110" fmla="*/ 384352 h 460721"/>
                    <a:gd name="connsiteX111" fmla="*/ 32942 w 607074"/>
                    <a:gd name="connsiteY111" fmla="*/ 380562 h 460721"/>
                    <a:gd name="connsiteX112" fmla="*/ 32942 w 607074"/>
                    <a:gd name="connsiteY112" fmla="*/ 379571 h 460721"/>
                    <a:gd name="connsiteX113" fmla="*/ 33409 w 607074"/>
                    <a:gd name="connsiteY113" fmla="*/ 192523 h 460721"/>
                    <a:gd name="connsiteX114" fmla="*/ 72409 w 607074"/>
                    <a:gd name="connsiteY114" fmla="*/ 153691 h 460721"/>
                    <a:gd name="connsiteX115" fmla="*/ 121283 w 607074"/>
                    <a:gd name="connsiteY115" fmla="*/ 64466 h 460721"/>
                    <a:gd name="connsiteX116" fmla="*/ 121283 w 607074"/>
                    <a:gd name="connsiteY116" fmla="*/ 125918 h 460721"/>
                    <a:gd name="connsiteX117" fmla="*/ 152052 w 607074"/>
                    <a:gd name="connsiteY117" fmla="*/ 95192 h 460721"/>
                    <a:gd name="connsiteX118" fmla="*/ 121283 w 607074"/>
                    <a:gd name="connsiteY118" fmla="*/ 64466 h 460721"/>
                    <a:gd name="connsiteX119" fmla="*/ 34930 w 607074"/>
                    <a:gd name="connsiteY119" fmla="*/ 45867 h 460721"/>
                    <a:gd name="connsiteX120" fmla="*/ 121283 w 607074"/>
                    <a:gd name="connsiteY120" fmla="*/ 45867 h 460721"/>
                    <a:gd name="connsiteX121" fmla="*/ 121283 w 607074"/>
                    <a:gd name="connsiteY121" fmla="*/ 52047 h 460721"/>
                    <a:gd name="connsiteX122" fmla="*/ 164488 w 607074"/>
                    <a:gd name="connsiteY122" fmla="*/ 95192 h 460721"/>
                    <a:gd name="connsiteX123" fmla="*/ 121283 w 607074"/>
                    <a:gd name="connsiteY123" fmla="*/ 138278 h 460721"/>
                    <a:gd name="connsiteX124" fmla="*/ 121283 w 607074"/>
                    <a:gd name="connsiteY124" fmla="*/ 144517 h 460721"/>
                    <a:gd name="connsiteX125" fmla="*/ 34930 w 607074"/>
                    <a:gd name="connsiteY125" fmla="*/ 144517 h 460721"/>
                    <a:gd name="connsiteX126" fmla="*/ 303537 w 607074"/>
                    <a:gd name="connsiteY126" fmla="*/ 0 h 460721"/>
                    <a:gd name="connsiteX127" fmla="*/ 406739 w 607074"/>
                    <a:gd name="connsiteY127" fmla="*/ 103026 h 460721"/>
                    <a:gd name="connsiteX128" fmla="*/ 303537 w 607074"/>
                    <a:gd name="connsiteY128" fmla="*/ 206052 h 460721"/>
                    <a:gd name="connsiteX129" fmla="*/ 200335 w 607074"/>
                    <a:gd name="connsiteY129" fmla="*/ 103026 h 460721"/>
                    <a:gd name="connsiteX130" fmla="*/ 303537 w 607074"/>
                    <a:gd name="connsiteY130" fmla="*/ 0 h 4607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</a:cxnLst>
                  <a:rect l="l" t="t" r="r" b="b"/>
                  <a:pathLst>
                    <a:path w="607074" h="460721">
                      <a:moveTo>
                        <a:pt x="303008" y="220799"/>
                      </a:moveTo>
                      <a:lnTo>
                        <a:pt x="325871" y="243592"/>
                      </a:lnTo>
                      <a:lnTo>
                        <a:pt x="280145" y="243592"/>
                      </a:lnTo>
                      <a:close/>
                      <a:moveTo>
                        <a:pt x="401290" y="203510"/>
                      </a:moveTo>
                      <a:cubicBezTo>
                        <a:pt x="412444" y="204035"/>
                        <a:pt x="423305" y="208932"/>
                        <a:pt x="431072" y="218026"/>
                      </a:cubicBezTo>
                      <a:lnTo>
                        <a:pt x="564154" y="373624"/>
                      </a:lnTo>
                      <a:cubicBezTo>
                        <a:pt x="564212" y="373682"/>
                        <a:pt x="564329" y="373799"/>
                        <a:pt x="564388" y="373857"/>
                      </a:cubicBezTo>
                      <a:cubicBezTo>
                        <a:pt x="564621" y="374207"/>
                        <a:pt x="564913" y="374498"/>
                        <a:pt x="565147" y="374848"/>
                      </a:cubicBezTo>
                      <a:cubicBezTo>
                        <a:pt x="565322" y="375023"/>
                        <a:pt x="565497" y="375256"/>
                        <a:pt x="565672" y="375489"/>
                      </a:cubicBezTo>
                      <a:cubicBezTo>
                        <a:pt x="565906" y="375839"/>
                        <a:pt x="566139" y="376131"/>
                        <a:pt x="566373" y="376481"/>
                      </a:cubicBezTo>
                      <a:cubicBezTo>
                        <a:pt x="566548" y="376714"/>
                        <a:pt x="566723" y="376947"/>
                        <a:pt x="566898" y="377180"/>
                      </a:cubicBezTo>
                      <a:cubicBezTo>
                        <a:pt x="567132" y="377472"/>
                        <a:pt x="567307" y="377821"/>
                        <a:pt x="567541" y="378171"/>
                      </a:cubicBezTo>
                      <a:cubicBezTo>
                        <a:pt x="567716" y="378404"/>
                        <a:pt x="567891" y="378638"/>
                        <a:pt x="568008" y="378929"/>
                      </a:cubicBezTo>
                      <a:cubicBezTo>
                        <a:pt x="568183" y="379221"/>
                        <a:pt x="568417" y="379512"/>
                        <a:pt x="568592" y="379862"/>
                      </a:cubicBezTo>
                      <a:cubicBezTo>
                        <a:pt x="568709" y="380153"/>
                        <a:pt x="568884" y="380387"/>
                        <a:pt x="569059" y="380678"/>
                      </a:cubicBezTo>
                      <a:cubicBezTo>
                        <a:pt x="569234" y="380970"/>
                        <a:pt x="569351" y="381319"/>
                        <a:pt x="569526" y="381611"/>
                      </a:cubicBezTo>
                      <a:cubicBezTo>
                        <a:pt x="569701" y="381902"/>
                        <a:pt x="569818" y="382194"/>
                        <a:pt x="569993" y="382485"/>
                      </a:cubicBezTo>
                      <a:cubicBezTo>
                        <a:pt x="570169" y="382835"/>
                        <a:pt x="570285" y="383127"/>
                        <a:pt x="570402" y="383476"/>
                      </a:cubicBezTo>
                      <a:cubicBezTo>
                        <a:pt x="570577" y="383768"/>
                        <a:pt x="570694" y="384059"/>
                        <a:pt x="570811" y="384351"/>
                      </a:cubicBezTo>
                      <a:cubicBezTo>
                        <a:pt x="570986" y="384701"/>
                        <a:pt x="571103" y="384992"/>
                        <a:pt x="571220" y="385342"/>
                      </a:cubicBezTo>
                      <a:cubicBezTo>
                        <a:pt x="571337" y="385633"/>
                        <a:pt x="571453" y="385925"/>
                        <a:pt x="571570" y="386216"/>
                      </a:cubicBezTo>
                      <a:cubicBezTo>
                        <a:pt x="571687" y="386566"/>
                        <a:pt x="571804" y="386974"/>
                        <a:pt x="571979" y="387324"/>
                      </a:cubicBezTo>
                      <a:cubicBezTo>
                        <a:pt x="572037" y="387557"/>
                        <a:pt x="572154" y="387849"/>
                        <a:pt x="572212" y="388140"/>
                      </a:cubicBezTo>
                      <a:cubicBezTo>
                        <a:pt x="572329" y="388490"/>
                        <a:pt x="572446" y="388898"/>
                        <a:pt x="572563" y="389248"/>
                      </a:cubicBezTo>
                      <a:cubicBezTo>
                        <a:pt x="572621" y="389539"/>
                        <a:pt x="572738" y="389831"/>
                        <a:pt x="572796" y="390122"/>
                      </a:cubicBezTo>
                      <a:cubicBezTo>
                        <a:pt x="572913" y="390472"/>
                        <a:pt x="572972" y="390822"/>
                        <a:pt x="573088" y="391230"/>
                      </a:cubicBezTo>
                      <a:cubicBezTo>
                        <a:pt x="573147" y="391521"/>
                        <a:pt x="573205" y="391813"/>
                        <a:pt x="573264" y="392104"/>
                      </a:cubicBezTo>
                      <a:cubicBezTo>
                        <a:pt x="573322" y="392454"/>
                        <a:pt x="573380" y="392804"/>
                        <a:pt x="573439" y="393154"/>
                      </a:cubicBezTo>
                      <a:cubicBezTo>
                        <a:pt x="573497" y="393445"/>
                        <a:pt x="573614" y="393795"/>
                        <a:pt x="573614" y="394087"/>
                      </a:cubicBezTo>
                      <a:cubicBezTo>
                        <a:pt x="573672" y="394436"/>
                        <a:pt x="573731" y="394786"/>
                        <a:pt x="573789" y="395078"/>
                      </a:cubicBezTo>
                      <a:cubicBezTo>
                        <a:pt x="573847" y="395427"/>
                        <a:pt x="573847" y="395777"/>
                        <a:pt x="573906" y="396185"/>
                      </a:cubicBezTo>
                      <a:cubicBezTo>
                        <a:pt x="573964" y="396477"/>
                        <a:pt x="573964" y="396768"/>
                        <a:pt x="573964" y="397060"/>
                      </a:cubicBezTo>
                      <a:cubicBezTo>
                        <a:pt x="574023" y="397468"/>
                        <a:pt x="574081" y="397876"/>
                        <a:pt x="574081" y="398226"/>
                      </a:cubicBezTo>
                      <a:cubicBezTo>
                        <a:pt x="574081" y="398517"/>
                        <a:pt x="574081" y="398809"/>
                        <a:pt x="574139" y="399159"/>
                      </a:cubicBezTo>
                      <a:cubicBezTo>
                        <a:pt x="574139" y="399508"/>
                        <a:pt x="574139" y="399916"/>
                        <a:pt x="574139" y="400324"/>
                      </a:cubicBezTo>
                      <a:cubicBezTo>
                        <a:pt x="574139" y="400441"/>
                        <a:pt x="574139" y="400558"/>
                        <a:pt x="574139" y="400674"/>
                      </a:cubicBezTo>
                      <a:cubicBezTo>
                        <a:pt x="574139" y="400849"/>
                        <a:pt x="574139" y="401082"/>
                        <a:pt x="574139" y="401257"/>
                      </a:cubicBezTo>
                      <a:cubicBezTo>
                        <a:pt x="574139" y="401607"/>
                        <a:pt x="574139" y="401957"/>
                        <a:pt x="574081" y="402365"/>
                      </a:cubicBezTo>
                      <a:cubicBezTo>
                        <a:pt x="574081" y="402715"/>
                        <a:pt x="574081" y="403064"/>
                        <a:pt x="574023" y="403414"/>
                      </a:cubicBezTo>
                      <a:cubicBezTo>
                        <a:pt x="574023" y="403706"/>
                        <a:pt x="574023" y="403997"/>
                        <a:pt x="573964" y="404289"/>
                      </a:cubicBezTo>
                      <a:cubicBezTo>
                        <a:pt x="573964" y="404697"/>
                        <a:pt x="573906" y="405163"/>
                        <a:pt x="573847" y="405571"/>
                      </a:cubicBezTo>
                      <a:cubicBezTo>
                        <a:pt x="573847" y="405804"/>
                        <a:pt x="573789" y="406038"/>
                        <a:pt x="573789" y="406271"/>
                      </a:cubicBezTo>
                      <a:cubicBezTo>
                        <a:pt x="573672" y="406737"/>
                        <a:pt x="573614" y="407145"/>
                        <a:pt x="573556" y="407612"/>
                      </a:cubicBezTo>
                      <a:cubicBezTo>
                        <a:pt x="573497" y="407787"/>
                        <a:pt x="573497" y="407962"/>
                        <a:pt x="573439" y="408136"/>
                      </a:cubicBezTo>
                      <a:cubicBezTo>
                        <a:pt x="573380" y="408661"/>
                        <a:pt x="573264" y="409186"/>
                        <a:pt x="573147" y="409652"/>
                      </a:cubicBezTo>
                      <a:cubicBezTo>
                        <a:pt x="573147" y="409827"/>
                        <a:pt x="573088" y="409944"/>
                        <a:pt x="573030" y="410060"/>
                      </a:cubicBezTo>
                      <a:cubicBezTo>
                        <a:pt x="572913" y="410585"/>
                        <a:pt x="572796" y="411110"/>
                        <a:pt x="572680" y="411634"/>
                      </a:cubicBezTo>
                      <a:cubicBezTo>
                        <a:pt x="572621" y="411751"/>
                        <a:pt x="572621" y="411867"/>
                        <a:pt x="572563" y="412042"/>
                      </a:cubicBezTo>
                      <a:cubicBezTo>
                        <a:pt x="572388" y="412509"/>
                        <a:pt x="572271" y="413033"/>
                        <a:pt x="572096" y="413500"/>
                      </a:cubicBezTo>
                      <a:cubicBezTo>
                        <a:pt x="572037" y="413675"/>
                        <a:pt x="571979" y="413850"/>
                        <a:pt x="571920" y="414025"/>
                      </a:cubicBezTo>
                      <a:cubicBezTo>
                        <a:pt x="571745" y="414491"/>
                        <a:pt x="571628" y="414957"/>
                        <a:pt x="571453" y="415365"/>
                      </a:cubicBezTo>
                      <a:cubicBezTo>
                        <a:pt x="571337" y="415599"/>
                        <a:pt x="571278" y="415832"/>
                        <a:pt x="571161" y="416007"/>
                      </a:cubicBezTo>
                      <a:cubicBezTo>
                        <a:pt x="571045" y="416415"/>
                        <a:pt x="570869" y="416823"/>
                        <a:pt x="570694" y="417173"/>
                      </a:cubicBezTo>
                      <a:cubicBezTo>
                        <a:pt x="570577" y="417464"/>
                        <a:pt x="570461" y="417756"/>
                        <a:pt x="570344" y="418047"/>
                      </a:cubicBezTo>
                      <a:cubicBezTo>
                        <a:pt x="570169" y="418339"/>
                        <a:pt x="570052" y="418688"/>
                        <a:pt x="569877" y="418980"/>
                      </a:cubicBezTo>
                      <a:cubicBezTo>
                        <a:pt x="569701" y="419330"/>
                        <a:pt x="569526" y="419621"/>
                        <a:pt x="569351" y="419971"/>
                      </a:cubicBezTo>
                      <a:cubicBezTo>
                        <a:pt x="569234" y="420204"/>
                        <a:pt x="569117" y="420496"/>
                        <a:pt x="569001" y="420729"/>
                      </a:cubicBezTo>
                      <a:cubicBezTo>
                        <a:pt x="568767" y="421079"/>
                        <a:pt x="568534" y="421487"/>
                        <a:pt x="568300" y="421836"/>
                      </a:cubicBezTo>
                      <a:cubicBezTo>
                        <a:pt x="568183" y="422070"/>
                        <a:pt x="568125" y="422245"/>
                        <a:pt x="568008" y="422419"/>
                      </a:cubicBezTo>
                      <a:cubicBezTo>
                        <a:pt x="567716" y="422828"/>
                        <a:pt x="567482" y="423236"/>
                        <a:pt x="567190" y="423644"/>
                      </a:cubicBezTo>
                      <a:cubicBezTo>
                        <a:pt x="567074" y="423760"/>
                        <a:pt x="567015" y="423935"/>
                        <a:pt x="566898" y="424052"/>
                      </a:cubicBezTo>
                      <a:cubicBezTo>
                        <a:pt x="566607" y="424460"/>
                        <a:pt x="566315" y="424868"/>
                        <a:pt x="566023" y="425276"/>
                      </a:cubicBezTo>
                      <a:cubicBezTo>
                        <a:pt x="565906" y="425451"/>
                        <a:pt x="565847" y="425568"/>
                        <a:pt x="565731" y="425742"/>
                      </a:cubicBezTo>
                      <a:cubicBezTo>
                        <a:pt x="565439" y="426092"/>
                        <a:pt x="565147" y="426442"/>
                        <a:pt x="564855" y="426850"/>
                      </a:cubicBezTo>
                      <a:cubicBezTo>
                        <a:pt x="564679" y="427025"/>
                        <a:pt x="564563" y="427200"/>
                        <a:pt x="564446" y="427316"/>
                      </a:cubicBezTo>
                      <a:cubicBezTo>
                        <a:pt x="564154" y="427666"/>
                        <a:pt x="563862" y="428016"/>
                        <a:pt x="563570" y="428308"/>
                      </a:cubicBezTo>
                      <a:cubicBezTo>
                        <a:pt x="563395" y="428541"/>
                        <a:pt x="563220" y="428716"/>
                        <a:pt x="563044" y="428891"/>
                      </a:cubicBezTo>
                      <a:cubicBezTo>
                        <a:pt x="562752" y="429182"/>
                        <a:pt x="562519" y="429473"/>
                        <a:pt x="562227" y="429765"/>
                      </a:cubicBezTo>
                      <a:cubicBezTo>
                        <a:pt x="561993" y="429998"/>
                        <a:pt x="561760" y="430231"/>
                        <a:pt x="561526" y="430465"/>
                      </a:cubicBezTo>
                      <a:cubicBezTo>
                        <a:pt x="561293" y="430698"/>
                        <a:pt x="561059" y="430931"/>
                        <a:pt x="560825" y="431106"/>
                      </a:cubicBezTo>
                      <a:cubicBezTo>
                        <a:pt x="560533" y="431397"/>
                        <a:pt x="560241" y="431689"/>
                        <a:pt x="559891" y="431922"/>
                      </a:cubicBezTo>
                      <a:cubicBezTo>
                        <a:pt x="559774" y="432039"/>
                        <a:pt x="559658" y="432155"/>
                        <a:pt x="559541" y="432272"/>
                      </a:cubicBezTo>
                      <a:cubicBezTo>
                        <a:pt x="559482" y="432330"/>
                        <a:pt x="559366" y="432388"/>
                        <a:pt x="559307" y="432447"/>
                      </a:cubicBezTo>
                      <a:cubicBezTo>
                        <a:pt x="558957" y="432738"/>
                        <a:pt x="558606" y="433030"/>
                        <a:pt x="558256" y="433321"/>
                      </a:cubicBezTo>
                      <a:cubicBezTo>
                        <a:pt x="558081" y="433438"/>
                        <a:pt x="557847" y="433613"/>
                        <a:pt x="557672" y="433788"/>
                      </a:cubicBezTo>
                      <a:cubicBezTo>
                        <a:pt x="557322" y="434021"/>
                        <a:pt x="556971" y="434254"/>
                        <a:pt x="556621" y="434545"/>
                      </a:cubicBezTo>
                      <a:cubicBezTo>
                        <a:pt x="556387" y="434662"/>
                        <a:pt x="556212" y="434837"/>
                        <a:pt x="555979" y="435012"/>
                      </a:cubicBezTo>
                      <a:cubicBezTo>
                        <a:pt x="555628" y="435245"/>
                        <a:pt x="555278" y="435420"/>
                        <a:pt x="554928" y="435653"/>
                      </a:cubicBezTo>
                      <a:cubicBezTo>
                        <a:pt x="554694" y="435828"/>
                        <a:pt x="554460" y="435945"/>
                        <a:pt x="554227" y="436119"/>
                      </a:cubicBezTo>
                      <a:cubicBezTo>
                        <a:pt x="553876" y="436294"/>
                        <a:pt x="553584" y="436528"/>
                        <a:pt x="553234" y="436702"/>
                      </a:cubicBezTo>
                      <a:cubicBezTo>
                        <a:pt x="553176" y="436702"/>
                        <a:pt x="553176" y="436761"/>
                        <a:pt x="553176" y="436761"/>
                      </a:cubicBezTo>
                      <a:lnTo>
                        <a:pt x="607074" y="436761"/>
                      </a:lnTo>
                      <a:lnTo>
                        <a:pt x="607074" y="460721"/>
                      </a:lnTo>
                      <a:lnTo>
                        <a:pt x="0" y="460721"/>
                      </a:lnTo>
                      <a:lnTo>
                        <a:pt x="0" y="436761"/>
                      </a:lnTo>
                      <a:lnTo>
                        <a:pt x="168353" y="436761"/>
                      </a:lnTo>
                      <a:cubicBezTo>
                        <a:pt x="165492" y="433788"/>
                        <a:pt x="163681" y="429765"/>
                        <a:pt x="163681" y="425334"/>
                      </a:cubicBezTo>
                      <a:lnTo>
                        <a:pt x="163681" y="271661"/>
                      </a:lnTo>
                      <a:cubicBezTo>
                        <a:pt x="163681" y="262566"/>
                        <a:pt x="171097" y="255221"/>
                        <a:pt x="180149" y="255221"/>
                      </a:cubicBezTo>
                      <a:lnTo>
                        <a:pt x="426926" y="255221"/>
                      </a:lnTo>
                      <a:cubicBezTo>
                        <a:pt x="435977" y="255221"/>
                        <a:pt x="443335" y="262566"/>
                        <a:pt x="443335" y="271661"/>
                      </a:cubicBezTo>
                      <a:lnTo>
                        <a:pt x="443335" y="425276"/>
                      </a:lnTo>
                      <a:cubicBezTo>
                        <a:pt x="443335" y="429765"/>
                        <a:pt x="441583" y="433788"/>
                        <a:pt x="438722" y="436761"/>
                      </a:cubicBezTo>
                      <a:lnTo>
                        <a:pt x="450693" y="436761"/>
                      </a:lnTo>
                      <a:cubicBezTo>
                        <a:pt x="452503" y="433438"/>
                        <a:pt x="453554" y="429590"/>
                        <a:pt x="453554" y="425568"/>
                      </a:cubicBezTo>
                      <a:lnTo>
                        <a:pt x="453554" y="267755"/>
                      </a:lnTo>
                      <a:cubicBezTo>
                        <a:pt x="453554" y="254871"/>
                        <a:pt x="443101" y="244435"/>
                        <a:pt x="430254" y="244435"/>
                      </a:cubicBezTo>
                      <a:lnTo>
                        <a:pt x="401290" y="244435"/>
                      </a:lnTo>
                      <a:close/>
                      <a:moveTo>
                        <a:pt x="72409" y="153691"/>
                      </a:moveTo>
                      <a:lnTo>
                        <a:pt x="81692" y="153750"/>
                      </a:lnTo>
                      <a:cubicBezTo>
                        <a:pt x="103177" y="153750"/>
                        <a:pt x="120575" y="171242"/>
                        <a:pt x="120575" y="192698"/>
                      </a:cubicBezTo>
                      <a:lnTo>
                        <a:pt x="120342" y="274269"/>
                      </a:lnTo>
                      <a:lnTo>
                        <a:pt x="177791" y="215205"/>
                      </a:lnTo>
                      <a:cubicBezTo>
                        <a:pt x="185439" y="207392"/>
                        <a:pt x="195598" y="203427"/>
                        <a:pt x="205698" y="203427"/>
                      </a:cubicBezTo>
                      <a:lnTo>
                        <a:pt x="205698" y="244416"/>
                      </a:lnTo>
                      <a:lnTo>
                        <a:pt x="176798" y="244416"/>
                      </a:lnTo>
                      <a:cubicBezTo>
                        <a:pt x="163954" y="244416"/>
                        <a:pt x="153503" y="254853"/>
                        <a:pt x="153503" y="267739"/>
                      </a:cubicBezTo>
                      <a:lnTo>
                        <a:pt x="153503" y="365461"/>
                      </a:lnTo>
                      <a:cubicBezTo>
                        <a:pt x="128457" y="391232"/>
                        <a:pt x="106855" y="413447"/>
                        <a:pt x="103002" y="417295"/>
                      </a:cubicBezTo>
                      <a:cubicBezTo>
                        <a:pt x="89398" y="430589"/>
                        <a:pt x="68439" y="426100"/>
                        <a:pt x="62484" y="423767"/>
                      </a:cubicBezTo>
                      <a:cubicBezTo>
                        <a:pt x="44502" y="416654"/>
                        <a:pt x="32883" y="403185"/>
                        <a:pt x="32942" y="384352"/>
                      </a:cubicBezTo>
                      <a:lnTo>
                        <a:pt x="32942" y="380562"/>
                      </a:lnTo>
                      <a:cubicBezTo>
                        <a:pt x="32942" y="380271"/>
                        <a:pt x="32942" y="379921"/>
                        <a:pt x="32942" y="379571"/>
                      </a:cubicBezTo>
                      <a:lnTo>
                        <a:pt x="33409" y="192523"/>
                      </a:lnTo>
                      <a:cubicBezTo>
                        <a:pt x="33467" y="171067"/>
                        <a:pt x="50924" y="153691"/>
                        <a:pt x="72409" y="153691"/>
                      </a:cubicBezTo>
                      <a:close/>
                      <a:moveTo>
                        <a:pt x="121283" y="64466"/>
                      </a:moveTo>
                      <a:lnTo>
                        <a:pt x="121283" y="125918"/>
                      </a:lnTo>
                      <a:cubicBezTo>
                        <a:pt x="138273" y="125918"/>
                        <a:pt x="152052" y="112158"/>
                        <a:pt x="152052" y="95192"/>
                      </a:cubicBezTo>
                      <a:cubicBezTo>
                        <a:pt x="152052" y="78225"/>
                        <a:pt x="138273" y="64466"/>
                        <a:pt x="121283" y="64466"/>
                      </a:cubicBezTo>
                      <a:close/>
                      <a:moveTo>
                        <a:pt x="34930" y="45867"/>
                      </a:moveTo>
                      <a:lnTo>
                        <a:pt x="121283" y="45867"/>
                      </a:lnTo>
                      <a:lnTo>
                        <a:pt x="121283" y="52047"/>
                      </a:lnTo>
                      <a:cubicBezTo>
                        <a:pt x="145163" y="52047"/>
                        <a:pt x="164488" y="71346"/>
                        <a:pt x="164488" y="95192"/>
                      </a:cubicBezTo>
                      <a:cubicBezTo>
                        <a:pt x="164488" y="118980"/>
                        <a:pt x="145163" y="138278"/>
                        <a:pt x="121283" y="138278"/>
                      </a:cubicBezTo>
                      <a:lnTo>
                        <a:pt x="121283" y="144517"/>
                      </a:lnTo>
                      <a:lnTo>
                        <a:pt x="34930" y="144517"/>
                      </a:lnTo>
                      <a:close/>
                      <a:moveTo>
                        <a:pt x="303537" y="0"/>
                      </a:moveTo>
                      <a:cubicBezTo>
                        <a:pt x="360534" y="0"/>
                        <a:pt x="406739" y="46126"/>
                        <a:pt x="406739" y="103026"/>
                      </a:cubicBezTo>
                      <a:cubicBezTo>
                        <a:pt x="406739" y="159926"/>
                        <a:pt x="360534" y="206052"/>
                        <a:pt x="303537" y="206052"/>
                      </a:cubicBezTo>
                      <a:cubicBezTo>
                        <a:pt x="246540" y="206052"/>
                        <a:pt x="200335" y="159926"/>
                        <a:pt x="200335" y="103026"/>
                      </a:cubicBezTo>
                      <a:cubicBezTo>
                        <a:pt x="200335" y="46126"/>
                        <a:pt x="246540" y="0"/>
                        <a:pt x="30353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4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07AEF6FB-E694-4F15-BB3B-6C37212AFA41}"/>
                </a:ext>
              </a:extLst>
            </p:cNvPr>
            <p:cNvGrpSpPr/>
            <p:nvPr/>
          </p:nvGrpSpPr>
          <p:grpSpPr>
            <a:xfrm>
              <a:off x="6456149" y="1893171"/>
              <a:ext cx="5062751" cy="460022"/>
              <a:chOff x="6456149" y="2113118"/>
              <a:chExt cx="5062751" cy="460022"/>
            </a:xfrm>
          </p:grpSpPr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5D84713B-45F9-470F-92F4-ED3870DB60AF}"/>
                  </a:ext>
                </a:extLst>
              </p:cNvPr>
              <p:cNvSpPr/>
              <p:nvPr/>
            </p:nvSpPr>
            <p:spPr bwMode="auto">
              <a:xfrm>
                <a:off x="7041762" y="2143074"/>
                <a:ext cx="4477138" cy="40011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171450" indent="-171450">
                  <a:lnSpc>
                    <a:spcPct val="120000"/>
                  </a:lnSpc>
                  <a:buFont typeface="Arial" panose="020B0604020202020204" pitchFamily="34" charset="0"/>
                  <a:buChar char="•"/>
                </a:pPr>
                <a:r>
                  <a:rPr lang="en-US" altLang="zh-CN" sz="1100" dirty="0">
                    <a:cs typeface="+mn-ea"/>
                    <a:sym typeface="+mn-lt"/>
                  </a:rPr>
                  <a:t>Copy paste fonts. Choose the only option to retain text……</a:t>
                </a:r>
              </a:p>
            </p:txBody>
          </p: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EE3FED1E-565C-410B-9972-90BCDCF7D0ED}"/>
                  </a:ext>
                </a:extLst>
              </p:cNvPr>
              <p:cNvGrpSpPr/>
              <p:nvPr/>
            </p:nvGrpSpPr>
            <p:grpSpPr>
              <a:xfrm>
                <a:off x="6456149" y="2113118"/>
                <a:ext cx="460022" cy="460022"/>
                <a:chOff x="6456149" y="2113118"/>
                <a:chExt cx="460022" cy="460022"/>
              </a:xfrm>
            </p:grpSpPr>
            <p:sp>
              <p:nvSpPr>
                <p:cNvPr id="24" name="椭圆 23">
                  <a:extLst>
                    <a:ext uri="{FF2B5EF4-FFF2-40B4-BE49-F238E27FC236}">
                      <a16:creationId xmlns:a16="http://schemas.microsoft.com/office/drawing/2014/main" id="{FC42A8CE-E264-4BA8-9721-E5BCBD799974}"/>
                    </a:ext>
                  </a:extLst>
                </p:cNvPr>
                <p:cNvSpPr/>
                <p:nvPr/>
              </p:nvSpPr>
              <p:spPr>
                <a:xfrm>
                  <a:off x="6456149" y="2113118"/>
                  <a:ext cx="460022" cy="460022"/>
                </a:xfrm>
                <a:prstGeom prst="ellipse">
                  <a:avLst/>
                </a:prstGeom>
                <a:solidFill>
                  <a:schemeClr val="accent1"/>
                </a:solidFill>
                <a:ln w="19050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ctr">
                  <a:normAutofit fontScale="77500" lnSpcReduction="20000"/>
                </a:bodyPr>
                <a:lstStyle/>
                <a:p>
                  <a:pPr algn="ctr"/>
                  <a:endParaRPr lang="zh-CN" altLang="en-US" sz="2400" b="1" i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5" name="任意多边形: 形状 24">
                  <a:extLst>
                    <a:ext uri="{FF2B5EF4-FFF2-40B4-BE49-F238E27FC236}">
                      <a16:creationId xmlns:a16="http://schemas.microsoft.com/office/drawing/2014/main" id="{131610A2-2E17-435C-8160-D2EB0D1225CF}"/>
                    </a:ext>
                  </a:extLst>
                </p:cNvPr>
                <p:cNvSpPr/>
                <p:nvPr/>
              </p:nvSpPr>
              <p:spPr bwMode="auto">
                <a:xfrm>
                  <a:off x="6578078" y="2216756"/>
                  <a:ext cx="216166" cy="252746"/>
                </a:xfrm>
                <a:custGeom>
                  <a:avLst/>
                  <a:gdLst>
                    <a:gd name="connsiteX0" fmla="*/ 309853 w 516072"/>
                    <a:gd name="connsiteY0" fmla="*/ 506697 h 603405"/>
                    <a:gd name="connsiteX1" fmla="*/ 326214 w 516072"/>
                    <a:gd name="connsiteY1" fmla="*/ 521096 h 603405"/>
                    <a:gd name="connsiteX2" fmla="*/ 311812 w 516072"/>
                    <a:gd name="connsiteY2" fmla="*/ 537454 h 603405"/>
                    <a:gd name="connsiteX3" fmla="*/ 164332 w 516072"/>
                    <a:gd name="connsiteY3" fmla="*/ 546670 h 603405"/>
                    <a:gd name="connsiteX4" fmla="*/ 163295 w 516072"/>
                    <a:gd name="connsiteY4" fmla="*/ 546670 h 603405"/>
                    <a:gd name="connsiteX5" fmla="*/ 147971 w 516072"/>
                    <a:gd name="connsiteY5" fmla="*/ 532270 h 603405"/>
                    <a:gd name="connsiteX6" fmla="*/ 162373 w 516072"/>
                    <a:gd name="connsiteY6" fmla="*/ 515913 h 603405"/>
                    <a:gd name="connsiteX7" fmla="*/ 300609 w 516072"/>
                    <a:gd name="connsiteY7" fmla="*/ 444361 h 603405"/>
                    <a:gd name="connsiteX8" fmla="*/ 316970 w 516072"/>
                    <a:gd name="connsiteY8" fmla="*/ 458620 h 603405"/>
                    <a:gd name="connsiteX9" fmla="*/ 302568 w 516072"/>
                    <a:gd name="connsiteY9" fmla="*/ 474949 h 603405"/>
                    <a:gd name="connsiteX10" fmla="*/ 155088 w 516072"/>
                    <a:gd name="connsiteY10" fmla="*/ 484149 h 603405"/>
                    <a:gd name="connsiteX11" fmla="*/ 154051 w 516072"/>
                    <a:gd name="connsiteY11" fmla="*/ 484149 h 603405"/>
                    <a:gd name="connsiteX12" fmla="*/ 138727 w 516072"/>
                    <a:gd name="connsiteY12" fmla="*/ 469775 h 603405"/>
                    <a:gd name="connsiteX13" fmla="*/ 153129 w 516072"/>
                    <a:gd name="connsiteY13" fmla="*/ 453561 h 603405"/>
                    <a:gd name="connsiteX14" fmla="*/ 409511 w 516072"/>
                    <a:gd name="connsiteY14" fmla="*/ 410322 h 603405"/>
                    <a:gd name="connsiteX15" fmla="*/ 401791 w 516072"/>
                    <a:gd name="connsiteY15" fmla="*/ 472344 h 603405"/>
                    <a:gd name="connsiteX16" fmla="*/ 425067 w 516072"/>
                    <a:gd name="connsiteY16" fmla="*/ 451516 h 603405"/>
                    <a:gd name="connsiteX17" fmla="*/ 409511 w 516072"/>
                    <a:gd name="connsiteY17" fmla="*/ 410322 h 603405"/>
                    <a:gd name="connsiteX18" fmla="*/ 228508 w 516072"/>
                    <a:gd name="connsiteY18" fmla="*/ 375201 h 603405"/>
                    <a:gd name="connsiteX19" fmla="*/ 218716 w 516072"/>
                    <a:gd name="connsiteY19" fmla="*/ 376007 h 603405"/>
                    <a:gd name="connsiteX20" fmla="*/ 229314 w 516072"/>
                    <a:gd name="connsiteY20" fmla="*/ 402806 h 603405"/>
                    <a:gd name="connsiteX21" fmla="*/ 238991 w 516072"/>
                    <a:gd name="connsiteY21" fmla="*/ 402001 h 603405"/>
                    <a:gd name="connsiteX22" fmla="*/ 242677 w 516072"/>
                    <a:gd name="connsiteY22" fmla="*/ 400160 h 603405"/>
                    <a:gd name="connsiteX23" fmla="*/ 242908 w 516072"/>
                    <a:gd name="connsiteY23" fmla="*/ 396480 h 603405"/>
                    <a:gd name="connsiteX24" fmla="*/ 236341 w 516072"/>
                    <a:gd name="connsiteY24" fmla="*/ 379802 h 603405"/>
                    <a:gd name="connsiteX25" fmla="*/ 233231 w 516072"/>
                    <a:gd name="connsiteY25" fmla="*/ 376352 h 603405"/>
                    <a:gd name="connsiteX26" fmla="*/ 228508 w 516072"/>
                    <a:gd name="connsiteY26" fmla="*/ 375201 h 603405"/>
                    <a:gd name="connsiteX27" fmla="*/ 150356 w 516072"/>
                    <a:gd name="connsiteY27" fmla="*/ 340362 h 603405"/>
                    <a:gd name="connsiteX28" fmla="*/ 145631 w 516072"/>
                    <a:gd name="connsiteY28" fmla="*/ 342778 h 603405"/>
                    <a:gd name="connsiteX29" fmla="*/ 145286 w 516072"/>
                    <a:gd name="connsiteY29" fmla="*/ 347727 h 603405"/>
                    <a:gd name="connsiteX30" fmla="*/ 166258 w 516072"/>
                    <a:gd name="connsiteY30" fmla="*/ 401128 h 603405"/>
                    <a:gd name="connsiteX31" fmla="*/ 170407 w 516072"/>
                    <a:gd name="connsiteY31" fmla="*/ 405616 h 603405"/>
                    <a:gd name="connsiteX32" fmla="*/ 176629 w 516072"/>
                    <a:gd name="connsiteY32" fmla="*/ 407112 h 603405"/>
                    <a:gd name="connsiteX33" fmla="*/ 181354 w 516072"/>
                    <a:gd name="connsiteY33" fmla="*/ 404696 h 603405"/>
                    <a:gd name="connsiteX34" fmla="*/ 181815 w 516072"/>
                    <a:gd name="connsiteY34" fmla="*/ 399747 h 603405"/>
                    <a:gd name="connsiteX35" fmla="*/ 160727 w 516072"/>
                    <a:gd name="connsiteY35" fmla="*/ 346461 h 603405"/>
                    <a:gd name="connsiteX36" fmla="*/ 156579 w 516072"/>
                    <a:gd name="connsiteY36" fmla="*/ 341858 h 603405"/>
                    <a:gd name="connsiteX37" fmla="*/ 150356 w 516072"/>
                    <a:gd name="connsiteY37" fmla="*/ 340362 h 603405"/>
                    <a:gd name="connsiteX38" fmla="*/ 212726 w 516072"/>
                    <a:gd name="connsiteY38" fmla="*/ 335175 h 603405"/>
                    <a:gd name="connsiteX39" fmla="*/ 202934 w 516072"/>
                    <a:gd name="connsiteY39" fmla="*/ 335980 h 603405"/>
                    <a:gd name="connsiteX40" fmla="*/ 213532 w 516072"/>
                    <a:gd name="connsiteY40" fmla="*/ 362895 h 603405"/>
                    <a:gd name="connsiteX41" fmla="*/ 223209 w 516072"/>
                    <a:gd name="connsiteY41" fmla="*/ 362089 h 603405"/>
                    <a:gd name="connsiteX42" fmla="*/ 226895 w 516072"/>
                    <a:gd name="connsiteY42" fmla="*/ 360249 h 603405"/>
                    <a:gd name="connsiteX43" fmla="*/ 227125 w 516072"/>
                    <a:gd name="connsiteY43" fmla="*/ 356454 h 603405"/>
                    <a:gd name="connsiteX44" fmla="*/ 220559 w 516072"/>
                    <a:gd name="connsiteY44" fmla="*/ 339776 h 603405"/>
                    <a:gd name="connsiteX45" fmla="*/ 217449 w 516072"/>
                    <a:gd name="connsiteY45" fmla="*/ 336325 h 603405"/>
                    <a:gd name="connsiteX46" fmla="*/ 212726 w 516072"/>
                    <a:gd name="connsiteY46" fmla="*/ 335175 h 603405"/>
                    <a:gd name="connsiteX47" fmla="*/ 145055 w 516072"/>
                    <a:gd name="connsiteY47" fmla="*/ 327011 h 603405"/>
                    <a:gd name="connsiteX48" fmla="*/ 163838 w 516072"/>
                    <a:gd name="connsiteY48" fmla="*/ 331500 h 603405"/>
                    <a:gd name="connsiteX49" fmla="*/ 176168 w 516072"/>
                    <a:gd name="connsiteY49" fmla="*/ 345195 h 603405"/>
                    <a:gd name="connsiteX50" fmla="*/ 197256 w 516072"/>
                    <a:gd name="connsiteY50" fmla="*/ 398481 h 603405"/>
                    <a:gd name="connsiteX51" fmla="*/ 195989 w 516072"/>
                    <a:gd name="connsiteY51" fmla="*/ 413212 h 603405"/>
                    <a:gd name="connsiteX52" fmla="*/ 181930 w 516072"/>
                    <a:gd name="connsiteY52" fmla="*/ 420463 h 603405"/>
                    <a:gd name="connsiteX53" fmla="*/ 163147 w 516072"/>
                    <a:gd name="connsiteY53" fmla="*/ 415974 h 603405"/>
                    <a:gd name="connsiteX54" fmla="*/ 150702 w 516072"/>
                    <a:gd name="connsiteY54" fmla="*/ 402394 h 603405"/>
                    <a:gd name="connsiteX55" fmla="*/ 129729 w 516072"/>
                    <a:gd name="connsiteY55" fmla="*/ 348993 h 603405"/>
                    <a:gd name="connsiteX56" fmla="*/ 130882 w 516072"/>
                    <a:gd name="connsiteY56" fmla="*/ 334262 h 603405"/>
                    <a:gd name="connsiteX57" fmla="*/ 145055 w 516072"/>
                    <a:gd name="connsiteY57" fmla="*/ 327011 h 603405"/>
                    <a:gd name="connsiteX58" fmla="*/ 213417 w 516072"/>
                    <a:gd name="connsiteY58" fmla="*/ 321488 h 603405"/>
                    <a:gd name="connsiteX59" fmla="*/ 225743 w 516072"/>
                    <a:gd name="connsiteY59" fmla="*/ 324479 h 603405"/>
                    <a:gd name="connsiteX60" fmla="*/ 234037 w 516072"/>
                    <a:gd name="connsiteY60" fmla="*/ 333565 h 603405"/>
                    <a:gd name="connsiteX61" fmla="*/ 245096 w 516072"/>
                    <a:gd name="connsiteY61" fmla="*/ 361859 h 603405"/>
                    <a:gd name="connsiteX62" fmla="*/ 244866 w 516072"/>
                    <a:gd name="connsiteY62" fmla="*/ 365425 h 603405"/>
                    <a:gd name="connsiteX63" fmla="*/ 241295 w 516072"/>
                    <a:gd name="connsiteY63" fmla="*/ 367265 h 603405"/>
                    <a:gd name="connsiteX64" fmla="*/ 241410 w 516072"/>
                    <a:gd name="connsiteY64" fmla="*/ 367380 h 603405"/>
                    <a:gd name="connsiteX65" fmla="*/ 246018 w 516072"/>
                    <a:gd name="connsiteY65" fmla="*/ 368530 h 603405"/>
                    <a:gd name="connsiteX66" fmla="*/ 249129 w 516072"/>
                    <a:gd name="connsiteY66" fmla="*/ 371866 h 603405"/>
                    <a:gd name="connsiteX67" fmla="*/ 260303 w 516072"/>
                    <a:gd name="connsiteY67" fmla="*/ 400275 h 603405"/>
                    <a:gd name="connsiteX68" fmla="*/ 259496 w 516072"/>
                    <a:gd name="connsiteY68" fmla="*/ 409937 h 603405"/>
                    <a:gd name="connsiteX69" fmla="*/ 250165 w 516072"/>
                    <a:gd name="connsiteY69" fmla="*/ 414768 h 603405"/>
                    <a:gd name="connsiteX70" fmla="*/ 223439 w 516072"/>
                    <a:gd name="connsiteY70" fmla="*/ 416953 h 603405"/>
                    <a:gd name="connsiteX71" fmla="*/ 217679 w 516072"/>
                    <a:gd name="connsiteY71" fmla="*/ 413617 h 603405"/>
                    <a:gd name="connsiteX72" fmla="*/ 183811 w 516072"/>
                    <a:gd name="connsiteY72" fmla="*/ 327814 h 603405"/>
                    <a:gd name="connsiteX73" fmla="*/ 186576 w 516072"/>
                    <a:gd name="connsiteY73" fmla="*/ 323673 h 603405"/>
                    <a:gd name="connsiteX74" fmla="*/ 263606 w 516072"/>
                    <a:gd name="connsiteY74" fmla="*/ 317202 h 603405"/>
                    <a:gd name="connsiteX75" fmla="*/ 282389 w 516072"/>
                    <a:gd name="connsiteY75" fmla="*/ 321691 h 603405"/>
                    <a:gd name="connsiteX76" fmla="*/ 294834 w 516072"/>
                    <a:gd name="connsiteY76" fmla="*/ 335386 h 603405"/>
                    <a:gd name="connsiteX77" fmla="*/ 295987 w 516072"/>
                    <a:gd name="connsiteY77" fmla="*/ 338264 h 603405"/>
                    <a:gd name="connsiteX78" fmla="*/ 293106 w 516072"/>
                    <a:gd name="connsiteY78" fmla="*/ 342292 h 603405"/>
                    <a:gd name="connsiteX79" fmla="*/ 286192 w 516072"/>
                    <a:gd name="connsiteY79" fmla="*/ 342867 h 603405"/>
                    <a:gd name="connsiteX80" fmla="*/ 280430 w 516072"/>
                    <a:gd name="connsiteY80" fmla="*/ 339529 h 603405"/>
                    <a:gd name="connsiteX81" fmla="*/ 279278 w 516072"/>
                    <a:gd name="connsiteY81" fmla="*/ 336652 h 603405"/>
                    <a:gd name="connsiteX82" fmla="*/ 275129 w 516072"/>
                    <a:gd name="connsiteY82" fmla="*/ 332049 h 603405"/>
                    <a:gd name="connsiteX83" fmla="*/ 268907 w 516072"/>
                    <a:gd name="connsiteY83" fmla="*/ 330553 h 603405"/>
                    <a:gd name="connsiteX84" fmla="*/ 264182 w 516072"/>
                    <a:gd name="connsiteY84" fmla="*/ 332969 h 603405"/>
                    <a:gd name="connsiteX85" fmla="*/ 263721 w 516072"/>
                    <a:gd name="connsiteY85" fmla="*/ 337918 h 603405"/>
                    <a:gd name="connsiteX86" fmla="*/ 269022 w 516072"/>
                    <a:gd name="connsiteY86" fmla="*/ 351153 h 603405"/>
                    <a:gd name="connsiteX87" fmla="*/ 273170 w 516072"/>
                    <a:gd name="connsiteY87" fmla="*/ 355757 h 603405"/>
                    <a:gd name="connsiteX88" fmla="*/ 279393 w 516072"/>
                    <a:gd name="connsiteY88" fmla="*/ 357253 h 603405"/>
                    <a:gd name="connsiteX89" fmla="*/ 299328 w 516072"/>
                    <a:gd name="connsiteY89" fmla="*/ 362432 h 603405"/>
                    <a:gd name="connsiteX90" fmla="*/ 310621 w 516072"/>
                    <a:gd name="connsiteY90" fmla="*/ 375322 h 603405"/>
                    <a:gd name="connsiteX91" fmla="*/ 315807 w 516072"/>
                    <a:gd name="connsiteY91" fmla="*/ 388672 h 603405"/>
                    <a:gd name="connsiteX92" fmla="*/ 314539 w 516072"/>
                    <a:gd name="connsiteY92" fmla="*/ 403403 h 603405"/>
                    <a:gd name="connsiteX93" fmla="*/ 300481 w 516072"/>
                    <a:gd name="connsiteY93" fmla="*/ 410654 h 603405"/>
                    <a:gd name="connsiteX94" fmla="*/ 281698 w 516072"/>
                    <a:gd name="connsiteY94" fmla="*/ 406165 h 603405"/>
                    <a:gd name="connsiteX95" fmla="*/ 269252 w 516072"/>
                    <a:gd name="connsiteY95" fmla="*/ 392585 h 603405"/>
                    <a:gd name="connsiteX96" fmla="*/ 268100 w 516072"/>
                    <a:gd name="connsiteY96" fmla="*/ 389593 h 603405"/>
                    <a:gd name="connsiteX97" fmla="*/ 270866 w 516072"/>
                    <a:gd name="connsiteY97" fmla="*/ 385449 h 603405"/>
                    <a:gd name="connsiteX98" fmla="*/ 277780 w 516072"/>
                    <a:gd name="connsiteY98" fmla="*/ 384874 h 603405"/>
                    <a:gd name="connsiteX99" fmla="*/ 283541 w 516072"/>
                    <a:gd name="connsiteY99" fmla="*/ 388212 h 603405"/>
                    <a:gd name="connsiteX100" fmla="*/ 284809 w 516072"/>
                    <a:gd name="connsiteY100" fmla="*/ 391319 h 603405"/>
                    <a:gd name="connsiteX101" fmla="*/ 288957 w 516072"/>
                    <a:gd name="connsiteY101" fmla="*/ 395807 h 603405"/>
                    <a:gd name="connsiteX102" fmla="*/ 295180 w 516072"/>
                    <a:gd name="connsiteY102" fmla="*/ 397303 h 603405"/>
                    <a:gd name="connsiteX103" fmla="*/ 299905 w 516072"/>
                    <a:gd name="connsiteY103" fmla="*/ 394887 h 603405"/>
                    <a:gd name="connsiteX104" fmla="*/ 300250 w 516072"/>
                    <a:gd name="connsiteY104" fmla="*/ 389938 h 603405"/>
                    <a:gd name="connsiteX105" fmla="*/ 295065 w 516072"/>
                    <a:gd name="connsiteY105" fmla="*/ 376588 h 603405"/>
                    <a:gd name="connsiteX106" fmla="*/ 290916 w 516072"/>
                    <a:gd name="connsiteY106" fmla="*/ 372099 h 603405"/>
                    <a:gd name="connsiteX107" fmla="*/ 284694 w 516072"/>
                    <a:gd name="connsiteY107" fmla="*/ 370603 h 603405"/>
                    <a:gd name="connsiteX108" fmla="*/ 264643 w 516072"/>
                    <a:gd name="connsiteY108" fmla="*/ 365424 h 603405"/>
                    <a:gd name="connsiteX109" fmla="*/ 253465 w 516072"/>
                    <a:gd name="connsiteY109" fmla="*/ 352534 h 603405"/>
                    <a:gd name="connsiteX110" fmla="*/ 248164 w 516072"/>
                    <a:gd name="connsiteY110" fmla="*/ 339184 h 603405"/>
                    <a:gd name="connsiteX111" fmla="*/ 249432 w 516072"/>
                    <a:gd name="connsiteY111" fmla="*/ 324453 h 603405"/>
                    <a:gd name="connsiteX112" fmla="*/ 263606 w 516072"/>
                    <a:gd name="connsiteY112" fmla="*/ 317202 h 603405"/>
                    <a:gd name="connsiteX113" fmla="*/ 320670 w 516072"/>
                    <a:gd name="connsiteY113" fmla="*/ 288927 h 603405"/>
                    <a:gd name="connsiteX114" fmla="*/ 26837 w 516072"/>
                    <a:gd name="connsiteY114" fmla="*/ 313206 h 603405"/>
                    <a:gd name="connsiteX115" fmla="*/ 69010 w 516072"/>
                    <a:gd name="connsiteY115" fmla="*/ 398701 h 603405"/>
                    <a:gd name="connsiteX116" fmla="*/ 109340 w 516072"/>
                    <a:gd name="connsiteY116" fmla="*/ 411473 h 603405"/>
                    <a:gd name="connsiteX117" fmla="*/ 110377 w 516072"/>
                    <a:gd name="connsiteY117" fmla="*/ 413429 h 603405"/>
                    <a:gd name="connsiteX118" fmla="*/ 112797 w 516072"/>
                    <a:gd name="connsiteY118" fmla="*/ 412279 h 603405"/>
                    <a:gd name="connsiteX119" fmla="*/ 116139 w 516072"/>
                    <a:gd name="connsiteY119" fmla="*/ 412048 h 603405"/>
                    <a:gd name="connsiteX120" fmla="*/ 120978 w 516072"/>
                    <a:gd name="connsiteY120" fmla="*/ 409632 h 603405"/>
                    <a:gd name="connsiteX121" fmla="*/ 121324 w 516072"/>
                    <a:gd name="connsiteY121" fmla="*/ 404799 h 603405"/>
                    <a:gd name="connsiteX122" fmla="*/ 93900 w 516072"/>
                    <a:gd name="connsiteY122" fmla="*/ 335069 h 603405"/>
                    <a:gd name="connsiteX123" fmla="*/ 96780 w 516072"/>
                    <a:gd name="connsiteY123" fmla="*/ 331041 h 603405"/>
                    <a:gd name="connsiteX124" fmla="*/ 103694 w 516072"/>
                    <a:gd name="connsiteY124" fmla="*/ 330466 h 603405"/>
                    <a:gd name="connsiteX125" fmla="*/ 109456 w 516072"/>
                    <a:gd name="connsiteY125" fmla="*/ 333803 h 603405"/>
                    <a:gd name="connsiteX126" fmla="*/ 139530 w 516072"/>
                    <a:gd name="connsiteY126" fmla="*/ 410092 h 603405"/>
                    <a:gd name="connsiteX127" fmla="*/ 138608 w 516072"/>
                    <a:gd name="connsiteY127" fmla="*/ 419873 h 603405"/>
                    <a:gd name="connsiteX128" fmla="*/ 129275 w 516072"/>
                    <a:gd name="connsiteY128" fmla="*/ 424706 h 603405"/>
                    <a:gd name="connsiteX129" fmla="*/ 117982 w 516072"/>
                    <a:gd name="connsiteY129" fmla="*/ 425741 h 603405"/>
                    <a:gd name="connsiteX130" fmla="*/ 114641 w 516072"/>
                    <a:gd name="connsiteY130" fmla="*/ 424821 h 603405"/>
                    <a:gd name="connsiteX131" fmla="*/ 95743 w 516072"/>
                    <a:gd name="connsiteY131" fmla="*/ 475220 h 603405"/>
                    <a:gd name="connsiteX132" fmla="*/ 108073 w 516072"/>
                    <a:gd name="connsiteY132" fmla="*/ 582693 h 603405"/>
                    <a:gd name="connsiteX133" fmla="*/ 390844 w 516072"/>
                    <a:gd name="connsiteY133" fmla="*/ 571647 h 603405"/>
                    <a:gd name="connsiteX134" fmla="*/ 389577 w 516072"/>
                    <a:gd name="connsiteY134" fmla="*/ 545181 h 603405"/>
                    <a:gd name="connsiteX135" fmla="*/ 383009 w 516072"/>
                    <a:gd name="connsiteY135" fmla="*/ 494667 h 603405"/>
                    <a:gd name="connsiteX136" fmla="*/ 320670 w 516072"/>
                    <a:gd name="connsiteY136" fmla="*/ 288927 h 603405"/>
                    <a:gd name="connsiteX137" fmla="*/ 263171 w 516072"/>
                    <a:gd name="connsiteY137" fmla="*/ 241404 h 603405"/>
                    <a:gd name="connsiteX138" fmla="*/ 292900 w 516072"/>
                    <a:gd name="connsiteY138" fmla="*/ 270861 h 603405"/>
                    <a:gd name="connsiteX139" fmla="*/ 310415 w 516072"/>
                    <a:gd name="connsiteY139" fmla="*/ 269365 h 603405"/>
                    <a:gd name="connsiteX140" fmla="*/ 338646 w 516072"/>
                    <a:gd name="connsiteY140" fmla="*/ 241404 h 603405"/>
                    <a:gd name="connsiteX141" fmla="*/ 360770 w 516072"/>
                    <a:gd name="connsiteY141" fmla="*/ 260045 h 603405"/>
                    <a:gd name="connsiteX142" fmla="*/ 412738 w 516072"/>
                    <a:gd name="connsiteY142" fmla="*/ 285014 h 603405"/>
                    <a:gd name="connsiteX143" fmla="*/ 492821 w 516072"/>
                    <a:gd name="connsiteY143" fmla="*/ 387309 h 603405"/>
                    <a:gd name="connsiteX144" fmla="*/ 515061 w 516072"/>
                    <a:gd name="connsiteY144" fmla="*/ 456695 h 603405"/>
                    <a:gd name="connsiteX145" fmla="*/ 501809 w 516072"/>
                    <a:gd name="connsiteY145" fmla="*/ 497773 h 603405"/>
                    <a:gd name="connsiteX146" fmla="*/ 445463 w 516072"/>
                    <a:gd name="connsiteY146" fmla="*/ 548058 h 603405"/>
                    <a:gd name="connsiteX147" fmla="*/ 416886 w 516072"/>
                    <a:gd name="connsiteY147" fmla="*/ 558874 h 603405"/>
                    <a:gd name="connsiteX148" fmla="*/ 410779 w 516072"/>
                    <a:gd name="connsiteY148" fmla="*/ 558414 h 603405"/>
                    <a:gd name="connsiteX149" fmla="*/ 411240 w 516072"/>
                    <a:gd name="connsiteY149" fmla="*/ 581542 h 603405"/>
                    <a:gd name="connsiteX150" fmla="*/ 401445 w 516072"/>
                    <a:gd name="connsiteY150" fmla="*/ 591668 h 603405"/>
                    <a:gd name="connsiteX151" fmla="*/ 96435 w 516072"/>
                    <a:gd name="connsiteY151" fmla="*/ 603405 h 603405"/>
                    <a:gd name="connsiteX152" fmla="*/ 95974 w 516072"/>
                    <a:gd name="connsiteY152" fmla="*/ 603405 h 603405"/>
                    <a:gd name="connsiteX153" fmla="*/ 88023 w 516072"/>
                    <a:gd name="connsiteY153" fmla="*/ 599608 h 603405"/>
                    <a:gd name="connsiteX154" fmla="*/ 86179 w 516072"/>
                    <a:gd name="connsiteY154" fmla="*/ 590633 h 603405"/>
                    <a:gd name="connsiteX155" fmla="*/ 84797 w 516072"/>
                    <a:gd name="connsiteY155" fmla="*/ 521132 h 603405"/>
                    <a:gd name="connsiteX156" fmla="*/ 77998 w 516072"/>
                    <a:gd name="connsiteY156" fmla="*/ 488568 h 603405"/>
                    <a:gd name="connsiteX157" fmla="*/ 72582 w 516072"/>
                    <a:gd name="connsiteY157" fmla="*/ 492595 h 603405"/>
                    <a:gd name="connsiteX158" fmla="*/ 49767 w 516072"/>
                    <a:gd name="connsiteY158" fmla="*/ 499269 h 603405"/>
                    <a:gd name="connsiteX159" fmla="*/ 13585 w 516072"/>
                    <a:gd name="connsiteY159" fmla="*/ 479363 h 603405"/>
                    <a:gd name="connsiteX160" fmla="*/ 35594 w 516072"/>
                    <a:gd name="connsiteY160" fmla="*/ 388230 h 603405"/>
                    <a:gd name="connsiteX161" fmla="*/ 40203 w 516072"/>
                    <a:gd name="connsiteY161" fmla="*/ 383972 h 603405"/>
                    <a:gd name="connsiteX162" fmla="*/ 1371 w 516072"/>
                    <a:gd name="connsiteY162" fmla="*/ 309524 h 603405"/>
                    <a:gd name="connsiteX163" fmla="*/ 1141 w 516072"/>
                    <a:gd name="connsiteY163" fmla="*/ 299743 h 603405"/>
                    <a:gd name="connsiteX164" fmla="*/ 9322 w 516072"/>
                    <a:gd name="connsiteY164" fmla="*/ 294335 h 603405"/>
                    <a:gd name="connsiteX165" fmla="*/ 201062 w 516072"/>
                    <a:gd name="connsiteY165" fmla="*/ 278456 h 603405"/>
                    <a:gd name="connsiteX166" fmla="*/ 241047 w 516072"/>
                    <a:gd name="connsiteY166" fmla="*/ 260045 h 603405"/>
                    <a:gd name="connsiteX167" fmla="*/ 300977 w 516072"/>
                    <a:gd name="connsiteY167" fmla="*/ 0 h 603405"/>
                    <a:gd name="connsiteX168" fmla="*/ 401111 w 516072"/>
                    <a:gd name="connsiteY168" fmla="*/ 98375 h 603405"/>
                    <a:gd name="connsiteX169" fmla="*/ 300977 w 516072"/>
                    <a:gd name="connsiteY169" fmla="*/ 239781 h 603405"/>
                    <a:gd name="connsiteX170" fmla="*/ 200728 w 516072"/>
                    <a:gd name="connsiteY170" fmla="*/ 98375 h 603405"/>
                    <a:gd name="connsiteX171" fmla="*/ 300977 w 516072"/>
                    <a:gd name="connsiteY171" fmla="*/ 0 h 6034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  <a:cxn ang="0">
                      <a:pos x="connsiteX133" y="connsiteY133"/>
                    </a:cxn>
                    <a:cxn ang="0">
                      <a:pos x="connsiteX134" y="connsiteY134"/>
                    </a:cxn>
                    <a:cxn ang="0">
                      <a:pos x="connsiteX135" y="connsiteY135"/>
                    </a:cxn>
                    <a:cxn ang="0">
                      <a:pos x="connsiteX136" y="connsiteY136"/>
                    </a:cxn>
                    <a:cxn ang="0">
                      <a:pos x="connsiteX137" y="connsiteY137"/>
                    </a:cxn>
                    <a:cxn ang="0">
                      <a:pos x="connsiteX138" y="connsiteY138"/>
                    </a:cxn>
                    <a:cxn ang="0">
                      <a:pos x="connsiteX139" y="connsiteY139"/>
                    </a:cxn>
                    <a:cxn ang="0">
                      <a:pos x="connsiteX140" y="connsiteY140"/>
                    </a:cxn>
                    <a:cxn ang="0">
                      <a:pos x="connsiteX141" y="connsiteY141"/>
                    </a:cxn>
                    <a:cxn ang="0">
                      <a:pos x="connsiteX142" y="connsiteY142"/>
                    </a:cxn>
                    <a:cxn ang="0">
                      <a:pos x="connsiteX143" y="connsiteY143"/>
                    </a:cxn>
                    <a:cxn ang="0">
                      <a:pos x="connsiteX144" y="connsiteY144"/>
                    </a:cxn>
                    <a:cxn ang="0">
                      <a:pos x="connsiteX145" y="connsiteY145"/>
                    </a:cxn>
                    <a:cxn ang="0">
                      <a:pos x="connsiteX146" y="connsiteY146"/>
                    </a:cxn>
                    <a:cxn ang="0">
                      <a:pos x="connsiteX147" y="connsiteY147"/>
                    </a:cxn>
                    <a:cxn ang="0">
                      <a:pos x="connsiteX148" y="connsiteY148"/>
                    </a:cxn>
                    <a:cxn ang="0">
                      <a:pos x="connsiteX149" y="connsiteY149"/>
                    </a:cxn>
                    <a:cxn ang="0">
                      <a:pos x="connsiteX150" y="connsiteY150"/>
                    </a:cxn>
                    <a:cxn ang="0">
                      <a:pos x="connsiteX151" y="connsiteY151"/>
                    </a:cxn>
                    <a:cxn ang="0">
                      <a:pos x="connsiteX152" y="connsiteY152"/>
                    </a:cxn>
                    <a:cxn ang="0">
                      <a:pos x="connsiteX153" y="connsiteY153"/>
                    </a:cxn>
                    <a:cxn ang="0">
                      <a:pos x="connsiteX154" y="connsiteY154"/>
                    </a:cxn>
                    <a:cxn ang="0">
                      <a:pos x="connsiteX155" y="connsiteY155"/>
                    </a:cxn>
                    <a:cxn ang="0">
                      <a:pos x="connsiteX156" y="connsiteY156"/>
                    </a:cxn>
                    <a:cxn ang="0">
                      <a:pos x="connsiteX157" y="connsiteY157"/>
                    </a:cxn>
                    <a:cxn ang="0">
                      <a:pos x="connsiteX158" y="connsiteY158"/>
                    </a:cxn>
                    <a:cxn ang="0">
                      <a:pos x="connsiteX159" y="connsiteY159"/>
                    </a:cxn>
                    <a:cxn ang="0">
                      <a:pos x="connsiteX160" y="connsiteY160"/>
                    </a:cxn>
                    <a:cxn ang="0">
                      <a:pos x="connsiteX161" y="connsiteY161"/>
                    </a:cxn>
                    <a:cxn ang="0">
                      <a:pos x="connsiteX162" y="connsiteY162"/>
                    </a:cxn>
                    <a:cxn ang="0">
                      <a:pos x="connsiteX163" y="connsiteY163"/>
                    </a:cxn>
                    <a:cxn ang="0">
                      <a:pos x="connsiteX164" y="connsiteY164"/>
                    </a:cxn>
                    <a:cxn ang="0">
                      <a:pos x="connsiteX165" y="connsiteY165"/>
                    </a:cxn>
                    <a:cxn ang="0">
                      <a:pos x="connsiteX166" y="connsiteY166"/>
                    </a:cxn>
                    <a:cxn ang="0">
                      <a:pos x="connsiteX167" y="connsiteY167"/>
                    </a:cxn>
                    <a:cxn ang="0">
                      <a:pos x="connsiteX168" y="connsiteY168"/>
                    </a:cxn>
                    <a:cxn ang="0">
                      <a:pos x="connsiteX169" y="connsiteY169"/>
                    </a:cxn>
                    <a:cxn ang="0">
                      <a:pos x="connsiteX170" y="connsiteY170"/>
                    </a:cxn>
                    <a:cxn ang="0">
                      <a:pos x="connsiteX171" y="connsiteY171"/>
                    </a:cxn>
                  </a:cxnLst>
                  <a:rect l="l" t="t" r="r" b="b"/>
                  <a:pathLst>
                    <a:path w="516072" h="603405">
                      <a:moveTo>
                        <a:pt x="309853" y="506697"/>
                      </a:moveTo>
                      <a:cubicBezTo>
                        <a:pt x="318379" y="506236"/>
                        <a:pt x="325638" y="512687"/>
                        <a:pt x="326214" y="521096"/>
                      </a:cubicBezTo>
                      <a:cubicBezTo>
                        <a:pt x="326675" y="529621"/>
                        <a:pt x="320223" y="536878"/>
                        <a:pt x="311812" y="537454"/>
                      </a:cubicBezTo>
                      <a:lnTo>
                        <a:pt x="164332" y="546670"/>
                      </a:lnTo>
                      <a:cubicBezTo>
                        <a:pt x="163986" y="546670"/>
                        <a:pt x="163640" y="546670"/>
                        <a:pt x="163295" y="546670"/>
                      </a:cubicBezTo>
                      <a:cubicBezTo>
                        <a:pt x="155345" y="546670"/>
                        <a:pt x="148547" y="540449"/>
                        <a:pt x="147971" y="532270"/>
                      </a:cubicBezTo>
                      <a:cubicBezTo>
                        <a:pt x="147510" y="523746"/>
                        <a:pt x="153962" y="516489"/>
                        <a:pt x="162373" y="515913"/>
                      </a:cubicBezTo>
                      <a:close/>
                      <a:moveTo>
                        <a:pt x="300609" y="444361"/>
                      </a:moveTo>
                      <a:cubicBezTo>
                        <a:pt x="309135" y="443786"/>
                        <a:pt x="316394" y="450226"/>
                        <a:pt x="316970" y="458620"/>
                      </a:cubicBezTo>
                      <a:cubicBezTo>
                        <a:pt x="317431" y="467130"/>
                        <a:pt x="310979" y="474375"/>
                        <a:pt x="302568" y="474949"/>
                      </a:cubicBezTo>
                      <a:lnTo>
                        <a:pt x="155088" y="484149"/>
                      </a:lnTo>
                      <a:cubicBezTo>
                        <a:pt x="154742" y="484149"/>
                        <a:pt x="154396" y="484149"/>
                        <a:pt x="154051" y="484149"/>
                      </a:cubicBezTo>
                      <a:cubicBezTo>
                        <a:pt x="146101" y="484149"/>
                        <a:pt x="139303" y="477939"/>
                        <a:pt x="138727" y="469775"/>
                      </a:cubicBezTo>
                      <a:cubicBezTo>
                        <a:pt x="138266" y="461380"/>
                        <a:pt x="144718" y="454021"/>
                        <a:pt x="153129" y="453561"/>
                      </a:cubicBezTo>
                      <a:close/>
                      <a:moveTo>
                        <a:pt x="409511" y="410322"/>
                      </a:moveTo>
                      <a:lnTo>
                        <a:pt x="401791" y="472344"/>
                      </a:lnTo>
                      <a:lnTo>
                        <a:pt x="425067" y="451516"/>
                      </a:lnTo>
                      <a:cubicBezTo>
                        <a:pt x="420919" y="437939"/>
                        <a:pt x="415618" y="423555"/>
                        <a:pt x="409511" y="410322"/>
                      </a:cubicBezTo>
                      <a:close/>
                      <a:moveTo>
                        <a:pt x="228508" y="375201"/>
                      </a:moveTo>
                      <a:lnTo>
                        <a:pt x="218716" y="376007"/>
                      </a:lnTo>
                      <a:lnTo>
                        <a:pt x="229314" y="402806"/>
                      </a:lnTo>
                      <a:lnTo>
                        <a:pt x="238991" y="402001"/>
                      </a:lnTo>
                      <a:cubicBezTo>
                        <a:pt x="240719" y="401886"/>
                        <a:pt x="241871" y="401311"/>
                        <a:pt x="242677" y="400160"/>
                      </a:cubicBezTo>
                      <a:cubicBezTo>
                        <a:pt x="243368" y="399125"/>
                        <a:pt x="243484" y="397860"/>
                        <a:pt x="242908" y="396480"/>
                      </a:cubicBezTo>
                      <a:lnTo>
                        <a:pt x="236341" y="379802"/>
                      </a:lnTo>
                      <a:cubicBezTo>
                        <a:pt x="235765" y="378307"/>
                        <a:pt x="234729" y="377157"/>
                        <a:pt x="233231" y="376352"/>
                      </a:cubicBezTo>
                      <a:cubicBezTo>
                        <a:pt x="231733" y="375431"/>
                        <a:pt x="230121" y="375086"/>
                        <a:pt x="228508" y="375201"/>
                      </a:cubicBezTo>
                      <a:close/>
                      <a:moveTo>
                        <a:pt x="150356" y="340362"/>
                      </a:moveTo>
                      <a:cubicBezTo>
                        <a:pt x="148167" y="340592"/>
                        <a:pt x="146553" y="341397"/>
                        <a:pt x="145631" y="342778"/>
                      </a:cubicBezTo>
                      <a:cubicBezTo>
                        <a:pt x="144594" y="344160"/>
                        <a:pt x="144479" y="345886"/>
                        <a:pt x="145286" y="347727"/>
                      </a:cubicBezTo>
                      <a:lnTo>
                        <a:pt x="166258" y="401128"/>
                      </a:lnTo>
                      <a:cubicBezTo>
                        <a:pt x="167065" y="402969"/>
                        <a:pt x="168333" y="404465"/>
                        <a:pt x="170407" y="405616"/>
                      </a:cubicBezTo>
                      <a:cubicBezTo>
                        <a:pt x="172366" y="406767"/>
                        <a:pt x="174440" y="407228"/>
                        <a:pt x="176629" y="407112"/>
                      </a:cubicBezTo>
                      <a:cubicBezTo>
                        <a:pt x="178819" y="406882"/>
                        <a:pt x="180432" y="406077"/>
                        <a:pt x="181354" y="404696"/>
                      </a:cubicBezTo>
                      <a:cubicBezTo>
                        <a:pt x="182391" y="403315"/>
                        <a:pt x="182506" y="401703"/>
                        <a:pt x="181815" y="399747"/>
                      </a:cubicBezTo>
                      <a:lnTo>
                        <a:pt x="160727" y="346461"/>
                      </a:lnTo>
                      <a:cubicBezTo>
                        <a:pt x="160036" y="344620"/>
                        <a:pt x="158653" y="343009"/>
                        <a:pt x="156579" y="341858"/>
                      </a:cubicBezTo>
                      <a:cubicBezTo>
                        <a:pt x="154620" y="340707"/>
                        <a:pt x="152430" y="340131"/>
                        <a:pt x="150356" y="340362"/>
                      </a:cubicBezTo>
                      <a:close/>
                      <a:moveTo>
                        <a:pt x="212726" y="335175"/>
                      </a:moveTo>
                      <a:lnTo>
                        <a:pt x="202934" y="335980"/>
                      </a:lnTo>
                      <a:lnTo>
                        <a:pt x="213532" y="362895"/>
                      </a:lnTo>
                      <a:lnTo>
                        <a:pt x="223209" y="362089"/>
                      </a:lnTo>
                      <a:cubicBezTo>
                        <a:pt x="224937" y="361859"/>
                        <a:pt x="226089" y="361284"/>
                        <a:pt x="226895" y="360249"/>
                      </a:cubicBezTo>
                      <a:cubicBezTo>
                        <a:pt x="227586" y="359214"/>
                        <a:pt x="227701" y="357949"/>
                        <a:pt x="227125" y="356454"/>
                      </a:cubicBezTo>
                      <a:lnTo>
                        <a:pt x="220559" y="339776"/>
                      </a:lnTo>
                      <a:cubicBezTo>
                        <a:pt x="219983" y="338396"/>
                        <a:pt x="218946" y="337246"/>
                        <a:pt x="217449" y="336325"/>
                      </a:cubicBezTo>
                      <a:cubicBezTo>
                        <a:pt x="215951" y="335405"/>
                        <a:pt x="214339" y="335060"/>
                        <a:pt x="212726" y="335175"/>
                      </a:cubicBezTo>
                      <a:close/>
                      <a:moveTo>
                        <a:pt x="145055" y="327011"/>
                      </a:moveTo>
                      <a:cubicBezTo>
                        <a:pt x="151393" y="326436"/>
                        <a:pt x="157731" y="328047"/>
                        <a:pt x="163838" y="331500"/>
                      </a:cubicBezTo>
                      <a:cubicBezTo>
                        <a:pt x="169831" y="335068"/>
                        <a:pt x="174094" y="339671"/>
                        <a:pt x="176168" y="345195"/>
                      </a:cubicBezTo>
                      <a:lnTo>
                        <a:pt x="197256" y="398481"/>
                      </a:lnTo>
                      <a:cubicBezTo>
                        <a:pt x="199446" y="404005"/>
                        <a:pt x="198985" y="408954"/>
                        <a:pt x="195989" y="413212"/>
                      </a:cubicBezTo>
                      <a:cubicBezTo>
                        <a:pt x="192993" y="417470"/>
                        <a:pt x="188268" y="419887"/>
                        <a:pt x="181930" y="420463"/>
                      </a:cubicBezTo>
                      <a:cubicBezTo>
                        <a:pt x="175477" y="420923"/>
                        <a:pt x="169254" y="419427"/>
                        <a:pt x="163147" y="415974"/>
                      </a:cubicBezTo>
                      <a:cubicBezTo>
                        <a:pt x="157040" y="412407"/>
                        <a:pt x="152891" y="407803"/>
                        <a:pt x="150702" y="402394"/>
                      </a:cubicBezTo>
                      <a:lnTo>
                        <a:pt x="129729" y="348993"/>
                      </a:lnTo>
                      <a:cubicBezTo>
                        <a:pt x="127540" y="343469"/>
                        <a:pt x="128001" y="338520"/>
                        <a:pt x="130882" y="334262"/>
                      </a:cubicBezTo>
                      <a:cubicBezTo>
                        <a:pt x="133878" y="330004"/>
                        <a:pt x="138717" y="327472"/>
                        <a:pt x="145055" y="327011"/>
                      </a:cubicBezTo>
                      <a:close/>
                      <a:moveTo>
                        <a:pt x="213417" y="321488"/>
                      </a:moveTo>
                      <a:cubicBezTo>
                        <a:pt x="217564" y="321143"/>
                        <a:pt x="221711" y="322178"/>
                        <a:pt x="225743" y="324479"/>
                      </a:cubicBezTo>
                      <a:cubicBezTo>
                        <a:pt x="229775" y="326779"/>
                        <a:pt x="232540" y="329884"/>
                        <a:pt x="234037" y="333565"/>
                      </a:cubicBezTo>
                      <a:lnTo>
                        <a:pt x="245096" y="361859"/>
                      </a:lnTo>
                      <a:cubicBezTo>
                        <a:pt x="245672" y="363240"/>
                        <a:pt x="245557" y="364390"/>
                        <a:pt x="244866" y="365425"/>
                      </a:cubicBezTo>
                      <a:cubicBezTo>
                        <a:pt x="244060" y="366575"/>
                        <a:pt x="242908" y="367150"/>
                        <a:pt x="241295" y="367265"/>
                      </a:cubicBezTo>
                      <a:lnTo>
                        <a:pt x="241410" y="367380"/>
                      </a:lnTo>
                      <a:cubicBezTo>
                        <a:pt x="242908" y="367265"/>
                        <a:pt x="244520" y="367610"/>
                        <a:pt x="246018" y="368530"/>
                      </a:cubicBezTo>
                      <a:cubicBezTo>
                        <a:pt x="247516" y="369451"/>
                        <a:pt x="248553" y="370486"/>
                        <a:pt x="249129" y="371866"/>
                      </a:cubicBezTo>
                      <a:lnTo>
                        <a:pt x="260303" y="400275"/>
                      </a:lnTo>
                      <a:cubicBezTo>
                        <a:pt x="261685" y="403841"/>
                        <a:pt x="261455" y="407176"/>
                        <a:pt x="259496" y="409937"/>
                      </a:cubicBezTo>
                      <a:cubicBezTo>
                        <a:pt x="257538" y="412812"/>
                        <a:pt x="254313" y="414423"/>
                        <a:pt x="250165" y="414768"/>
                      </a:cubicBezTo>
                      <a:lnTo>
                        <a:pt x="223439" y="416953"/>
                      </a:lnTo>
                      <a:cubicBezTo>
                        <a:pt x="221020" y="417183"/>
                        <a:pt x="218486" y="415688"/>
                        <a:pt x="217679" y="413617"/>
                      </a:cubicBezTo>
                      <a:lnTo>
                        <a:pt x="183811" y="327814"/>
                      </a:lnTo>
                      <a:cubicBezTo>
                        <a:pt x="183005" y="325744"/>
                        <a:pt x="184272" y="323903"/>
                        <a:pt x="186576" y="323673"/>
                      </a:cubicBezTo>
                      <a:close/>
                      <a:moveTo>
                        <a:pt x="263606" y="317202"/>
                      </a:moveTo>
                      <a:cubicBezTo>
                        <a:pt x="270059" y="316627"/>
                        <a:pt x="276282" y="318238"/>
                        <a:pt x="282389" y="321691"/>
                      </a:cubicBezTo>
                      <a:cubicBezTo>
                        <a:pt x="288496" y="325259"/>
                        <a:pt x="292645" y="329862"/>
                        <a:pt x="294834" y="335386"/>
                      </a:cubicBezTo>
                      <a:lnTo>
                        <a:pt x="295987" y="338264"/>
                      </a:lnTo>
                      <a:cubicBezTo>
                        <a:pt x="296793" y="340335"/>
                        <a:pt x="295526" y="342176"/>
                        <a:pt x="293106" y="342292"/>
                      </a:cubicBezTo>
                      <a:lnTo>
                        <a:pt x="286192" y="342867"/>
                      </a:lnTo>
                      <a:cubicBezTo>
                        <a:pt x="283772" y="343097"/>
                        <a:pt x="281237" y="341601"/>
                        <a:pt x="280430" y="339529"/>
                      </a:cubicBezTo>
                      <a:lnTo>
                        <a:pt x="279278" y="336652"/>
                      </a:lnTo>
                      <a:cubicBezTo>
                        <a:pt x="278586" y="334811"/>
                        <a:pt x="277203" y="333200"/>
                        <a:pt x="275129" y="332049"/>
                      </a:cubicBezTo>
                      <a:cubicBezTo>
                        <a:pt x="273170" y="330898"/>
                        <a:pt x="271096" y="330322"/>
                        <a:pt x="268907" y="330553"/>
                      </a:cubicBezTo>
                      <a:cubicBezTo>
                        <a:pt x="266717" y="330783"/>
                        <a:pt x="265104" y="331588"/>
                        <a:pt x="264182" y="332969"/>
                      </a:cubicBezTo>
                      <a:cubicBezTo>
                        <a:pt x="263145" y="334351"/>
                        <a:pt x="263030" y="336077"/>
                        <a:pt x="263721" y="337918"/>
                      </a:cubicBezTo>
                      <a:lnTo>
                        <a:pt x="269022" y="351153"/>
                      </a:lnTo>
                      <a:cubicBezTo>
                        <a:pt x="269713" y="352995"/>
                        <a:pt x="271096" y="354606"/>
                        <a:pt x="273170" y="355757"/>
                      </a:cubicBezTo>
                      <a:cubicBezTo>
                        <a:pt x="275129" y="356908"/>
                        <a:pt x="277319" y="357483"/>
                        <a:pt x="279393" y="357253"/>
                      </a:cubicBezTo>
                      <a:cubicBezTo>
                        <a:pt x="286307" y="356678"/>
                        <a:pt x="292990" y="358404"/>
                        <a:pt x="299328" y="362432"/>
                      </a:cubicBezTo>
                      <a:cubicBezTo>
                        <a:pt x="304860" y="366000"/>
                        <a:pt x="308547" y="370258"/>
                        <a:pt x="310621" y="375322"/>
                      </a:cubicBezTo>
                      <a:lnTo>
                        <a:pt x="315807" y="388672"/>
                      </a:lnTo>
                      <a:cubicBezTo>
                        <a:pt x="317996" y="394196"/>
                        <a:pt x="317535" y="399145"/>
                        <a:pt x="314539" y="403403"/>
                      </a:cubicBezTo>
                      <a:cubicBezTo>
                        <a:pt x="311658" y="407661"/>
                        <a:pt x="306819" y="410078"/>
                        <a:pt x="300481" y="410654"/>
                      </a:cubicBezTo>
                      <a:cubicBezTo>
                        <a:pt x="294028" y="411114"/>
                        <a:pt x="287805" y="409618"/>
                        <a:pt x="281698" y="406165"/>
                      </a:cubicBezTo>
                      <a:cubicBezTo>
                        <a:pt x="275590" y="402598"/>
                        <a:pt x="271442" y="397994"/>
                        <a:pt x="269252" y="392585"/>
                      </a:cubicBezTo>
                      <a:lnTo>
                        <a:pt x="268100" y="389593"/>
                      </a:lnTo>
                      <a:cubicBezTo>
                        <a:pt x="267293" y="387521"/>
                        <a:pt x="268561" y="385680"/>
                        <a:pt x="270866" y="385449"/>
                      </a:cubicBezTo>
                      <a:lnTo>
                        <a:pt x="277780" y="384874"/>
                      </a:lnTo>
                      <a:cubicBezTo>
                        <a:pt x="280200" y="384759"/>
                        <a:pt x="282735" y="386255"/>
                        <a:pt x="283541" y="388212"/>
                      </a:cubicBezTo>
                      <a:lnTo>
                        <a:pt x="284809" y="391319"/>
                      </a:lnTo>
                      <a:cubicBezTo>
                        <a:pt x="285500" y="393160"/>
                        <a:pt x="286883" y="394656"/>
                        <a:pt x="288957" y="395807"/>
                      </a:cubicBezTo>
                      <a:cubicBezTo>
                        <a:pt x="290916" y="396958"/>
                        <a:pt x="292990" y="397419"/>
                        <a:pt x="295180" y="397303"/>
                      </a:cubicBezTo>
                      <a:cubicBezTo>
                        <a:pt x="297369" y="397073"/>
                        <a:pt x="298983" y="396268"/>
                        <a:pt x="299905" y="394887"/>
                      </a:cubicBezTo>
                      <a:cubicBezTo>
                        <a:pt x="300942" y="393506"/>
                        <a:pt x="301057" y="391894"/>
                        <a:pt x="300250" y="389938"/>
                      </a:cubicBezTo>
                      <a:lnTo>
                        <a:pt x="295065" y="376588"/>
                      </a:lnTo>
                      <a:cubicBezTo>
                        <a:pt x="294258" y="374746"/>
                        <a:pt x="292875" y="373250"/>
                        <a:pt x="290916" y="372099"/>
                      </a:cubicBezTo>
                      <a:cubicBezTo>
                        <a:pt x="288957" y="370948"/>
                        <a:pt x="286883" y="370488"/>
                        <a:pt x="284694" y="370603"/>
                      </a:cubicBezTo>
                      <a:cubicBezTo>
                        <a:pt x="277780" y="371179"/>
                        <a:pt x="270981" y="369337"/>
                        <a:pt x="264643" y="365424"/>
                      </a:cubicBezTo>
                      <a:cubicBezTo>
                        <a:pt x="259227" y="361856"/>
                        <a:pt x="255424" y="357483"/>
                        <a:pt x="253465" y="352534"/>
                      </a:cubicBezTo>
                      <a:lnTo>
                        <a:pt x="248164" y="339184"/>
                      </a:lnTo>
                      <a:cubicBezTo>
                        <a:pt x="246090" y="333660"/>
                        <a:pt x="246436" y="328711"/>
                        <a:pt x="249432" y="324453"/>
                      </a:cubicBezTo>
                      <a:cubicBezTo>
                        <a:pt x="252543" y="320195"/>
                        <a:pt x="257268" y="317663"/>
                        <a:pt x="263606" y="317202"/>
                      </a:cubicBezTo>
                      <a:close/>
                      <a:moveTo>
                        <a:pt x="320670" y="288927"/>
                      </a:moveTo>
                      <a:lnTo>
                        <a:pt x="26837" y="313206"/>
                      </a:lnTo>
                      <a:cubicBezTo>
                        <a:pt x="44236" y="344389"/>
                        <a:pt x="58064" y="372811"/>
                        <a:pt x="69010" y="398701"/>
                      </a:cubicBezTo>
                      <a:cubicBezTo>
                        <a:pt x="78459" y="396975"/>
                        <a:pt x="99892" y="395249"/>
                        <a:pt x="109340" y="411473"/>
                      </a:cubicBezTo>
                      <a:cubicBezTo>
                        <a:pt x="109686" y="412164"/>
                        <a:pt x="110032" y="412739"/>
                        <a:pt x="110377" y="413429"/>
                      </a:cubicBezTo>
                      <a:cubicBezTo>
                        <a:pt x="110953" y="412854"/>
                        <a:pt x="111760" y="412394"/>
                        <a:pt x="112797" y="412279"/>
                      </a:cubicBezTo>
                      <a:lnTo>
                        <a:pt x="116139" y="412048"/>
                      </a:lnTo>
                      <a:cubicBezTo>
                        <a:pt x="118328" y="411818"/>
                        <a:pt x="119941" y="411013"/>
                        <a:pt x="120978" y="409632"/>
                      </a:cubicBezTo>
                      <a:cubicBezTo>
                        <a:pt x="122015" y="408251"/>
                        <a:pt x="122131" y="406640"/>
                        <a:pt x="121324" y="404799"/>
                      </a:cubicBezTo>
                      <a:lnTo>
                        <a:pt x="93900" y="335069"/>
                      </a:lnTo>
                      <a:cubicBezTo>
                        <a:pt x="93093" y="332997"/>
                        <a:pt x="94361" y="331156"/>
                        <a:pt x="96780" y="331041"/>
                      </a:cubicBezTo>
                      <a:lnTo>
                        <a:pt x="103694" y="330466"/>
                      </a:lnTo>
                      <a:cubicBezTo>
                        <a:pt x="105999" y="330236"/>
                        <a:pt x="108649" y="331732"/>
                        <a:pt x="109456" y="333803"/>
                      </a:cubicBezTo>
                      <a:lnTo>
                        <a:pt x="139530" y="410092"/>
                      </a:lnTo>
                      <a:cubicBezTo>
                        <a:pt x="140913" y="413774"/>
                        <a:pt x="140682" y="416996"/>
                        <a:pt x="138608" y="419873"/>
                      </a:cubicBezTo>
                      <a:cubicBezTo>
                        <a:pt x="136649" y="422750"/>
                        <a:pt x="133423" y="424361"/>
                        <a:pt x="129275" y="424706"/>
                      </a:cubicBezTo>
                      <a:lnTo>
                        <a:pt x="117982" y="425741"/>
                      </a:lnTo>
                      <a:cubicBezTo>
                        <a:pt x="116830" y="425741"/>
                        <a:pt x="115678" y="425511"/>
                        <a:pt x="114641" y="424821"/>
                      </a:cubicBezTo>
                      <a:cubicBezTo>
                        <a:pt x="118559" y="442656"/>
                        <a:pt x="111414" y="461412"/>
                        <a:pt x="95743" y="475220"/>
                      </a:cubicBezTo>
                      <a:cubicBezTo>
                        <a:pt x="110262" y="529072"/>
                        <a:pt x="109916" y="564858"/>
                        <a:pt x="108073" y="582693"/>
                      </a:cubicBezTo>
                      <a:lnTo>
                        <a:pt x="390844" y="571647"/>
                      </a:lnTo>
                      <a:cubicBezTo>
                        <a:pt x="390729" y="563017"/>
                        <a:pt x="390268" y="554041"/>
                        <a:pt x="389577" y="545181"/>
                      </a:cubicBezTo>
                      <a:cubicBezTo>
                        <a:pt x="376902" y="530913"/>
                        <a:pt x="378169" y="508014"/>
                        <a:pt x="383009" y="494667"/>
                      </a:cubicBezTo>
                      <a:cubicBezTo>
                        <a:pt x="366877" y="402728"/>
                        <a:pt x="331041" y="313436"/>
                        <a:pt x="320670" y="288927"/>
                      </a:cubicBezTo>
                      <a:close/>
                      <a:moveTo>
                        <a:pt x="263171" y="241404"/>
                      </a:moveTo>
                      <a:lnTo>
                        <a:pt x="292900" y="270861"/>
                      </a:lnTo>
                      <a:lnTo>
                        <a:pt x="310415" y="269365"/>
                      </a:lnTo>
                      <a:lnTo>
                        <a:pt x="338646" y="241404"/>
                      </a:lnTo>
                      <a:lnTo>
                        <a:pt x="360770" y="260045"/>
                      </a:lnTo>
                      <a:cubicBezTo>
                        <a:pt x="360770" y="260045"/>
                        <a:pt x="407552" y="282483"/>
                        <a:pt x="412738" y="285014"/>
                      </a:cubicBezTo>
                      <a:cubicBezTo>
                        <a:pt x="445117" y="300433"/>
                        <a:pt x="471504" y="335414"/>
                        <a:pt x="492821" y="387309"/>
                      </a:cubicBezTo>
                      <a:cubicBezTo>
                        <a:pt x="507571" y="423210"/>
                        <a:pt x="514715" y="455314"/>
                        <a:pt x="515061" y="456695"/>
                      </a:cubicBezTo>
                      <a:cubicBezTo>
                        <a:pt x="518402" y="471768"/>
                        <a:pt x="513332" y="487417"/>
                        <a:pt x="501809" y="497773"/>
                      </a:cubicBezTo>
                      <a:lnTo>
                        <a:pt x="445463" y="548058"/>
                      </a:lnTo>
                      <a:cubicBezTo>
                        <a:pt x="437281" y="555307"/>
                        <a:pt x="427026" y="558874"/>
                        <a:pt x="416886" y="558874"/>
                      </a:cubicBezTo>
                      <a:cubicBezTo>
                        <a:pt x="414927" y="558874"/>
                        <a:pt x="412853" y="558759"/>
                        <a:pt x="410779" y="558414"/>
                      </a:cubicBezTo>
                      <a:cubicBezTo>
                        <a:pt x="411124" y="566238"/>
                        <a:pt x="411355" y="573948"/>
                        <a:pt x="411240" y="581542"/>
                      </a:cubicBezTo>
                      <a:cubicBezTo>
                        <a:pt x="411240" y="586950"/>
                        <a:pt x="406861" y="591438"/>
                        <a:pt x="401445" y="591668"/>
                      </a:cubicBezTo>
                      <a:lnTo>
                        <a:pt x="96435" y="603405"/>
                      </a:lnTo>
                      <a:cubicBezTo>
                        <a:pt x="96319" y="603405"/>
                        <a:pt x="96204" y="603405"/>
                        <a:pt x="95974" y="603405"/>
                      </a:cubicBezTo>
                      <a:cubicBezTo>
                        <a:pt x="92863" y="603405"/>
                        <a:pt x="89982" y="602024"/>
                        <a:pt x="88023" y="599608"/>
                      </a:cubicBezTo>
                      <a:cubicBezTo>
                        <a:pt x="86064" y="597076"/>
                        <a:pt x="85373" y="593739"/>
                        <a:pt x="86179" y="590633"/>
                      </a:cubicBezTo>
                      <a:cubicBezTo>
                        <a:pt x="86295" y="590172"/>
                        <a:pt x="92171" y="566814"/>
                        <a:pt x="84797" y="521132"/>
                      </a:cubicBezTo>
                      <a:cubicBezTo>
                        <a:pt x="83299" y="511697"/>
                        <a:pt x="81109" y="500765"/>
                        <a:pt x="77998" y="488568"/>
                      </a:cubicBezTo>
                      <a:cubicBezTo>
                        <a:pt x="76385" y="489949"/>
                        <a:pt x="74541" y="491330"/>
                        <a:pt x="72582" y="492595"/>
                      </a:cubicBezTo>
                      <a:cubicBezTo>
                        <a:pt x="65553" y="497083"/>
                        <a:pt x="57603" y="499269"/>
                        <a:pt x="49767" y="499269"/>
                      </a:cubicBezTo>
                      <a:cubicBezTo>
                        <a:pt x="35594" y="499269"/>
                        <a:pt x="21651" y="492250"/>
                        <a:pt x="13585" y="479363"/>
                      </a:cubicBezTo>
                      <a:cubicBezTo>
                        <a:pt x="1025" y="459571"/>
                        <a:pt x="-818" y="423900"/>
                        <a:pt x="35594" y="388230"/>
                      </a:cubicBezTo>
                      <a:cubicBezTo>
                        <a:pt x="36977" y="386849"/>
                        <a:pt x="38475" y="385468"/>
                        <a:pt x="40203" y="383972"/>
                      </a:cubicBezTo>
                      <a:cubicBezTo>
                        <a:pt x="29602" y="361189"/>
                        <a:pt x="16927" y="336334"/>
                        <a:pt x="1371" y="309524"/>
                      </a:cubicBezTo>
                      <a:cubicBezTo>
                        <a:pt x="-357" y="306532"/>
                        <a:pt x="-473" y="302850"/>
                        <a:pt x="1141" y="299743"/>
                      </a:cubicBezTo>
                      <a:cubicBezTo>
                        <a:pt x="2754" y="296636"/>
                        <a:pt x="5865" y="294565"/>
                        <a:pt x="9322" y="294335"/>
                      </a:cubicBezTo>
                      <a:lnTo>
                        <a:pt x="201062" y="278456"/>
                      </a:lnTo>
                      <a:lnTo>
                        <a:pt x="241047" y="260045"/>
                      </a:lnTo>
                      <a:close/>
                      <a:moveTo>
                        <a:pt x="300977" y="0"/>
                      </a:moveTo>
                      <a:cubicBezTo>
                        <a:pt x="372419" y="0"/>
                        <a:pt x="401687" y="36819"/>
                        <a:pt x="401111" y="98375"/>
                      </a:cubicBezTo>
                      <a:cubicBezTo>
                        <a:pt x="400189" y="186969"/>
                        <a:pt x="357785" y="239781"/>
                        <a:pt x="300977" y="239781"/>
                      </a:cubicBezTo>
                      <a:cubicBezTo>
                        <a:pt x="244054" y="239781"/>
                        <a:pt x="201765" y="186969"/>
                        <a:pt x="200728" y="98375"/>
                      </a:cubicBezTo>
                      <a:cubicBezTo>
                        <a:pt x="200152" y="36819"/>
                        <a:pt x="229420" y="0"/>
                        <a:pt x="30097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 fontScale="70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CCD4BC00-F7E5-41CB-A0D4-B9A3122D2B62}"/>
                </a:ext>
              </a:extLst>
            </p:cNvPr>
            <p:cNvSpPr/>
            <p:nvPr/>
          </p:nvSpPr>
          <p:spPr bwMode="auto">
            <a:xfrm>
              <a:off x="4628034" y="1893157"/>
              <a:ext cx="1779488" cy="460050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r"/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要点</a:t>
              </a:r>
              <a:endParaRPr lang="zh-CN" altLang="en-US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786F6E9-E442-4042-9622-E7A66E254175}"/>
                </a:ext>
              </a:extLst>
            </p:cNvPr>
            <p:cNvSpPr/>
            <p:nvPr/>
          </p:nvSpPr>
          <p:spPr bwMode="auto">
            <a:xfrm>
              <a:off x="4628034" y="2647666"/>
              <a:ext cx="1779488" cy="460050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r"/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要点</a:t>
              </a:r>
              <a:endParaRPr lang="zh-CN" altLang="en-US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96F89635-B622-4D23-9F52-A5451854FB09}"/>
                </a:ext>
              </a:extLst>
            </p:cNvPr>
            <p:cNvSpPr/>
            <p:nvPr/>
          </p:nvSpPr>
          <p:spPr bwMode="auto">
            <a:xfrm>
              <a:off x="4628034" y="3402175"/>
              <a:ext cx="1779488" cy="460050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r"/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要点</a:t>
              </a:r>
              <a:endParaRPr lang="zh-CN" altLang="en-US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240CA7EE-4A69-4DC5-A055-3B55A2D405E1}"/>
                </a:ext>
              </a:extLst>
            </p:cNvPr>
            <p:cNvSpPr/>
            <p:nvPr/>
          </p:nvSpPr>
          <p:spPr bwMode="auto">
            <a:xfrm>
              <a:off x="4628034" y="4156684"/>
              <a:ext cx="1779488" cy="460050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r"/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要点</a:t>
              </a:r>
              <a:endParaRPr lang="zh-CN" altLang="en-US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8BA955F2-AE08-482C-853D-B12E493A527C}"/>
                </a:ext>
              </a:extLst>
            </p:cNvPr>
            <p:cNvSpPr/>
            <p:nvPr/>
          </p:nvSpPr>
          <p:spPr bwMode="auto">
            <a:xfrm>
              <a:off x="4628034" y="4911192"/>
              <a:ext cx="1779488" cy="460050"/>
            </a:xfrm>
            <a:prstGeom prst="rect">
              <a:avLst/>
            </a:prstGeom>
            <a:noFill/>
            <a:ln w="3810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r"/>
              <a:r>
                <a:rPr lang="en-US" altLang="zh-CN" sz="1600" b="1" dirty="0">
                  <a:cs typeface="+mn-ea"/>
                  <a:sym typeface="+mn-lt"/>
                </a:rPr>
                <a:t>…</a:t>
              </a:r>
              <a:r>
                <a:rPr lang="zh-CN" altLang="en-US" sz="1600" b="1" dirty="0">
                  <a:cs typeface="+mn-ea"/>
                  <a:sym typeface="+mn-lt"/>
                </a:rPr>
                <a:t>要点</a:t>
              </a:r>
              <a:endParaRPr lang="zh-CN" altLang="en-US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0031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08896c2d-3e9f-46bb-a1fa-77465d8d109c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4367C"/>
      </a:accent1>
      <a:accent2>
        <a:srgbClr val="59C4FC"/>
      </a:accent2>
      <a:accent3>
        <a:srgbClr val="2C77D2"/>
      </a:accent3>
      <a:accent4>
        <a:srgbClr val="FBD86E"/>
      </a:accent4>
      <a:accent5>
        <a:srgbClr val="F2586F"/>
      </a:accent5>
      <a:accent6>
        <a:srgbClr val="768394"/>
      </a:accent6>
      <a:hlink>
        <a:srgbClr val="4276AA"/>
      </a:hlink>
      <a:folHlink>
        <a:srgbClr val="BFBFBF"/>
      </a:folHlink>
    </a:clrScheme>
    <a:fontScheme name="lk05o1dc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367C"/>
    </a:accent1>
    <a:accent2>
      <a:srgbClr val="59C4FC"/>
    </a:accent2>
    <a:accent3>
      <a:srgbClr val="2C77D2"/>
    </a:accent3>
    <a:accent4>
      <a:srgbClr val="FBD86E"/>
    </a:accent4>
    <a:accent5>
      <a:srgbClr val="F2586F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367C"/>
    </a:accent1>
    <a:accent2>
      <a:srgbClr val="59C4FC"/>
    </a:accent2>
    <a:accent3>
      <a:srgbClr val="2C77D2"/>
    </a:accent3>
    <a:accent4>
      <a:srgbClr val="FBD86E"/>
    </a:accent4>
    <a:accent5>
      <a:srgbClr val="F2586F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367C"/>
    </a:accent1>
    <a:accent2>
      <a:srgbClr val="59C4FC"/>
    </a:accent2>
    <a:accent3>
      <a:srgbClr val="2C77D2"/>
    </a:accent3>
    <a:accent4>
      <a:srgbClr val="FBD86E"/>
    </a:accent4>
    <a:accent5>
      <a:srgbClr val="F2586F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4367C"/>
    </a:accent1>
    <a:accent2>
      <a:srgbClr val="59C4FC"/>
    </a:accent2>
    <a:accent3>
      <a:srgbClr val="2C77D2"/>
    </a:accent3>
    <a:accent4>
      <a:srgbClr val="FBD86E"/>
    </a:accent4>
    <a:accent5>
      <a:srgbClr val="F2586F"/>
    </a:accent5>
    <a:accent6>
      <a:srgbClr val="768394"/>
    </a:accent6>
    <a:hlink>
      <a:srgbClr val="4276AA"/>
    </a:hlink>
    <a:folHlink>
      <a:srgbClr val="BFBFBF"/>
    </a:folHlink>
  </a:clrScheme>
</a:themeOverrid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ila</Template>
  <TotalTime>3</TotalTime>
  <Words>908</Words>
  <Application>Microsoft Office PowerPoint</Application>
  <PresentationFormat>宽屏</PresentationFormat>
  <Paragraphs>183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2" baseType="lpstr">
      <vt:lpstr>等线</vt:lpstr>
      <vt:lpstr>Arial</vt:lpstr>
      <vt:lpstr>Calibri</vt:lpstr>
      <vt:lpstr>主题5</vt:lpstr>
      <vt:lpstr>think-cell Slide</vt:lpstr>
      <vt:lpstr>高一三班  第二学期教学 课程计划方案</vt:lpstr>
      <vt:lpstr>PowerPoint 演示文稿</vt:lpstr>
      <vt:lpstr>课程介绍</vt:lpstr>
      <vt:lpstr>课程介绍1</vt:lpstr>
      <vt:lpstr>课程介绍2</vt:lpstr>
      <vt:lpstr>课程介绍3</vt:lpstr>
      <vt:lpstr>课程要点</vt:lpstr>
      <vt:lpstr>课程要点1</vt:lpstr>
      <vt:lpstr>课程要点2</vt:lpstr>
      <vt:lpstr>课程要点3</vt:lpstr>
      <vt:lpstr>课程亮点</vt:lpstr>
      <vt:lpstr>课程亮点1</vt:lpstr>
      <vt:lpstr>课程亮点2</vt:lpstr>
      <vt:lpstr>课程总结</vt:lpstr>
      <vt:lpstr>课程总结1</vt:lpstr>
      <vt:lpstr>课程总结2</vt:lpstr>
      <vt:lpstr>Thanks！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la</dc:creator>
  <cp:lastModifiedBy>Soleil Yi</cp:lastModifiedBy>
  <cp:revision>1</cp:revision>
  <cp:lastPrinted>2020-03-26T16:00:00Z</cp:lastPrinted>
  <dcterms:created xsi:type="dcterms:W3CDTF">2020-03-26T16:00:00Z</dcterms:created>
  <dcterms:modified xsi:type="dcterms:W3CDTF">2022-09-13T07:0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